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tiff" ContentType="image/tiff"/>
  <Default Extension="xlsx" ContentType="application/vnd.openxmlformats-officedocument.spreadsheetml.sheet"/>
  <Default Extension="vml" ContentType="application/vnd.openxmlformats-officedocument.vmlDrawing"/>
  <Default Extension="wdp" ContentType="image/vnd.ms-photo"/>
  <Default Extension="rels" ContentType="application/vnd.openxmlformats-package.relationships+xml"/>
  <Default Extension="png" ContentType="image/p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3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4.xml" ContentType="application/vnd.openxmlformats-officedocument.theme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5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6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7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8.xml" ContentType="application/vnd.openxmlformats-officedocument.theme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theme/theme9.xml" ContentType="application/vnd.openxmlformats-officedocument.theme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10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theme/theme11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12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theme/theme13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theme/theme14.xml" ContentType="application/vnd.openxmlformats-officedocument.theme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theme/theme15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theme/theme16.xml" ContentType="application/vnd.openxmlformats-officedocument.theme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theme/theme17.xml" ContentType="application/vnd.openxmlformats-officedocument.theme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theme/theme18.xml" ContentType="application/vnd.openxmlformats-officedocument.theme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theme/theme19.xml" ContentType="application/vnd.openxmlformats-officedocument.theme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theme/theme20.xml" ContentType="application/vnd.openxmlformats-officedocument.theme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theme/theme21.xml" ContentType="application/vnd.openxmlformats-officedocument.theme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theme/theme22.xml" ContentType="application/vnd.openxmlformats-officedocument.theme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theme/theme23.xml" ContentType="application/vnd.openxmlformats-officedocument.theme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theme/theme24.xml" ContentType="application/vnd.openxmlformats-officedocument.theme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theme/theme25.xml" ContentType="application/vnd.openxmlformats-officedocument.them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theme/theme26.xml" ContentType="application/vnd.openxmlformats-officedocument.them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theme/theme27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theme/theme28.xml" ContentType="application/vnd.openxmlformats-officedocument.theme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theme/theme29.xml" ContentType="application/vnd.openxmlformats-officedocument.theme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theme/theme30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slideLayouts/slideLayout494.xml" ContentType="application/vnd.openxmlformats-officedocument.presentationml.slideLayout+xml"/>
  <Override PartName="/ppt/theme/theme31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theme/theme32.xml" ContentType="application/vnd.openxmlformats-officedocument.theme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theme/theme33.xml" ContentType="application/vnd.openxmlformats-officedocument.theme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theme/theme34.xml" ContentType="application/vnd.openxmlformats-officedocument.theme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theme/theme35.xml" ContentType="application/vnd.openxmlformats-officedocument.theme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theme/theme36.xml" ContentType="application/vnd.openxmlformats-officedocument.theme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theme/theme37.xml" ContentType="application/vnd.openxmlformats-officedocument.theme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theme/theme38.xml" ContentType="application/vnd.openxmlformats-officedocument.theme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theme/theme39.xml" ContentType="application/vnd.openxmlformats-officedocument.theme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theme/theme40.xml" ContentType="application/vnd.openxmlformats-officedocument.theme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theme/theme41.xml" ContentType="application/vnd.openxmlformats-officedocument.theme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theme/theme42.xml" ContentType="application/vnd.openxmlformats-officedocument.theme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theme/theme43.xml" ContentType="application/vnd.openxmlformats-officedocument.theme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theme/theme44.xml" ContentType="application/vnd.openxmlformats-officedocument.theme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theme/theme45.xml" ContentType="application/vnd.openxmlformats-officedocument.theme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theme/theme46.xml" ContentType="application/vnd.openxmlformats-officedocument.theme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theme/theme47.xml" ContentType="application/vnd.openxmlformats-officedocument.theme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theme/theme48.xml" ContentType="application/vnd.openxmlformats-officedocument.theme+xml"/>
  <Override PartName="/ppt/tags/tag196.xml" ContentType="application/vnd.openxmlformats-officedocument.presentationml.tags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theme/theme49.xml" ContentType="application/vnd.openxmlformats-officedocument.them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theme/theme50.xml" ContentType="application/vnd.openxmlformats-officedocument.theme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theme/theme51.xml" ContentType="application/vnd.openxmlformats-officedocument.theme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theme/theme52.xml" ContentType="application/vnd.openxmlformats-officedocument.theme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heme/theme53.xml" ContentType="application/vnd.openxmlformats-officedocument.theme+xml"/>
  <Override PartName="/ppt/theme/theme5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502" r:id="rId1"/>
    <p:sldMasterId id="2147484531" r:id="rId2"/>
    <p:sldMasterId id="2147484572" r:id="rId3"/>
    <p:sldMasterId id="2147484609" r:id="rId4"/>
    <p:sldMasterId id="2147484646" r:id="rId5"/>
    <p:sldMasterId id="2147484687" r:id="rId6"/>
    <p:sldMasterId id="2147484692" r:id="rId7"/>
    <p:sldMasterId id="2147484697" r:id="rId8"/>
    <p:sldMasterId id="2147484733" r:id="rId9"/>
    <p:sldMasterId id="2147484769" r:id="rId10"/>
    <p:sldMasterId id="2147484774" r:id="rId11"/>
    <p:sldMasterId id="2147484779" r:id="rId12"/>
    <p:sldMasterId id="2147484798" r:id="rId13"/>
    <p:sldMasterId id="2147484817" r:id="rId14"/>
    <p:sldMasterId id="2147484853" r:id="rId15"/>
    <p:sldMasterId id="2147484872" r:id="rId16"/>
    <p:sldMasterId id="2147484908" r:id="rId17"/>
    <p:sldMasterId id="2147484917" r:id="rId18"/>
    <p:sldMasterId id="2147484926" r:id="rId19"/>
    <p:sldMasterId id="2147484935" r:id="rId20"/>
    <p:sldMasterId id="2147484944" r:id="rId21"/>
    <p:sldMasterId id="2147484953" r:id="rId22"/>
    <p:sldMasterId id="2147484962" r:id="rId23"/>
    <p:sldMasterId id="2147484971" r:id="rId24"/>
    <p:sldMasterId id="2147484980" r:id="rId25"/>
    <p:sldMasterId id="2147484985" r:id="rId26"/>
    <p:sldMasterId id="2147484991" r:id="rId27"/>
    <p:sldMasterId id="2147484996" r:id="rId28"/>
    <p:sldMasterId id="2147485042" r:id="rId29"/>
    <p:sldMasterId id="2147485059" r:id="rId30"/>
    <p:sldMasterId id="2147485064" r:id="rId31"/>
    <p:sldMasterId id="2147485066" r:id="rId32"/>
    <p:sldMasterId id="2147485076" r:id="rId33"/>
    <p:sldMasterId id="2147485086" r:id="rId34"/>
    <p:sldMasterId id="2147485096" r:id="rId35"/>
    <p:sldMasterId id="2147485106" r:id="rId36"/>
    <p:sldMasterId id="2147485116" r:id="rId37"/>
    <p:sldMasterId id="2147485126" r:id="rId38"/>
    <p:sldMasterId id="2147485133" r:id="rId39"/>
    <p:sldMasterId id="2147485196" r:id="rId40"/>
    <p:sldMasterId id="2147485240" r:id="rId41"/>
    <p:sldMasterId id="2147485284" r:id="rId42"/>
    <p:sldMasterId id="2147485328" r:id="rId43"/>
    <p:sldMasterId id="2147485372" r:id="rId44"/>
    <p:sldMasterId id="2147485398" r:id="rId45"/>
    <p:sldMasterId id="2147485409" r:id="rId46"/>
    <p:sldMasterId id="2147485451" r:id="rId47"/>
    <p:sldMasterId id="2147485466" r:id="rId48"/>
    <p:sldMasterId id="2147485535" r:id="rId49"/>
    <p:sldMasterId id="2147485567" r:id="rId50"/>
    <p:sldMasterId id="2147485570" r:id="rId51"/>
    <p:sldMasterId id="2147485573" r:id="rId52"/>
  </p:sldMasterIdLst>
  <p:notesMasterIdLst>
    <p:notesMasterId r:id="rId70"/>
  </p:notesMasterIdLst>
  <p:handoutMasterIdLst>
    <p:handoutMasterId r:id="rId71"/>
  </p:handoutMasterIdLst>
  <p:sldIdLst>
    <p:sldId id="750" r:id="rId53"/>
    <p:sldId id="1026" r:id="rId54"/>
    <p:sldId id="1145" r:id="rId55"/>
    <p:sldId id="1146" r:id="rId56"/>
    <p:sldId id="1180" r:id="rId57"/>
    <p:sldId id="1154" r:id="rId58"/>
    <p:sldId id="1155" r:id="rId59"/>
    <p:sldId id="1156" r:id="rId60"/>
    <p:sldId id="1159" r:id="rId61"/>
    <p:sldId id="1160" r:id="rId62"/>
    <p:sldId id="1140" r:id="rId63"/>
    <p:sldId id="1162" r:id="rId64"/>
    <p:sldId id="1143" r:id="rId65"/>
    <p:sldId id="1067" r:id="rId66"/>
    <p:sldId id="1047" r:id="rId67"/>
    <p:sldId id="1010" r:id="rId68"/>
    <p:sldId id="690" r:id="rId69"/>
  </p:sldIdLst>
  <p:sldSz cx="9144000" cy="5143500" type="screen16x9"/>
  <p:notesSz cx="6858000" cy="9144000"/>
  <p:defaultTextStyle>
    <a:defPPr>
      <a:defRPr lang="en-US"/>
    </a:defPPr>
    <a:lvl1pPr marL="0" algn="l" defTabSz="4565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593" algn="l" defTabSz="4565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259" algn="l" defTabSz="4565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9877" algn="l" defTabSz="4565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6519" algn="l" defTabSz="4565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3112" algn="l" defTabSz="4565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9707" algn="l" defTabSz="4565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6346" algn="l" defTabSz="4565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2975" algn="l" defTabSz="45659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29">
          <p15:clr>
            <a:srgbClr val="A4A3A4"/>
          </p15:clr>
        </p15:guide>
        <p15:guide id="2" pos="315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68AF"/>
    <a:srgbClr val="424344"/>
    <a:srgbClr val="0D868E"/>
    <a:srgbClr val="1293AE"/>
    <a:srgbClr val="2293BE"/>
    <a:srgbClr val="449640"/>
    <a:srgbClr val="D0E1E5"/>
    <a:srgbClr val="E7FAFE"/>
    <a:srgbClr val="32B2DF"/>
    <a:srgbClr val="6567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252" autoAdjust="0"/>
    <p:restoredTop sz="90063" autoAdjust="0"/>
  </p:normalViewPr>
  <p:slideViewPr>
    <p:cSldViewPr snapToGrid="0">
      <p:cViewPr varScale="1">
        <p:scale>
          <a:sx n="131" d="100"/>
          <a:sy n="131" d="100"/>
        </p:scale>
        <p:origin x="1128" y="168"/>
      </p:cViewPr>
      <p:guideLst>
        <p:guide orient="horz" pos="529"/>
        <p:guide pos="3153"/>
      </p:guideLst>
    </p:cSldViewPr>
  </p:slideViewPr>
  <p:outlineViewPr>
    <p:cViewPr>
      <p:scale>
        <a:sx n="33" d="100"/>
        <a:sy n="33" d="100"/>
      </p:scale>
      <p:origin x="0" y="10704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Grid="0">
      <p:cViewPr varScale="1">
        <p:scale>
          <a:sx n="75" d="100"/>
          <a:sy n="75" d="100"/>
        </p:scale>
        <p:origin x="-2178" y="-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Master" Target="slideMasters/slideMaster15.xml"/><Relationship Id="rId16" Type="http://schemas.openxmlformats.org/officeDocument/2006/relationships/slideMaster" Target="slideMasters/slideMaster16.xml"/><Relationship Id="rId17" Type="http://schemas.openxmlformats.org/officeDocument/2006/relationships/slideMaster" Target="slideMasters/slideMaster17.xml"/><Relationship Id="rId18" Type="http://schemas.openxmlformats.org/officeDocument/2006/relationships/slideMaster" Target="slideMasters/slideMaster18.xml"/><Relationship Id="rId19" Type="http://schemas.openxmlformats.org/officeDocument/2006/relationships/slideMaster" Target="slideMasters/slideMaster19.xml"/><Relationship Id="rId63" Type="http://schemas.openxmlformats.org/officeDocument/2006/relationships/slide" Target="slides/slide11.xml"/><Relationship Id="rId64" Type="http://schemas.openxmlformats.org/officeDocument/2006/relationships/slide" Target="slides/slide12.xml"/><Relationship Id="rId65" Type="http://schemas.openxmlformats.org/officeDocument/2006/relationships/slide" Target="slides/slide13.xml"/><Relationship Id="rId66" Type="http://schemas.openxmlformats.org/officeDocument/2006/relationships/slide" Target="slides/slide14.xml"/><Relationship Id="rId67" Type="http://schemas.openxmlformats.org/officeDocument/2006/relationships/slide" Target="slides/slide15.xml"/><Relationship Id="rId68" Type="http://schemas.openxmlformats.org/officeDocument/2006/relationships/slide" Target="slides/slide16.xml"/><Relationship Id="rId69" Type="http://schemas.openxmlformats.org/officeDocument/2006/relationships/slide" Target="slides/slide17.xml"/><Relationship Id="rId50" Type="http://schemas.openxmlformats.org/officeDocument/2006/relationships/slideMaster" Target="slideMasters/slideMaster50.xml"/><Relationship Id="rId51" Type="http://schemas.openxmlformats.org/officeDocument/2006/relationships/slideMaster" Target="slideMasters/slideMaster51.xml"/><Relationship Id="rId52" Type="http://schemas.openxmlformats.org/officeDocument/2006/relationships/slideMaster" Target="slideMasters/slideMaster52.xml"/><Relationship Id="rId53" Type="http://schemas.openxmlformats.org/officeDocument/2006/relationships/slide" Target="slides/slide1.xml"/><Relationship Id="rId54" Type="http://schemas.openxmlformats.org/officeDocument/2006/relationships/slide" Target="slides/slide2.xml"/><Relationship Id="rId55" Type="http://schemas.openxmlformats.org/officeDocument/2006/relationships/slide" Target="slides/slide3.xml"/><Relationship Id="rId56" Type="http://schemas.openxmlformats.org/officeDocument/2006/relationships/slide" Target="slides/slide4.xml"/><Relationship Id="rId57" Type="http://schemas.openxmlformats.org/officeDocument/2006/relationships/slide" Target="slides/slide5.xml"/><Relationship Id="rId58" Type="http://schemas.openxmlformats.org/officeDocument/2006/relationships/slide" Target="slides/slide6.xml"/><Relationship Id="rId59" Type="http://schemas.openxmlformats.org/officeDocument/2006/relationships/slide" Target="slides/slide7.xml"/><Relationship Id="rId40" Type="http://schemas.openxmlformats.org/officeDocument/2006/relationships/slideMaster" Target="slideMasters/slideMaster40.xml"/><Relationship Id="rId41" Type="http://schemas.openxmlformats.org/officeDocument/2006/relationships/slideMaster" Target="slideMasters/slideMaster41.xml"/><Relationship Id="rId42" Type="http://schemas.openxmlformats.org/officeDocument/2006/relationships/slideMaster" Target="slideMasters/slideMaster42.xml"/><Relationship Id="rId43" Type="http://schemas.openxmlformats.org/officeDocument/2006/relationships/slideMaster" Target="slideMasters/slideMaster43.xml"/><Relationship Id="rId44" Type="http://schemas.openxmlformats.org/officeDocument/2006/relationships/slideMaster" Target="slideMasters/slideMaster44.xml"/><Relationship Id="rId45" Type="http://schemas.openxmlformats.org/officeDocument/2006/relationships/slideMaster" Target="slideMasters/slideMaster45.xml"/><Relationship Id="rId46" Type="http://schemas.openxmlformats.org/officeDocument/2006/relationships/slideMaster" Target="slideMasters/slideMaster46.xml"/><Relationship Id="rId47" Type="http://schemas.openxmlformats.org/officeDocument/2006/relationships/slideMaster" Target="slideMasters/slideMaster47.xml"/><Relationship Id="rId48" Type="http://schemas.openxmlformats.org/officeDocument/2006/relationships/slideMaster" Target="slideMasters/slideMaster48.xml"/><Relationship Id="rId49" Type="http://schemas.openxmlformats.org/officeDocument/2006/relationships/slideMaster" Target="slideMasters/slideMaster49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9" Type="http://schemas.openxmlformats.org/officeDocument/2006/relationships/slideMaster" Target="slideMasters/slideMaster9.xml"/><Relationship Id="rId30" Type="http://schemas.openxmlformats.org/officeDocument/2006/relationships/slideMaster" Target="slideMasters/slideMaster30.xml"/><Relationship Id="rId31" Type="http://schemas.openxmlformats.org/officeDocument/2006/relationships/slideMaster" Target="slideMasters/slideMaster31.xml"/><Relationship Id="rId32" Type="http://schemas.openxmlformats.org/officeDocument/2006/relationships/slideMaster" Target="slideMasters/slideMaster32.xml"/><Relationship Id="rId33" Type="http://schemas.openxmlformats.org/officeDocument/2006/relationships/slideMaster" Target="slideMasters/slideMaster33.xml"/><Relationship Id="rId34" Type="http://schemas.openxmlformats.org/officeDocument/2006/relationships/slideMaster" Target="slideMasters/slideMaster34.xml"/><Relationship Id="rId35" Type="http://schemas.openxmlformats.org/officeDocument/2006/relationships/slideMaster" Target="slideMasters/slideMaster35.xml"/><Relationship Id="rId36" Type="http://schemas.openxmlformats.org/officeDocument/2006/relationships/slideMaster" Target="slideMasters/slideMaster36.xml"/><Relationship Id="rId37" Type="http://schemas.openxmlformats.org/officeDocument/2006/relationships/slideMaster" Target="slideMasters/slideMaster37.xml"/><Relationship Id="rId38" Type="http://schemas.openxmlformats.org/officeDocument/2006/relationships/slideMaster" Target="slideMasters/slideMaster38.xml"/><Relationship Id="rId39" Type="http://schemas.openxmlformats.org/officeDocument/2006/relationships/slideMaster" Target="slideMasters/slideMaster39.xml"/><Relationship Id="rId70" Type="http://schemas.openxmlformats.org/officeDocument/2006/relationships/notesMaster" Target="notesMasters/notesMaster1.xml"/><Relationship Id="rId71" Type="http://schemas.openxmlformats.org/officeDocument/2006/relationships/handoutMaster" Target="handoutMasters/handoutMaster1.xml"/><Relationship Id="rId72" Type="http://schemas.openxmlformats.org/officeDocument/2006/relationships/presProps" Target="presProps.xml"/><Relationship Id="rId20" Type="http://schemas.openxmlformats.org/officeDocument/2006/relationships/slideMaster" Target="slideMasters/slideMaster20.xml"/><Relationship Id="rId21" Type="http://schemas.openxmlformats.org/officeDocument/2006/relationships/slideMaster" Target="slideMasters/slideMaster21.xml"/><Relationship Id="rId22" Type="http://schemas.openxmlformats.org/officeDocument/2006/relationships/slideMaster" Target="slideMasters/slideMaster22.xml"/><Relationship Id="rId23" Type="http://schemas.openxmlformats.org/officeDocument/2006/relationships/slideMaster" Target="slideMasters/slideMaster23.xml"/><Relationship Id="rId24" Type="http://schemas.openxmlformats.org/officeDocument/2006/relationships/slideMaster" Target="slideMasters/slideMaster24.xml"/><Relationship Id="rId25" Type="http://schemas.openxmlformats.org/officeDocument/2006/relationships/slideMaster" Target="slideMasters/slideMaster25.xml"/><Relationship Id="rId26" Type="http://schemas.openxmlformats.org/officeDocument/2006/relationships/slideMaster" Target="slideMasters/slideMaster26.xml"/><Relationship Id="rId27" Type="http://schemas.openxmlformats.org/officeDocument/2006/relationships/slideMaster" Target="slideMasters/slideMaster27.xml"/><Relationship Id="rId28" Type="http://schemas.openxmlformats.org/officeDocument/2006/relationships/slideMaster" Target="slideMasters/slideMaster28.xml"/><Relationship Id="rId29" Type="http://schemas.openxmlformats.org/officeDocument/2006/relationships/slideMaster" Target="slideMasters/slideMaster29.xml"/><Relationship Id="rId73" Type="http://schemas.openxmlformats.org/officeDocument/2006/relationships/viewProps" Target="viewProps.xml"/><Relationship Id="rId74" Type="http://schemas.openxmlformats.org/officeDocument/2006/relationships/theme" Target="theme/theme1.xml"/><Relationship Id="rId75" Type="http://schemas.openxmlformats.org/officeDocument/2006/relationships/tableStyles" Target="tableStyles.xml"/><Relationship Id="rId60" Type="http://schemas.openxmlformats.org/officeDocument/2006/relationships/slide" Target="slides/slide8.xml"/><Relationship Id="rId61" Type="http://schemas.openxmlformats.org/officeDocument/2006/relationships/slide" Target="slides/slide9.xml"/><Relationship Id="rId62" Type="http://schemas.openxmlformats.org/officeDocument/2006/relationships/slide" Target="slides/slide10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gradFill>
              <a:gsLst>
                <a:gs pos="0">
                  <a:srgbClr val="44B77C"/>
                </a:gs>
                <a:gs pos="100000">
                  <a:srgbClr val="0C8687"/>
                </a:gs>
              </a:gsLst>
              <a:lin ang="10800000" scaled="0"/>
            </a:gradFill>
          </c:spPr>
          <c:dPt>
            <c:idx val="0"/>
            <c:bubble3D val="0"/>
            <c:spPr>
              <a:solidFill>
                <a:schemeClr val="accent1"/>
              </a:solidFill>
            </c:spPr>
          </c:dPt>
          <c:dPt>
            <c:idx val="1"/>
            <c:bubble3D val="0"/>
            <c:spPr>
              <a:solidFill>
                <a:schemeClr val="accent6"/>
              </a:solidFill>
            </c:spPr>
          </c:dPt>
          <c:dPt>
            <c:idx val="2"/>
            <c:bubble3D val="0"/>
            <c:spPr>
              <a:solidFill>
                <a:schemeClr val="accent5"/>
              </a:solidFill>
            </c:spPr>
          </c:dPt>
          <c:dPt>
            <c:idx val="3"/>
            <c:bubble3D val="0"/>
            <c:spPr>
              <a:solidFill>
                <a:schemeClr val="accent3"/>
              </a:solidFill>
            </c:spPr>
          </c:dPt>
          <c:dPt>
            <c:idx val="4"/>
            <c:bubble3D val="0"/>
            <c:spPr>
              <a:solidFill>
                <a:schemeClr val="accent4"/>
              </a:solidFill>
            </c:spPr>
          </c:dPt>
          <c:dPt>
            <c:idx val="5"/>
            <c:bubble3D val="0"/>
            <c:spPr>
              <a:gradFill>
                <a:gsLst>
                  <a:gs pos="0">
                    <a:schemeClr val="accent6">
                      <a:lumMod val="75000"/>
                    </a:schemeClr>
                  </a:gs>
                  <a:gs pos="100000">
                    <a:srgbClr val="3CBBB9">
                      <a:lumMod val="50000"/>
                    </a:srgbClr>
                  </a:gs>
                </a:gsLst>
                <a:lin ang="10800000" scaled="0"/>
              </a:gradFill>
            </c:spPr>
          </c:dPt>
          <c:dPt>
            <c:idx val="6"/>
            <c:bubble3D val="0"/>
            <c:spPr>
              <a:gradFill>
                <a:gsLst>
                  <a:gs pos="0">
                    <a:schemeClr val="accent6">
                      <a:lumMod val="75000"/>
                    </a:schemeClr>
                  </a:gs>
                  <a:gs pos="100000">
                    <a:srgbClr val="00BAB8"/>
                  </a:gs>
                </a:gsLst>
                <a:lin ang="19200000" scaled="0"/>
              </a:gradFill>
            </c:spPr>
          </c:dPt>
          <c:dPt>
            <c:idx val="7"/>
            <c:bubble3D val="0"/>
            <c:spPr>
              <a:gradFill>
                <a:gsLst>
                  <a:gs pos="0">
                    <a:schemeClr val="accent5">
                      <a:lumMod val="50000"/>
                    </a:schemeClr>
                  </a:gs>
                  <a:gs pos="100000">
                    <a:srgbClr val="0C8687"/>
                  </a:gs>
                </a:gsLst>
                <a:lin ang="10800000" scaled="0"/>
              </a:gradFill>
            </c:spPr>
          </c:dPt>
          <c:dPt>
            <c:idx val="8"/>
            <c:bubble3D val="0"/>
            <c:spPr>
              <a:gradFill>
                <a:gsLst>
                  <a:gs pos="100000">
                    <a:schemeClr val="accent6">
                      <a:lumMod val="75000"/>
                    </a:schemeClr>
                  </a:gs>
                  <a:gs pos="0">
                    <a:srgbClr val="00BAB8"/>
                  </a:gs>
                </a:gsLst>
                <a:lin ang="13800000" scaled="0"/>
              </a:gradFill>
            </c:spPr>
          </c:dPt>
          <c:dPt>
            <c:idx val="9"/>
            <c:bubble3D val="0"/>
            <c:spPr>
              <a:gradFill>
                <a:gsLst>
                  <a:gs pos="0">
                    <a:schemeClr val="accent5">
                      <a:lumMod val="75000"/>
                    </a:schemeClr>
                  </a:gs>
                  <a:gs pos="100000">
                    <a:srgbClr val="0C8687"/>
                  </a:gs>
                </a:gsLst>
                <a:lin ang="10800000" scaled="0"/>
              </a:gradFill>
            </c:spPr>
          </c:dPt>
          <c:cat>
            <c:strRef>
              <c:f>Sheet1!$A$2:$A$6</c:f>
              <c:strCache>
                <c:ptCount val="5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  <c:pt idx="4">
                  <c:v>1st Qtr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5.0</c:v>
                </c:pt>
                <c:pt idx="1">
                  <c:v>5.0</c:v>
                </c:pt>
                <c:pt idx="2">
                  <c:v>5.0</c:v>
                </c:pt>
                <c:pt idx="3">
                  <c:v>5.0</c:v>
                </c:pt>
                <c:pt idx="4">
                  <c:v>5.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42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B32D8C-52DD-4DA0-BEA4-61BCF7C2EDF9}" type="datetimeFigureOut">
              <a:rPr lang="en-GB" smtClean="0"/>
              <a:t>24/11/2017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E49DD2-7A7F-45D3-BF51-7B5A70AFB81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87989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B76084-FF89-C546-BB62-0004C5E16AD5}" type="datetimeFigureOut">
              <a:rPr lang="en-US" smtClean="0"/>
              <a:t>11/24/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0"/>
            <a:r>
              <a:rPr lang="en-GB" dirty="0" smtClean="0"/>
              <a:t>	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B2FCB79-2C0C-F84D-A224-30C295992FC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6343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65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593" algn="l" defTabSz="4565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259" algn="l" defTabSz="4565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9877" algn="l" defTabSz="4565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6519" algn="l" defTabSz="4565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3112" algn="l" defTabSz="4565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9707" algn="l" defTabSz="4565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6346" algn="l" defTabSz="4565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2975" algn="l" defTabSz="4565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Relationship Id="rId3" Type="http://schemas.openxmlformats.org/officeDocument/2006/relationships/hyperlink" Target="https://salesconnect.cloudapps.cisco.com/#/content-detail/4085b451-2e66-4b4a-9d08-c754e67c08fe" TargetMode="Externa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8858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hlinkClick r:id="rId3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6C1005-B323-4A04-B0D1-DB577C3C2ECA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03794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1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AAF21C7-1204-4129-9F3F-BF3E0435E934}" type="slidenum">
              <a:rPr lang="en-US"/>
              <a:pPr/>
              <a:t>14</a:t>
            </a:fld>
            <a:endParaRPr lang="en-US"/>
          </a:p>
        </p:txBody>
      </p:sp>
      <p:sp>
        <p:nvSpPr>
          <p:cNvPr id="4398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980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51456" y="4306187"/>
            <a:ext cx="5350422" cy="4184224"/>
          </a:xfrm>
        </p:spPr>
        <p:txBody>
          <a:bodyPr/>
          <a:lstStyle/>
          <a:p>
            <a:endParaRPr lang="en-US" sz="1400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5546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8235" indent="-168235">
              <a:buFontTx/>
              <a:buChar char="-"/>
            </a:pPr>
            <a:endParaRPr lang="en-US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59F602-BDF1-407D-A79B-0A9565B44417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4474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6C1005-B323-4A04-B0D1-DB577C3C2ECA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460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>
                <a:defRPr/>
              </a:pPr>
              <a:t>3</a:t>
            </a:fld>
            <a:endParaRPr lang="en-US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36671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4B3E29-E3C6-465A-BA15-E131EAE22360}" type="slidenum">
              <a:rPr lang="en-US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4</a:t>
            </a:fld>
            <a:endParaRPr lang="en-US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6351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sz="1200" kern="1200" dirty="0">
              <a:solidFill>
                <a:schemeClr val="tx1"/>
              </a:solidFill>
              <a:latin typeface="+mn-lt"/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2FCB79-2C0C-F84D-A224-30C295992FCE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3663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baseline="0" dirty="0" smtClean="0">
              <a:solidFill>
                <a:schemeClr val="tx1"/>
              </a:solidFill>
              <a:latin typeface="+mn-lt"/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ED3296-1B48-2940-B198-89A9B64010EC}" type="slidenum">
              <a:rPr lang="en-US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6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37609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ED3296-1B48-2940-B198-89A9B64010EC}" type="slidenum">
              <a:rPr lang="en-US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8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908245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2ED3296-1B48-2940-B198-89A9B64010EC}" type="slidenum">
              <a:rPr lang="en-US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9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076609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pPr>
                <a:defRPr/>
              </a:pPr>
              <a:t>10</a:t>
            </a:fld>
            <a:endParaRPr lang="en-US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80972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465776B-3168-1644-B1B3-BF26FC4C1DDD}" type="slidenum">
              <a:rPr lang="en-US" altLang="en-US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en-US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672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6.emf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6.emf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8.emf"/><Relationship Id="rId3" Type="http://schemas.openxmlformats.org/officeDocument/2006/relationships/image" Target="../media/image9.emf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2.png"/><Relationship Id="rId3" Type="http://schemas.microsoft.com/office/2007/relationships/hdphoto" Target="../media/hdphoto1.wdp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5.emf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2.png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6.emf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7.jpeg"/><Relationship Id="rId3" Type="http://schemas.openxmlformats.org/officeDocument/2006/relationships/image" Target="../media/image2.png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6.emf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8.emf"/><Relationship Id="rId3" Type="http://schemas.openxmlformats.org/officeDocument/2006/relationships/image" Target="../media/image9.emf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0.jpeg"/><Relationship Id="rId3" Type="http://schemas.openxmlformats.org/officeDocument/2006/relationships/image" Target="../media/image9.emf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Relationship Id="rId2" Type="http://schemas.openxmlformats.org/officeDocument/2006/relationships/image" Target="../media/image11.jpg"/><Relationship Id="rId3" Type="http://schemas.openxmlformats.org/officeDocument/2006/relationships/image" Target="../media/image5.emf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3.emf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4.png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3.emf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4.png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4.png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3.png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13.png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6.emf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6.emf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Relationship Id="rId2" Type="http://schemas.openxmlformats.org/officeDocument/2006/relationships/image" Target="../media/image4.png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5.emf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15.png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6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6.emf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Relationship Id="rId2" Type="http://schemas.openxmlformats.org/officeDocument/2006/relationships/image" Target="../media/image8.emf"/><Relationship Id="rId3" Type="http://schemas.openxmlformats.org/officeDocument/2006/relationships/image" Target="../media/image9.emf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3.emf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Relationship Id="rId2" Type="http://schemas.openxmlformats.org/officeDocument/2006/relationships/image" Target="../media/image4.png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Relationship Id="rId2" Type="http://schemas.openxmlformats.org/officeDocument/2006/relationships/image" Target="../media/image3.emf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Relationship Id="rId2" Type="http://schemas.openxmlformats.org/officeDocument/2006/relationships/image" Target="../media/image4.png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4" Type="http://schemas.openxmlformats.org/officeDocument/2006/relationships/image" Target="../media/image5.emf"/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16.emf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3.emf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4" Type="http://schemas.openxmlformats.org/officeDocument/2006/relationships/image" Target="../media/image9.emf"/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18.emf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20.jpeg"/><Relationship Id="rId3" Type="http://schemas.openxmlformats.org/officeDocument/2006/relationships/image" Target="../media/image21.png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Relationship Id="rId2" Type="http://schemas.openxmlformats.org/officeDocument/2006/relationships/image" Target="../media/image18.emf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4" Type="http://schemas.openxmlformats.org/officeDocument/2006/relationships/image" Target="../media/image5.emf"/><Relationship Id="rId1" Type="http://schemas.openxmlformats.org/officeDocument/2006/relationships/slideMaster" Target="../slideMasters/slideMaster13.xml"/><Relationship Id="rId2" Type="http://schemas.openxmlformats.org/officeDocument/2006/relationships/image" Target="../media/image16.emf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Relationship Id="rId2" Type="http://schemas.openxmlformats.org/officeDocument/2006/relationships/image" Target="../media/image3.emf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4" Type="http://schemas.openxmlformats.org/officeDocument/2006/relationships/image" Target="../media/image9.emf"/><Relationship Id="rId1" Type="http://schemas.openxmlformats.org/officeDocument/2006/relationships/slideMaster" Target="../slideMasters/slideMaster13.xml"/><Relationship Id="rId2" Type="http://schemas.openxmlformats.org/officeDocument/2006/relationships/image" Target="../media/image18.emf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emf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Relationship Id="rId2" Type="http://schemas.openxmlformats.org/officeDocument/2006/relationships/image" Target="../media/image20.jpeg"/><Relationship Id="rId3" Type="http://schemas.openxmlformats.org/officeDocument/2006/relationships/image" Target="../media/image21.png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Relationship Id="rId2" Type="http://schemas.openxmlformats.org/officeDocument/2006/relationships/image" Target="../media/image18.emf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Relationship Id="rId2" Type="http://schemas.openxmlformats.org/officeDocument/2006/relationships/image" Target="../media/image5.emf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Relationship Id="rId2" Type="http://schemas.openxmlformats.org/officeDocument/2006/relationships/image" Target="../media/image15.png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jpeg"/><Relationship Id="rId3" Type="http://schemas.openxmlformats.org/officeDocument/2006/relationships/image" Target="../media/image2.png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emf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Relationship Id="rId2" Type="http://schemas.openxmlformats.org/officeDocument/2006/relationships/image" Target="../media/image6.emf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Relationship Id="rId2" Type="http://schemas.openxmlformats.org/officeDocument/2006/relationships/image" Target="../media/image6.emf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Relationship Id="rId2" Type="http://schemas.openxmlformats.org/officeDocument/2006/relationships/image" Target="../media/image8.emf"/><Relationship Id="rId3" Type="http://schemas.openxmlformats.org/officeDocument/2006/relationships/image" Target="../media/image9.emf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4" Type="http://schemas.openxmlformats.org/officeDocument/2006/relationships/image" Target="../media/image5.emf"/><Relationship Id="rId1" Type="http://schemas.openxmlformats.org/officeDocument/2006/relationships/slideMaster" Target="../slideMasters/slideMaster15.xml"/><Relationship Id="rId2" Type="http://schemas.openxmlformats.org/officeDocument/2006/relationships/image" Target="../media/image16.emf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Relationship Id="rId2" Type="http://schemas.openxmlformats.org/officeDocument/2006/relationships/image" Target="../media/image3.emf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4" Type="http://schemas.openxmlformats.org/officeDocument/2006/relationships/image" Target="../media/image9.emf"/><Relationship Id="rId1" Type="http://schemas.openxmlformats.org/officeDocument/2006/relationships/slideMaster" Target="../slideMasters/slideMaster15.xml"/><Relationship Id="rId2" Type="http://schemas.openxmlformats.org/officeDocument/2006/relationships/image" Target="../media/image18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Relationship Id="rId2" Type="http://schemas.openxmlformats.org/officeDocument/2006/relationships/image" Target="../media/image20.jpeg"/><Relationship Id="rId3" Type="http://schemas.openxmlformats.org/officeDocument/2006/relationships/image" Target="../media/image21.png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Relationship Id="rId2" Type="http://schemas.openxmlformats.org/officeDocument/2006/relationships/image" Target="../media/image18.emf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Relationship Id="rId2" Type="http://schemas.openxmlformats.org/officeDocument/2006/relationships/image" Target="../media/image5.emf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Relationship Id="rId2" Type="http://schemas.openxmlformats.org/officeDocument/2006/relationships/image" Target="../media/image15.png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Relationship Id="rId2" Type="http://schemas.openxmlformats.org/officeDocument/2006/relationships/image" Target="../media/image6.emf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Relationship Id="rId2" Type="http://schemas.openxmlformats.org/officeDocument/2006/relationships/image" Target="../media/image6.emf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Relationship Id="rId2" Type="http://schemas.openxmlformats.org/officeDocument/2006/relationships/image" Target="../media/image8.emf"/><Relationship Id="rId3" Type="http://schemas.openxmlformats.org/officeDocument/2006/relationships/image" Target="../media/image9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4" Type="http://schemas.openxmlformats.org/officeDocument/2006/relationships/image" Target="../media/image5.emf"/><Relationship Id="rId1" Type="http://schemas.openxmlformats.org/officeDocument/2006/relationships/slideMaster" Target="../slideMasters/slideMaster17.xml"/><Relationship Id="rId2" Type="http://schemas.openxmlformats.org/officeDocument/2006/relationships/image" Target="../media/image22.emf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4" Type="http://schemas.openxmlformats.org/officeDocument/2006/relationships/image" Target="../media/image5.emf"/><Relationship Id="rId1" Type="http://schemas.openxmlformats.org/officeDocument/2006/relationships/slideMaster" Target="../slideMasters/slideMaster17.xml"/><Relationship Id="rId2" Type="http://schemas.openxmlformats.org/officeDocument/2006/relationships/image" Target="../media/image22.emf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4" Type="http://schemas.openxmlformats.org/officeDocument/2006/relationships/image" Target="../media/image5.emf"/><Relationship Id="rId1" Type="http://schemas.openxmlformats.org/officeDocument/2006/relationships/slideMaster" Target="../slideMasters/slideMaster18.xml"/><Relationship Id="rId2" Type="http://schemas.openxmlformats.org/officeDocument/2006/relationships/image" Target="../media/image22.emf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4" Type="http://schemas.openxmlformats.org/officeDocument/2006/relationships/image" Target="../media/image5.emf"/><Relationship Id="rId1" Type="http://schemas.openxmlformats.org/officeDocument/2006/relationships/slideMaster" Target="../slideMasters/slideMaster18.xml"/><Relationship Id="rId2" Type="http://schemas.openxmlformats.org/officeDocument/2006/relationships/image" Target="../media/image22.emf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4" Type="http://schemas.openxmlformats.org/officeDocument/2006/relationships/image" Target="../media/image5.emf"/><Relationship Id="rId1" Type="http://schemas.openxmlformats.org/officeDocument/2006/relationships/slideMaster" Target="../slideMasters/slideMaster19.xml"/><Relationship Id="rId2" Type="http://schemas.openxmlformats.org/officeDocument/2006/relationships/image" Target="../media/image22.emf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4" Type="http://schemas.openxmlformats.org/officeDocument/2006/relationships/image" Target="../media/image5.emf"/><Relationship Id="rId1" Type="http://schemas.openxmlformats.org/officeDocument/2006/relationships/slideMaster" Target="../slideMasters/slideMaster19.xml"/><Relationship Id="rId2" Type="http://schemas.openxmlformats.org/officeDocument/2006/relationships/image" Target="../media/image22.emf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emf"/><Relationship Id="rId3" Type="http://schemas.openxmlformats.org/officeDocument/2006/relationships/image" Target="../media/image9.emf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4" Type="http://schemas.openxmlformats.org/officeDocument/2006/relationships/image" Target="../media/image5.emf"/><Relationship Id="rId1" Type="http://schemas.openxmlformats.org/officeDocument/2006/relationships/slideMaster" Target="../slideMasters/slideMaster20.xml"/><Relationship Id="rId2" Type="http://schemas.openxmlformats.org/officeDocument/2006/relationships/image" Target="../media/image22.emf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4" Type="http://schemas.openxmlformats.org/officeDocument/2006/relationships/image" Target="../media/image5.emf"/><Relationship Id="rId1" Type="http://schemas.openxmlformats.org/officeDocument/2006/relationships/slideMaster" Target="../slideMasters/slideMaster20.xml"/><Relationship Id="rId2" Type="http://schemas.openxmlformats.org/officeDocument/2006/relationships/image" Target="../media/image22.emf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4" Type="http://schemas.openxmlformats.org/officeDocument/2006/relationships/image" Target="../media/image5.emf"/><Relationship Id="rId1" Type="http://schemas.openxmlformats.org/officeDocument/2006/relationships/slideMaster" Target="../slideMasters/slideMaster21.xml"/><Relationship Id="rId2" Type="http://schemas.openxmlformats.org/officeDocument/2006/relationships/image" Target="../media/image22.emf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4" Type="http://schemas.openxmlformats.org/officeDocument/2006/relationships/image" Target="../media/image5.emf"/><Relationship Id="rId1" Type="http://schemas.openxmlformats.org/officeDocument/2006/relationships/slideMaster" Target="../slideMasters/slideMaster21.xml"/><Relationship Id="rId2" Type="http://schemas.openxmlformats.org/officeDocument/2006/relationships/image" Target="../media/image22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0.jpeg"/><Relationship Id="rId3" Type="http://schemas.openxmlformats.org/officeDocument/2006/relationships/image" Target="../media/image9.emf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4" Type="http://schemas.openxmlformats.org/officeDocument/2006/relationships/image" Target="../media/image5.emf"/><Relationship Id="rId1" Type="http://schemas.openxmlformats.org/officeDocument/2006/relationships/slideMaster" Target="../slideMasters/slideMaster22.xml"/><Relationship Id="rId2" Type="http://schemas.openxmlformats.org/officeDocument/2006/relationships/image" Target="../media/image22.emf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4" Type="http://schemas.openxmlformats.org/officeDocument/2006/relationships/image" Target="../media/image5.emf"/><Relationship Id="rId1" Type="http://schemas.openxmlformats.org/officeDocument/2006/relationships/slideMaster" Target="../slideMasters/slideMaster22.xml"/><Relationship Id="rId2" Type="http://schemas.openxmlformats.org/officeDocument/2006/relationships/image" Target="../media/image22.emf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4" Type="http://schemas.openxmlformats.org/officeDocument/2006/relationships/image" Target="../media/image5.emf"/><Relationship Id="rId1" Type="http://schemas.openxmlformats.org/officeDocument/2006/relationships/slideMaster" Target="../slideMasters/slideMaster23.xml"/><Relationship Id="rId2" Type="http://schemas.openxmlformats.org/officeDocument/2006/relationships/image" Target="../media/image22.emf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4" Type="http://schemas.openxmlformats.org/officeDocument/2006/relationships/image" Target="../media/image5.emf"/><Relationship Id="rId1" Type="http://schemas.openxmlformats.org/officeDocument/2006/relationships/slideMaster" Target="../slideMasters/slideMaster23.xml"/><Relationship Id="rId2" Type="http://schemas.openxmlformats.org/officeDocument/2006/relationships/image" Target="../media/image22.emf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4" Type="http://schemas.openxmlformats.org/officeDocument/2006/relationships/image" Target="../media/image5.emf"/><Relationship Id="rId1" Type="http://schemas.openxmlformats.org/officeDocument/2006/relationships/slideMaster" Target="../slideMasters/slideMaster24.xml"/><Relationship Id="rId2" Type="http://schemas.openxmlformats.org/officeDocument/2006/relationships/image" Target="../media/image22.emf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4" Type="http://schemas.openxmlformats.org/officeDocument/2006/relationships/image" Target="../media/image5.emf"/><Relationship Id="rId1" Type="http://schemas.openxmlformats.org/officeDocument/2006/relationships/slideMaster" Target="../slideMasters/slideMaster24.xml"/><Relationship Id="rId2" Type="http://schemas.openxmlformats.org/officeDocument/2006/relationships/image" Target="../media/image22.emf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Relationship Id="rId2" Type="http://schemas.openxmlformats.org/officeDocument/2006/relationships/image" Target="../media/image3.emf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jpg"/><Relationship Id="rId3" Type="http://schemas.openxmlformats.org/officeDocument/2006/relationships/image" Target="../media/image5.emf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Relationship Id="rId2" Type="http://schemas.openxmlformats.org/officeDocument/2006/relationships/image" Target="../media/image13.png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Relationship Id="rId2" Type="http://schemas.openxmlformats.org/officeDocument/2006/relationships/image" Target="../media/image4.png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Relationship Id="rId2" Type="http://schemas.openxmlformats.org/officeDocument/2006/relationships/image" Target="../media/image3.emf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Relationship Id="rId2" Type="http://schemas.openxmlformats.org/officeDocument/2006/relationships/image" Target="../media/image13.png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Relationship Id="rId2" Type="http://schemas.openxmlformats.org/officeDocument/2006/relationships/image" Target="../media/image4.png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Relationship Id="rId2" Type="http://schemas.openxmlformats.org/officeDocument/2006/relationships/image" Target="../media/image3.emf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Relationship Id="rId2" Type="http://schemas.openxmlformats.org/officeDocument/2006/relationships/image" Target="../media/image4.pn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emf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Relationship Id="rId2" Type="http://schemas.openxmlformats.org/officeDocument/2006/relationships/image" Target="../media/image26.png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Relationship Id="rId2" Type="http://schemas.openxmlformats.org/officeDocument/2006/relationships/image" Target="../media/image27.png"/><Relationship Id="rId3" Type="http://schemas.openxmlformats.org/officeDocument/2006/relationships/image" Target="../media/image26.png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Relationship Id="rId2" Type="http://schemas.openxmlformats.org/officeDocument/2006/relationships/image" Target="../media/image28.jpeg"/><Relationship Id="rId3" Type="http://schemas.openxmlformats.org/officeDocument/2006/relationships/image" Target="../media/image29.png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Relationship Id="rId2" Type="http://schemas.openxmlformats.org/officeDocument/2006/relationships/image" Target="../media/image25.png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Relationship Id="rId2" Type="http://schemas.openxmlformats.org/officeDocument/2006/relationships/image" Target="../media/image30.png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Relationship Id="rId2" Type="http://schemas.openxmlformats.org/officeDocument/2006/relationships/image" Target="../media/image31.png"/><Relationship Id="rId3" Type="http://schemas.openxmlformats.org/officeDocument/2006/relationships/image" Target="../media/image25.png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Relationship Id="rId2" Type="http://schemas.openxmlformats.org/officeDocument/2006/relationships/image" Target="../media/image31.png"/><Relationship Id="rId3" Type="http://schemas.openxmlformats.org/officeDocument/2006/relationships/image" Target="../media/image25.png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Relationship Id="rId2" Type="http://schemas.openxmlformats.org/officeDocument/2006/relationships/image" Target="../media/image31.png"/><Relationship Id="rId3" Type="http://schemas.openxmlformats.org/officeDocument/2006/relationships/image" Target="../media/image25.png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png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Relationship Id="rId2" Type="http://schemas.openxmlformats.org/officeDocument/2006/relationships/image" Target="../media/image32.png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Relationship Id="rId2" Type="http://schemas.openxmlformats.org/officeDocument/2006/relationships/image" Target="../media/image6.emf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Relationship Id="rId2" Type="http://schemas.openxmlformats.org/officeDocument/2006/relationships/image" Target="../media/image6.emf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Relationship Id="rId2" Type="http://schemas.openxmlformats.org/officeDocument/2006/relationships/image" Target="../media/image8.emf"/><Relationship Id="rId3" Type="http://schemas.openxmlformats.org/officeDocument/2006/relationships/image" Target="../media/image33.png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Relationship Id="rId2" Type="http://schemas.openxmlformats.org/officeDocument/2006/relationships/image" Target="../media/image34.jpeg"/><Relationship Id="rId3" Type="http://schemas.openxmlformats.org/officeDocument/2006/relationships/image" Target="../media/image35.png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Relationship Id="rId2" Type="http://schemas.openxmlformats.org/officeDocument/2006/relationships/image" Target="../media/image26.png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4" Type="http://schemas.openxmlformats.org/officeDocument/2006/relationships/image" Target="../media/image37.png"/><Relationship Id="rId1" Type="http://schemas.openxmlformats.org/officeDocument/2006/relationships/slideMaster" Target="../slideMasters/slideMaster29.xml"/><Relationship Id="rId2" Type="http://schemas.openxmlformats.org/officeDocument/2006/relationships/image" Target="../media/image27.png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4" Type="http://schemas.openxmlformats.org/officeDocument/2006/relationships/image" Target="../media/image37.png"/><Relationship Id="rId1" Type="http://schemas.openxmlformats.org/officeDocument/2006/relationships/slideMaster" Target="../slideMasters/slideMaster29.xml"/><Relationship Id="rId2" Type="http://schemas.openxmlformats.org/officeDocument/2006/relationships/image" Target="../media/image38.png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Relationship Id="rId2" Type="http://schemas.openxmlformats.org/officeDocument/2006/relationships/image" Target="../media/image30.png"/><Relationship Id="rId3" Type="http://schemas.openxmlformats.org/officeDocument/2006/relationships/image" Target="../media/image37.png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Relationship Id="rId2" Type="http://schemas.openxmlformats.org/officeDocument/2006/relationships/image" Target="../media/image31.png"/><Relationship Id="rId3" Type="http://schemas.openxmlformats.org/officeDocument/2006/relationships/image" Target="../media/image25.pn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Relationship Id="rId2" Type="http://schemas.openxmlformats.org/officeDocument/2006/relationships/image" Target="../media/image31.png"/><Relationship Id="rId3" Type="http://schemas.openxmlformats.org/officeDocument/2006/relationships/image" Target="../media/image25.png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Relationship Id="rId2" Type="http://schemas.openxmlformats.org/officeDocument/2006/relationships/image" Target="../media/image31.png"/><Relationship Id="rId3" Type="http://schemas.openxmlformats.org/officeDocument/2006/relationships/image" Target="../media/image25.png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Relationship Id="rId2" Type="http://schemas.openxmlformats.org/officeDocument/2006/relationships/image" Target="../media/image32.png"/><Relationship Id="rId3" Type="http://schemas.openxmlformats.org/officeDocument/2006/relationships/image" Target="../media/image37.png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Relationship Id="rId2" Type="http://schemas.openxmlformats.org/officeDocument/2006/relationships/image" Target="../media/image3.emf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Relationship Id="rId2" Type="http://schemas.openxmlformats.org/officeDocument/2006/relationships/image" Target="../media/image4.png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Relationship Id="rId2" Type="http://schemas.openxmlformats.org/officeDocument/2006/relationships/image" Target="../media/image3.emf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Relationship Id="rId2" Type="http://schemas.openxmlformats.org/officeDocument/2006/relationships/image" Target="../media/image14.png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Relationship Id="rId2" Type="http://schemas.openxmlformats.org/officeDocument/2006/relationships/image" Target="../media/image13.png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Relationship Id="rId2" Type="http://schemas.openxmlformats.org/officeDocument/2006/relationships/image" Target="../media/image13.png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Relationship Id="rId2" Type="http://schemas.openxmlformats.org/officeDocument/2006/relationships/image" Target="../media/image4.png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Relationship Id="rId2" Type="http://schemas.openxmlformats.org/officeDocument/2006/relationships/image" Target="../media/image14.png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Relationship Id="rId2" Type="http://schemas.openxmlformats.org/officeDocument/2006/relationships/image" Target="../media/image13.png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Relationship Id="rId2" Type="http://schemas.openxmlformats.org/officeDocument/2006/relationships/image" Target="../media/image13.png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Relationship Id="rId2" Type="http://schemas.openxmlformats.org/officeDocument/2006/relationships/image" Target="../media/image4.png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Relationship Id="rId2" Type="http://schemas.openxmlformats.org/officeDocument/2006/relationships/image" Target="../media/image14.png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Relationship Id="rId2" Type="http://schemas.openxmlformats.org/officeDocument/2006/relationships/image" Target="../media/image13.png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Relationship Id="rId2" Type="http://schemas.openxmlformats.org/officeDocument/2006/relationships/image" Target="../media/image13.png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Relationship Id="rId2" Type="http://schemas.openxmlformats.org/officeDocument/2006/relationships/image" Target="../media/image4.pn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Relationship Id="rId2" Type="http://schemas.openxmlformats.org/officeDocument/2006/relationships/image" Target="../media/image14.png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Relationship Id="rId2" Type="http://schemas.openxmlformats.org/officeDocument/2006/relationships/image" Target="../media/image13.png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Relationship Id="rId2" Type="http://schemas.openxmlformats.org/officeDocument/2006/relationships/image" Target="../media/image13.png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Relationship Id="rId2" Type="http://schemas.openxmlformats.org/officeDocument/2006/relationships/image" Target="../media/image4.png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Relationship Id="rId2" Type="http://schemas.openxmlformats.org/officeDocument/2006/relationships/image" Target="../media/image14.png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Relationship Id="rId2" Type="http://schemas.openxmlformats.org/officeDocument/2006/relationships/image" Target="../media/image13.png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Relationship Id="rId2" Type="http://schemas.openxmlformats.org/officeDocument/2006/relationships/image" Target="../media/image13.png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Relationship Id="rId2" Type="http://schemas.openxmlformats.org/officeDocument/2006/relationships/image" Target="../media/image4.png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Relationship Id="rId2" Type="http://schemas.openxmlformats.org/officeDocument/2006/relationships/image" Target="../media/image14.png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Relationship Id="rId2" Type="http://schemas.openxmlformats.org/officeDocument/2006/relationships/image" Target="../media/image13.png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Relationship Id="rId2" Type="http://schemas.openxmlformats.org/officeDocument/2006/relationships/image" Target="../media/image13.png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Relationship Id="rId2" Type="http://schemas.openxmlformats.org/officeDocument/2006/relationships/image" Target="../media/image4.png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Relationship Id="rId2" Type="http://schemas.openxmlformats.org/officeDocument/2006/relationships/image" Target="../media/image14.png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Relationship Id="rId2" Type="http://schemas.openxmlformats.org/officeDocument/2006/relationships/image" Target="../media/image13.png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Relationship Id="rId2" Type="http://schemas.openxmlformats.org/officeDocument/2006/relationships/image" Target="../media/image4.png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Relationship Id="rId2" Type="http://schemas.openxmlformats.org/officeDocument/2006/relationships/image" Target="../media/image40.png"/><Relationship Id="rId3" Type="http://schemas.openxmlformats.org/officeDocument/2006/relationships/image" Target="../media/image5.emf"/></Relationships>
</file>

<file path=ppt/slideLayouts/_rels/slideLayout5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4" Type="http://schemas.openxmlformats.org/officeDocument/2006/relationships/image" Target="../media/image43.png"/><Relationship Id="rId1" Type="http://schemas.openxmlformats.org/officeDocument/2006/relationships/slideMaster" Target="../slideMasters/slideMaster39.xml"/><Relationship Id="rId2" Type="http://schemas.openxmlformats.org/officeDocument/2006/relationships/image" Target="../media/image41.jpg"/></Relationships>
</file>

<file path=ppt/slideLayouts/_rels/slideLayout5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4" Type="http://schemas.openxmlformats.org/officeDocument/2006/relationships/image" Target="../media/image43.png"/><Relationship Id="rId1" Type="http://schemas.openxmlformats.org/officeDocument/2006/relationships/slideMaster" Target="../slideMasters/slideMaster39.xml"/><Relationship Id="rId2" Type="http://schemas.openxmlformats.org/officeDocument/2006/relationships/image" Target="../media/image41.jpg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Relationship Id="rId2" Type="http://schemas.openxmlformats.org/officeDocument/2006/relationships/image" Target="../media/image2.png"/><Relationship Id="rId3" Type="http://schemas.openxmlformats.org/officeDocument/2006/relationships/image" Target="../media/image40.png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Relationship Id="rId2" Type="http://schemas.openxmlformats.org/officeDocument/2006/relationships/image" Target="../media/image6.emf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Relationship Id="rId2" Type="http://schemas.openxmlformats.org/officeDocument/2006/relationships/image" Target="../media/image6.emf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Relationship Id="rId2" Type="http://schemas.openxmlformats.org/officeDocument/2006/relationships/image" Target="../media/image8.emf"/><Relationship Id="rId3" Type="http://schemas.openxmlformats.org/officeDocument/2006/relationships/image" Target="../media/image9.emf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Relationship Id="rId2" Type="http://schemas.openxmlformats.org/officeDocument/2006/relationships/image" Target="../media/image44.jpg"/><Relationship Id="rId3" Type="http://schemas.openxmlformats.org/officeDocument/2006/relationships/image" Target="../media/image2.png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Relationship Id="rId2" Type="http://schemas.openxmlformats.org/officeDocument/2006/relationships/image" Target="../media/image45.tiff"/><Relationship Id="rId3" Type="http://schemas.openxmlformats.org/officeDocument/2006/relationships/image" Target="../media/image9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Relationship Id="rId2" Type="http://schemas.openxmlformats.org/officeDocument/2006/relationships/image" Target="../media/image47.png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Relationship Id="rId2" Type="http://schemas.openxmlformats.org/officeDocument/2006/relationships/image" Target="../media/image48.png"/><Relationship Id="rId3" Type="http://schemas.openxmlformats.org/officeDocument/2006/relationships/image" Target="../media/image49.png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Relationship Id="rId2" Type="http://schemas.openxmlformats.org/officeDocument/2006/relationships/image" Target="../media/image46.png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Relationship Id="rId2" Type="http://schemas.openxmlformats.org/officeDocument/2006/relationships/image" Target="../media/image6.emf"/></Relationships>
</file>

<file path=ppt/slideLayouts/_rels/slideLayout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Relationship Id="rId2" Type="http://schemas.openxmlformats.org/officeDocument/2006/relationships/image" Target="../media/image6.emf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Relationship Id="rId2" Type="http://schemas.openxmlformats.org/officeDocument/2006/relationships/image" Target="../media/image8.emf"/><Relationship Id="rId3" Type="http://schemas.openxmlformats.org/officeDocument/2006/relationships/image" Target="../media/image50.png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Relationship Id="rId2" Type="http://schemas.openxmlformats.org/officeDocument/2006/relationships/image" Target="../media/image51.jpg"/><Relationship Id="rId3" Type="http://schemas.openxmlformats.org/officeDocument/2006/relationships/image" Target="../media/image52.png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Relationship Id="rId2" Type="http://schemas.openxmlformats.org/officeDocument/2006/relationships/image" Target="../media/image46.png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Relationship Id="rId2" Type="http://schemas.openxmlformats.org/officeDocument/2006/relationships/image" Target="../media/image46.png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Relationship Id="rId2" Type="http://schemas.openxmlformats.org/officeDocument/2006/relationships/image" Target="../media/image47.png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Relationship Id="rId2" Type="http://schemas.openxmlformats.org/officeDocument/2006/relationships/image" Target="../media/image48.png"/><Relationship Id="rId3" Type="http://schemas.openxmlformats.org/officeDocument/2006/relationships/image" Target="../media/image49.png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Relationship Id="rId2" Type="http://schemas.openxmlformats.org/officeDocument/2006/relationships/image" Target="../media/image46.png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6.emf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Relationship Id="rId2" Type="http://schemas.openxmlformats.org/officeDocument/2006/relationships/image" Target="../media/image6.emf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Relationship Id="rId2" Type="http://schemas.openxmlformats.org/officeDocument/2006/relationships/image" Target="../media/image6.emf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Relationship Id="rId2" Type="http://schemas.openxmlformats.org/officeDocument/2006/relationships/image" Target="../media/image8.emf"/><Relationship Id="rId3" Type="http://schemas.openxmlformats.org/officeDocument/2006/relationships/image" Target="../media/image50.png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6.emf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Relationship Id="rId2" Type="http://schemas.openxmlformats.org/officeDocument/2006/relationships/image" Target="../media/image51.jpg"/><Relationship Id="rId3" Type="http://schemas.openxmlformats.org/officeDocument/2006/relationships/image" Target="../media/image52.png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Relationship Id="rId2" Type="http://schemas.openxmlformats.org/officeDocument/2006/relationships/image" Target="../media/image46.png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Relationship Id="rId2" Type="http://schemas.openxmlformats.org/officeDocument/2006/relationships/image" Target="../media/image46.png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Relationship Id="rId2" Type="http://schemas.openxmlformats.org/officeDocument/2006/relationships/image" Target="../media/image47.png"/></Relationships>
</file>

<file path=ppt/slideLayouts/_rels/slideLayout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Relationship Id="rId2" Type="http://schemas.openxmlformats.org/officeDocument/2006/relationships/image" Target="../media/image48.png"/><Relationship Id="rId3" Type="http://schemas.openxmlformats.org/officeDocument/2006/relationships/image" Target="../media/image49.png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Relationship Id="rId2" Type="http://schemas.openxmlformats.org/officeDocument/2006/relationships/image" Target="../media/image46.png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Relationship Id="rId2" Type="http://schemas.openxmlformats.org/officeDocument/2006/relationships/image" Target="../media/image6.emf"/></Relationships>
</file>

<file path=ppt/slideLayouts/_rels/slideLayout7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Relationship Id="rId2" Type="http://schemas.openxmlformats.org/officeDocument/2006/relationships/image" Target="../media/image6.emf"/></Relationships>
</file>

<file path=ppt/slideLayouts/_rels/slideLayout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Relationship Id="rId2" Type="http://schemas.openxmlformats.org/officeDocument/2006/relationships/image" Target="../media/image8.emf"/><Relationship Id="rId3" Type="http://schemas.openxmlformats.org/officeDocument/2006/relationships/image" Target="../media/image50.png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Relationship Id="rId2" Type="http://schemas.openxmlformats.org/officeDocument/2006/relationships/image" Target="../media/image51.jpg"/><Relationship Id="rId3" Type="http://schemas.openxmlformats.org/officeDocument/2006/relationships/image" Target="../media/image52.png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Relationship Id="rId2" Type="http://schemas.openxmlformats.org/officeDocument/2006/relationships/image" Target="../media/image46.png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Relationship Id="rId2" Type="http://schemas.openxmlformats.org/officeDocument/2006/relationships/image" Target="../media/image46.png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Relationship Id="rId2" Type="http://schemas.openxmlformats.org/officeDocument/2006/relationships/image" Target="../media/image47.png"/></Relationships>
</file>

<file path=ppt/slideLayouts/_rels/slideLayout7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Relationship Id="rId2" Type="http://schemas.openxmlformats.org/officeDocument/2006/relationships/image" Target="../media/image48.png"/><Relationship Id="rId3" Type="http://schemas.openxmlformats.org/officeDocument/2006/relationships/image" Target="../media/image49.png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Relationship Id="rId2" Type="http://schemas.openxmlformats.org/officeDocument/2006/relationships/image" Target="../media/image46.png"/></Relationships>
</file>

<file path=ppt/slideLayouts/_rels/slideLayout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Relationship Id="rId2" Type="http://schemas.openxmlformats.org/officeDocument/2006/relationships/image" Target="../media/image6.emf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Relationship Id="rId2" Type="http://schemas.openxmlformats.org/officeDocument/2006/relationships/image" Target="../media/image6.emf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Relationship Id="rId2" Type="http://schemas.openxmlformats.org/officeDocument/2006/relationships/image" Target="../media/image8.emf"/><Relationship Id="rId3" Type="http://schemas.openxmlformats.org/officeDocument/2006/relationships/image" Target="../media/image50.png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Relationship Id="rId2" Type="http://schemas.openxmlformats.org/officeDocument/2006/relationships/image" Target="../media/image51.jpg"/><Relationship Id="rId3" Type="http://schemas.openxmlformats.org/officeDocument/2006/relationships/image" Target="../media/image52.png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Relationship Id="rId2" Type="http://schemas.openxmlformats.org/officeDocument/2006/relationships/image" Target="../media/image46.png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8.emf"/><Relationship Id="rId3" Type="http://schemas.openxmlformats.org/officeDocument/2006/relationships/image" Target="../media/image9.emf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Relationship Id="rId2" Type="http://schemas.openxmlformats.org/officeDocument/2006/relationships/image" Target="../media/image46.png"/></Relationships>
</file>

<file path=ppt/slideLayouts/_rels/slideLayout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Relationship Id="rId2" Type="http://schemas.openxmlformats.org/officeDocument/2006/relationships/image" Target="../media/image47.png"/></Relationships>
</file>

<file path=ppt/slideLayouts/_rels/slideLayout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Relationship Id="rId2" Type="http://schemas.openxmlformats.org/officeDocument/2006/relationships/image" Target="../media/image48.png"/><Relationship Id="rId3" Type="http://schemas.openxmlformats.org/officeDocument/2006/relationships/image" Target="../media/image49.png"/></Relationships>
</file>

<file path=ppt/slideLayouts/_rels/slideLayout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Relationship Id="rId2" Type="http://schemas.openxmlformats.org/officeDocument/2006/relationships/image" Target="../media/image46.png"/></Relationships>
</file>

<file path=ppt/slideLayouts/_rels/slideLayout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7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Relationship Id="rId2" Type="http://schemas.openxmlformats.org/officeDocument/2006/relationships/image" Target="../media/image8.emf"/><Relationship Id="rId3" Type="http://schemas.openxmlformats.org/officeDocument/2006/relationships/image" Target="../media/image50.png"/></Relationships>
</file>

<file path=ppt/slideLayouts/_rels/slideLayout7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Relationship Id="rId2" Type="http://schemas.openxmlformats.org/officeDocument/2006/relationships/image" Target="../media/image51.jpg"/><Relationship Id="rId3" Type="http://schemas.openxmlformats.org/officeDocument/2006/relationships/image" Target="../media/image52.png"/></Relationships>
</file>

<file path=ppt/slideLayouts/_rels/slideLayout7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2.png"/><Relationship Id="rId3" Type="http://schemas.microsoft.com/office/2007/relationships/hdphoto" Target="../media/hdphoto1.wdp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7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Relationship Id="rId2" Type="http://schemas.openxmlformats.org/officeDocument/2006/relationships/image" Target="../media/image47.png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Relationship Id="rId2" Type="http://schemas.openxmlformats.org/officeDocument/2006/relationships/image" Target="../media/image8.emf"/><Relationship Id="rId3" Type="http://schemas.openxmlformats.org/officeDocument/2006/relationships/image" Target="../media/image50.png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7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emf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Relationship Id="rId2" Type="http://schemas.openxmlformats.org/officeDocument/2006/relationships/image" Target="../media/image54.png"/><Relationship Id="rId3" Type="http://schemas.openxmlformats.org/officeDocument/2006/relationships/image" Target="../media/image5.emf"/></Relationships>
</file>

<file path=ppt/slideLayouts/_rels/slideLayout7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4" Type="http://schemas.openxmlformats.org/officeDocument/2006/relationships/image" Target="../media/image57.png"/><Relationship Id="rId1" Type="http://schemas.openxmlformats.org/officeDocument/2006/relationships/slideMaster" Target="../slideMasters/slideMaster46.xml"/><Relationship Id="rId2" Type="http://schemas.openxmlformats.org/officeDocument/2006/relationships/image" Target="../media/image55.jpg"/></Relationships>
</file>

<file path=ppt/slideLayouts/_rels/slideLayout7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4" Type="http://schemas.openxmlformats.org/officeDocument/2006/relationships/image" Target="../media/image57.png"/><Relationship Id="rId1" Type="http://schemas.openxmlformats.org/officeDocument/2006/relationships/slideMaster" Target="../slideMasters/slideMaster46.xml"/><Relationship Id="rId2" Type="http://schemas.openxmlformats.org/officeDocument/2006/relationships/image" Target="../media/image55.jpg"/></Relationships>
</file>

<file path=ppt/slideLayouts/_rels/slideLayout7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Relationship Id="rId2" Type="http://schemas.openxmlformats.org/officeDocument/2006/relationships/image" Target="../media/image46.png"/><Relationship Id="rId3" Type="http://schemas.openxmlformats.org/officeDocument/2006/relationships/image" Target="../media/image54.png"/></Relationships>
</file>

<file path=ppt/slideLayouts/_rels/slideLayout7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7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7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7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8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Relationship Id="rId2" Type="http://schemas.openxmlformats.org/officeDocument/2006/relationships/image" Target="../media/image6.emf"/></Relationships>
</file>

<file path=ppt/slideLayouts/_rels/slideLayout8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Relationship Id="rId2" Type="http://schemas.openxmlformats.org/officeDocument/2006/relationships/image" Target="../media/image6.emf"/></Relationships>
</file>

<file path=ppt/slideLayouts/_rels/slideLayout8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Relationship Id="rId2" Type="http://schemas.openxmlformats.org/officeDocument/2006/relationships/image" Target="../media/image8.emf"/><Relationship Id="rId3" Type="http://schemas.openxmlformats.org/officeDocument/2006/relationships/image" Target="../media/image9.emf"/></Relationships>
</file>

<file path=ppt/slideLayouts/_rels/slideLayout8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Relationship Id="rId2" Type="http://schemas.openxmlformats.org/officeDocument/2006/relationships/image" Target="../media/image14.png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Relationship Id="rId2" Type="http://schemas.openxmlformats.org/officeDocument/2006/relationships/image" Target="../media/image13.png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Relationship Id="rId2" Type="http://schemas.openxmlformats.org/officeDocument/2006/relationships/image" Target="../media/image13.png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Relationship Id="rId2" Type="http://schemas.openxmlformats.org/officeDocument/2006/relationships/image" Target="../media/image4.png"/></Relationships>
</file>

<file path=ppt/slideLayouts/_rels/slideLayout8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8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8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8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Relationship Id="rId2" Type="http://schemas.openxmlformats.org/officeDocument/2006/relationships/image" Target="../media/image58.png"/></Relationships>
</file>

<file path=ppt/slideLayouts/_rels/slideLayout8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8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22.emf"/><Relationship Id="rId1" Type="http://schemas.openxmlformats.org/officeDocument/2006/relationships/vmlDrawing" Target="../drawings/vmlDrawing1.vml"/><Relationship Id="rId2" Type="http://schemas.openxmlformats.org/officeDocument/2006/relationships/tags" Target="../tags/tag196.xml"/></Relationships>
</file>

<file path=ppt/slideLayouts/_rels/slideLayout8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4" Type="http://schemas.openxmlformats.org/officeDocument/2006/relationships/image" Target="../media/image60.jpeg"/><Relationship Id="rId5" Type="http://schemas.openxmlformats.org/officeDocument/2006/relationships/image" Target="../media/image61.png"/><Relationship Id="rId6" Type="http://schemas.openxmlformats.org/officeDocument/2006/relationships/image" Target="../media/image62.jpeg"/><Relationship Id="rId7" Type="http://schemas.openxmlformats.org/officeDocument/2006/relationships/image" Target="../media/image63.png"/><Relationship Id="rId1" Type="http://schemas.openxmlformats.org/officeDocument/2006/relationships/slideMaster" Target="../slideMasters/slideMaster48.xml"/><Relationship Id="rId2" Type="http://schemas.openxmlformats.org/officeDocument/2006/relationships/image" Target="../media/image47.png"/></Relationships>
</file>

<file path=ppt/slideLayouts/_rels/slideLayout8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Relationship Id="rId2" Type="http://schemas.openxmlformats.org/officeDocument/2006/relationships/image" Target="../media/image64.png"/><Relationship Id="rId3" Type="http://schemas.openxmlformats.org/officeDocument/2006/relationships/image" Target="../media/image65.png"/></Relationships>
</file>

<file path=ppt/slideLayouts/_rels/slideLayout8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8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9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9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9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9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9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9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9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9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9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2.emf"/><Relationship Id="rId6" Type="http://schemas.openxmlformats.org/officeDocument/2006/relationships/image" Target="../media/image66.png"/><Relationship Id="rId1" Type="http://schemas.openxmlformats.org/officeDocument/2006/relationships/vmlDrawing" Target="../drawings/vmlDrawing2.vml"/><Relationship Id="rId2" Type="http://schemas.openxmlformats.org/officeDocument/2006/relationships/tags" Target="../tags/tag197.xml"/></Relationships>
</file>

<file path=ppt/slideLayouts/_rels/slideLayout9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9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198.xml"/></Relationships>
</file>

<file path=ppt/slideLayouts/_rels/slideLayout9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9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9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9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22.emf"/><Relationship Id="rId6" Type="http://schemas.openxmlformats.org/officeDocument/2006/relationships/image" Target="../media/image66.png"/><Relationship Id="rId1" Type="http://schemas.openxmlformats.org/officeDocument/2006/relationships/vmlDrawing" Target="../drawings/vmlDrawing4.vml"/><Relationship Id="rId2" Type="http://schemas.openxmlformats.org/officeDocument/2006/relationships/tags" Target="../tags/tag199.xml"/></Relationships>
</file>

<file path=ppt/slideLayouts/_rels/slideLayout9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9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2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20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92" y="1192"/>
            <a:ext cx="1190" cy="1190"/>
          </a:xfrm>
          <a:prstGeom prst="rect">
            <a:avLst/>
          </a:prstGeom>
          <a:noFill/>
        </p:spPr>
      </p:pic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28933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9685" y="895601"/>
            <a:ext cx="8398739" cy="3168210"/>
          </a:xfrm>
          <a:prstGeom prst="rect">
            <a:avLst/>
          </a:prstGeom>
        </p:spPr>
        <p:txBody>
          <a:bodyPr lIns="68523" tIns="34283" rIns="68523" bIns="34283">
            <a:noAutofit/>
          </a:bodyPr>
          <a:lstStyle>
            <a:lvl1pPr marL="57092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1837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5708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097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3557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520123902"/>
      </p:ext>
    </p:extLst>
  </p:cSld>
  <p:clrMapOvr>
    <a:masterClrMapping/>
  </p:clrMapOvr>
  <p:transition spd="med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 userDrawn="1"/>
        </p:nvSpPr>
        <p:spPr>
          <a:xfrm>
            <a:off x="6085117" y="1622395"/>
            <a:ext cx="2318564" cy="2318564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rtlCol="0" anchor="ctr"/>
          <a:lstStyle/>
          <a:p>
            <a:pPr algn="ctr" defTabSz="456845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Oval 3"/>
          <p:cNvSpPr/>
          <p:nvPr userDrawn="1"/>
        </p:nvSpPr>
        <p:spPr>
          <a:xfrm>
            <a:off x="3423232" y="1622395"/>
            <a:ext cx="2318564" cy="2318564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rtlCol="0" anchor="ctr"/>
          <a:lstStyle/>
          <a:p>
            <a:pPr algn="ctr" defTabSz="456845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764272" y="1622395"/>
            <a:ext cx="2318564" cy="2318564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rtlCol="0" anchor="ctr"/>
          <a:lstStyle/>
          <a:p>
            <a:pPr algn="ctr" defTabSz="456845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777486" y="2800171"/>
            <a:ext cx="2292136" cy="603661"/>
          </a:xfrm>
          <a:prstGeom prst="rect">
            <a:avLst/>
          </a:prstGeom>
        </p:spPr>
        <p:txBody>
          <a:bodyPr lIns="91360" tIns="45680" rIns="91360" bIns="4568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436446" y="2798224"/>
            <a:ext cx="2292136" cy="603661"/>
          </a:xfrm>
          <a:prstGeom prst="rect">
            <a:avLst/>
          </a:prstGeom>
        </p:spPr>
        <p:txBody>
          <a:bodyPr lIns="91360" tIns="45680" rIns="91360" bIns="4568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098331" y="2798224"/>
            <a:ext cx="2292136" cy="603661"/>
          </a:xfrm>
          <a:prstGeom prst="rect">
            <a:avLst/>
          </a:prstGeom>
        </p:spPr>
        <p:txBody>
          <a:bodyPr lIns="91360" tIns="45680" rIns="91360" bIns="4568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 lIns="91380" tIns="45690" rIns="91380" bIns="4569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 lIns="91380" tIns="45690" rIns="91380" bIns="4569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 lIns="91380" tIns="45690" rIns="91380" bIns="4569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186440"/>
      </p:ext>
    </p:extLst>
  </p:cSld>
  <p:clrMapOvr>
    <a:masterClrMapping/>
  </p:clrMapOvr>
  <p:transition spd="slow">
    <p:wip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 userDrawn="1"/>
        </p:nvSpPr>
        <p:spPr>
          <a:xfrm>
            <a:off x="774850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32" tIns="34286" rIns="68532" bIns="34286" anchor="ctr"/>
          <a:lstStyle/>
          <a:p>
            <a:pPr algn="ctr" defTabSz="913731">
              <a:defRPr/>
            </a:pPr>
            <a:endParaRPr lang="en-US" kern="0">
              <a:solidFill>
                <a:prstClr val="white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44" name="Oval 43"/>
          <p:cNvSpPr/>
          <p:nvPr userDrawn="1"/>
        </p:nvSpPr>
        <p:spPr>
          <a:xfrm>
            <a:off x="3422849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32" tIns="34286" rIns="68532" bIns="34286" anchor="ctr"/>
          <a:lstStyle/>
          <a:p>
            <a:pPr algn="ctr" defTabSz="913731">
              <a:defRPr/>
            </a:pPr>
            <a:endParaRPr lang="en-US" kern="0">
              <a:solidFill>
                <a:prstClr val="white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45" name="Oval 44"/>
          <p:cNvSpPr/>
          <p:nvPr userDrawn="1"/>
        </p:nvSpPr>
        <p:spPr>
          <a:xfrm>
            <a:off x="6087387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32" tIns="34286" rIns="68532" bIns="34286" anchor="ctr"/>
          <a:lstStyle/>
          <a:p>
            <a:pPr algn="ctr" defTabSz="913731">
              <a:defRPr/>
            </a:pPr>
            <a:endParaRPr lang="en-US" kern="0">
              <a:solidFill>
                <a:prstClr val="white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4" tIns="45682" rIns="91364" bIns="4568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77496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364" tIns="45682" rIns="91364" bIns="45682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364" tIns="45682" rIns="91364" bIns="4568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364" tIns="45682" rIns="91364" bIns="4568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788799" y="3873167"/>
            <a:ext cx="2292136" cy="603661"/>
          </a:xfrm>
          <a:prstGeom prst="rect">
            <a:avLst/>
          </a:prstGeom>
        </p:spPr>
        <p:txBody>
          <a:bodyPr lIns="91360" tIns="45680" rIns="91360" bIns="4568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436818" y="3871220"/>
            <a:ext cx="2292136" cy="603661"/>
          </a:xfrm>
          <a:prstGeom prst="rect">
            <a:avLst/>
          </a:prstGeom>
        </p:spPr>
        <p:txBody>
          <a:bodyPr lIns="91360" tIns="45680" rIns="91360" bIns="4568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101337" y="3871220"/>
            <a:ext cx="2292136" cy="603661"/>
          </a:xfrm>
          <a:prstGeom prst="rect">
            <a:avLst/>
          </a:prstGeom>
        </p:spPr>
        <p:txBody>
          <a:bodyPr lIns="91360" tIns="45680" rIns="91360" bIns="4568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755425385"/>
      </p:ext>
    </p:extLst>
  </p:cSld>
  <p:clrMapOvr>
    <a:masterClrMapping/>
  </p:clrMapOvr>
  <p:transition spd="slow">
    <p:wip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5" y="4629179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360" tIns="45680" rIns="91360" bIns="4568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00064" y="3476652"/>
            <a:ext cx="8139112" cy="520648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7912" tIns="0" rIns="91380" bIns="45690" numCol="1" anchor="ctr" anchorCtr="0" compatLnSpc="1">
            <a:prstTxWarp prst="textNoShape">
              <a:avLst/>
            </a:prstTxWarp>
            <a:spAutoFit/>
          </a:bodyPr>
          <a:lstStyle>
            <a:lvl1pPr marL="172681" indent="0">
              <a:lnSpc>
                <a:spcPts val="3680"/>
              </a:lnSpc>
              <a:spcBef>
                <a:spcPts val="0"/>
              </a:spcBef>
              <a:buNone/>
              <a:defRPr sz="24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4198599934"/>
      </p:ext>
    </p:extLst>
  </p:cSld>
  <p:clrMapOvr>
    <a:masterClrMapping/>
  </p:clrMapOvr>
  <p:transition spd="slow">
    <p:wip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4" y="301066"/>
            <a:ext cx="8563172" cy="2542175"/>
          </a:xfrm>
          <a:prstGeom prst="rect">
            <a:avLst/>
          </a:prstGeom>
        </p:spPr>
        <p:txBody>
          <a:bodyPr vert="horz" lIns="91360" tIns="45680" rIns="91360" bIns="45680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6" y="3054547"/>
            <a:ext cx="8364236" cy="564257"/>
          </a:xfrm>
          <a:prstGeom prst="rect">
            <a:avLst/>
          </a:prstGeom>
        </p:spPr>
        <p:txBody>
          <a:bodyPr vert="horz" wrap="square" lIns="91380" tIns="45690" rIns="91380" bIns="45690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940954052"/>
      </p:ext>
    </p:extLst>
  </p:cSld>
  <p:clrMapOvr>
    <a:masterClrMapping/>
  </p:clrMapOvr>
  <p:transition spd="slow">
    <p:wip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5" y="4629179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360" tIns="45680" rIns="91360" bIns="4568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24843087"/>
      </p:ext>
    </p:extLst>
  </p:cSld>
  <p:clrMapOvr>
    <a:masterClrMapping/>
  </p:clrMapOvr>
  <p:transition spd="slow">
    <p:wip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3"/>
            <a:ext cx="8480388" cy="4266646"/>
          </a:xfrm>
          <a:prstGeom prst="rect">
            <a:avLst/>
          </a:prstGeom>
        </p:spPr>
        <p:txBody>
          <a:bodyPr vert="horz" lIns="91364" tIns="45682" rIns="91364" bIns="45682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0521616"/>
      </p:ext>
    </p:extLst>
  </p:cSld>
  <p:clrMapOvr>
    <a:masterClrMapping/>
  </p:clrMapOvr>
  <p:transition spd="slow">
    <p:wip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2" y="596901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2" tIns="34286" rIns="68532" bIns="34286" anchor="ctr"/>
          <a:lstStyle/>
          <a:p>
            <a:pPr algn="ctr" defTabSz="456845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1" y="3595689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2" tIns="34286" rIns="68532" bIns="34286" anchor="ctr"/>
          <a:lstStyle/>
          <a:p>
            <a:pPr algn="ctr" defTabSz="456845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40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364" tIns="45682" rIns="91364" bIns="4568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065873" y="3655079"/>
            <a:ext cx="5074070" cy="628650"/>
          </a:xfrm>
        </p:spPr>
        <p:txBody>
          <a:bodyPr anchor="ctr"/>
          <a:lstStyle>
            <a:lvl1pPr>
              <a:defRPr sz="2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0592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828" y="233392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2" tIns="34286" rIns="68532" bIns="34286" anchor="ctr"/>
          <a:lstStyle/>
          <a:p>
            <a:pPr algn="ctr" defTabSz="456845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2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32" tIns="34286" rIns="68532" bIns="34286" rtlCol="0" anchor="ctr" anchorCtr="0">
            <a:normAutofit/>
          </a:bodyPr>
          <a:lstStyle>
            <a:lvl1pPr marL="0" indent="0" algn="ctr" defTabSz="685272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0964" y="2480722"/>
            <a:ext cx="6729865" cy="1614419"/>
          </a:xfrm>
        </p:spPr>
        <p:txBody>
          <a:bodyPr>
            <a:noAutofit/>
          </a:bodyPr>
          <a:lstStyle>
            <a:lvl1pPr marL="0" marR="0" indent="0" algn="l" defTabSz="685272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529644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609"/>
            <a:ext cx="3630612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2" tIns="34286" rIns="68532" bIns="34286" anchor="ctr"/>
          <a:lstStyle/>
          <a:p>
            <a:pPr algn="ctr" defTabSz="456845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5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364" tIns="45682" rIns="91364" bIns="4568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7670" y="546763"/>
            <a:ext cx="4349918" cy="813985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49356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92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29" tIns="34286" rIns="68529" bIns="34286" anchor="ctr"/>
          <a:lstStyle/>
          <a:p>
            <a:pPr algn="ctr" defTabSz="456845">
              <a:defRPr/>
            </a:pPr>
            <a:endParaRPr lang="en-US" sz="1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92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29" tIns="34286" rIns="68529" bIns="34286" anchor="ctr"/>
          <a:lstStyle/>
          <a:p>
            <a:pPr algn="ctr" defTabSz="456845">
              <a:defRPr/>
            </a:pPr>
            <a:endParaRPr lang="en-US" sz="1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40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29" tIns="34286" rIns="68529" bIns="34286" anchor="ctr"/>
          <a:lstStyle/>
          <a:p>
            <a:pPr algn="ctr" defTabSz="456845">
              <a:defRPr/>
            </a:pPr>
            <a:endParaRPr lang="en-US" sz="1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92" y="2271742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29" tIns="34286" rIns="68529" bIns="34286" anchor="ctr"/>
          <a:lstStyle/>
          <a:p>
            <a:pPr algn="ctr" defTabSz="456845">
              <a:defRPr/>
            </a:pPr>
            <a:endParaRPr lang="en-US" sz="1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7" y="2271742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29" tIns="34286" rIns="68529" bIns="34286" anchor="ctr"/>
          <a:lstStyle/>
          <a:p>
            <a:pPr algn="ctr" defTabSz="456845">
              <a:defRPr/>
            </a:pPr>
            <a:endParaRPr lang="en-US" sz="1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40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29" tIns="34286" rIns="68529" bIns="34286" anchor="ctr"/>
          <a:lstStyle/>
          <a:p>
            <a:pPr algn="ctr" defTabSz="456845">
              <a:defRPr/>
            </a:pPr>
            <a:endParaRPr lang="en-US" sz="1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40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29" tIns="34286" rIns="68529" bIns="34286" anchor="ctr"/>
          <a:lstStyle/>
          <a:p>
            <a:pPr algn="ctr" defTabSz="456845">
              <a:defRPr/>
            </a:pPr>
            <a:endParaRPr lang="en-US" sz="1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6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29" tIns="34286" rIns="68529" bIns="34286" rtlCol="0" anchor="ctr" anchorCtr="0">
            <a:normAutofit/>
          </a:bodyPr>
          <a:lstStyle>
            <a:lvl1pPr marL="0" indent="0" algn="ctr" defTabSz="685244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31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29" tIns="34286" rIns="68529" bIns="34286" rtlCol="0" anchor="ctr" anchorCtr="0">
            <a:normAutofit/>
          </a:bodyPr>
          <a:lstStyle>
            <a:lvl1pPr marL="0" indent="0" algn="ctr" defTabSz="685244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29" tIns="34286" rIns="68529" bIns="34286" rtlCol="0" anchor="ctr" anchorCtr="0">
            <a:normAutofit/>
          </a:bodyPr>
          <a:lstStyle>
            <a:lvl1pPr marL="0" indent="0" algn="ctr" defTabSz="685244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47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29" tIns="34286" rIns="68529" bIns="34286" rtlCol="0" anchor="ctr" anchorCtr="0">
            <a:normAutofit/>
          </a:bodyPr>
          <a:lstStyle>
            <a:lvl1pPr marL="0" indent="0" algn="ctr" defTabSz="685244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6" y="2271747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29" tIns="34286" rIns="68529" bIns="34286" rtlCol="0" anchor="ctr" anchorCtr="0">
            <a:normAutofit/>
          </a:bodyPr>
          <a:lstStyle>
            <a:lvl1pPr marL="0" indent="0" algn="ctr" defTabSz="685244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29" tIns="34286" rIns="68529" bIns="34286" rtlCol="0" anchor="ctr" anchorCtr="0">
            <a:normAutofit/>
          </a:bodyPr>
          <a:lstStyle>
            <a:lvl1pPr marL="0" indent="0" algn="ctr" defTabSz="685244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29" tIns="34286" rIns="68529" bIns="34286" rtlCol="0" anchor="ctr" anchorCtr="0">
            <a:normAutofit/>
          </a:bodyPr>
          <a:lstStyle>
            <a:lvl1pPr marL="0" indent="0" algn="ctr" defTabSz="685244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819713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68523" tIns="34283" rIns="68523" bIns="34283">
            <a:noAutofit/>
          </a:bodyPr>
          <a:lstStyle>
            <a:lvl1pPr marL="212255" indent="-392138">
              <a:lnSpc>
                <a:spcPts val="444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545" indent="-21568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035" indent="-171299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382" indent="-171299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1667" indent="-168124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154927034"/>
      </p:ext>
    </p:extLst>
  </p:cSld>
  <p:clrMapOvr>
    <a:masterClrMapping/>
  </p:clrMapOvr>
  <p:transition spd="med"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1461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67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29" tIns="34286" rIns="68529" bIns="34286" rtlCol="0" anchor="ctr">
            <a:normAutofit/>
          </a:bodyPr>
          <a:lstStyle>
            <a:lvl1pPr marL="0" indent="0" algn="ctr" defTabSz="685244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48978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29" tIns="34286" rIns="68529" bIns="34286" rtlCol="0" anchor="ctr">
            <a:normAutofit/>
          </a:bodyPr>
          <a:lstStyle>
            <a:lvl1pPr marL="0" indent="0" algn="ctr" defTabSz="685244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581591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115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69747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Blue Background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2379" y="-9014"/>
            <a:ext cx="9146380" cy="5144264"/>
            <a:chOff x="0" y="-1014"/>
            <a:chExt cx="12191997" cy="6859018"/>
          </a:xfrm>
        </p:grpSpPr>
        <p:grpSp>
          <p:nvGrpSpPr>
            <p:cNvPr id="11" name="Group 141"/>
            <p:cNvGrpSpPr>
              <a:grpSpLocks/>
            </p:cNvGrpSpPr>
            <p:nvPr/>
          </p:nvGrpSpPr>
          <p:grpSpPr bwMode="auto">
            <a:xfrm>
              <a:off x="0" y="-1014"/>
              <a:ext cx="12191997" cy="6859014"/>
              <a:chOff x="0" y="609"/>
              <a:chExt cx="12188825" cy="6857391"/>
            </a:xfrm>
          </p:grpSpPr>
          <p:sp>
            <p:nvSpPr>
              <p:cNvPr id="16" name="Rectangle 15"/>
              <p:cNvSpPr/>
              <p:nvPr/>
            </p:nvSpPr>
            <p:spPr>
              <a:xfrm>
                <a:off x="0" y="609"/>
                <a:ext cx="12188825" cy="4835096"/>
              </a:xfrm>
              <a:prstGeom prst="rect">
                <a:avLst/>
              </a:prstGeom>
              <a:gradFill flip="none" rotWithShape="1">
                <a:gsLst>
                  <a:gs pos="0">
                    <a:srgbClr val="030B13"/>
                  </a:gs>
                  <a:gs pos="100000">
                    <a:srgbClr val="061B37"/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6845">
                  <a:defRPr/>
                </a:pPr>
                <a:endParaRPr lang="en-US" sz="14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0" y="4805545"/>
                <a:ext cx="12188825" cy="2052455"/>
              </a:xfrm>
              <a:prstGeom prst="rect">
                <a:avLst/>
              </a:prstGeom>
              <a:gradFill flip="none" rotWithShape="1">
                <a:gsLst>
                  <a:gs pos="0">
                    <a:srgbClr val="09192C"/>
                  </a:gs>
                  <a:gs pos="100000">
                    <a:srgbClr val="0E366B"/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6845">
                  <a:defRPr/>
                </a:pPr>
                <a:endParaRPr lang="en-US" sz="14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0" y="3780111"/>
                <a:ext cx="12188825" cy="2052455"/>
              </a:xfrm>
              <a:prstGeom prst="rect">
                <a:avLst/>
              </a:prstGeom>
              <a:gradFill flip="none" rotWithShape="1">
                <a:gsLst>
                  <a:gs pos="73000">
                    <a:srgbClr val="0E366B">
                      <a:alpha val="0"/>
                    </a:srgbClr>
                  </a:gs>
                  <a:gs pos="51000">
                    <a:srgbClr val="09192C"/>
                  </a:gs>
                  <a:gs pos="0">
                    <a:srgbClr val="FFFFFF">
                      <a:alpha val="0"/>
                    </a:srgb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6845">
                  <a:defRPr/>
                </a:pPr>
                <a:endParaRPr lang="en-US" sz="14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" name="Oval 18"/>
              <p:cNvSpPr/>
              <p:nvPr/>
            </p:nvSpPr>
            <p:spPr>
              <a:xfrm>
                <a:off x="0" y="5023990"/>
                <a:ext cx="12188825" cy="1453100"/>
              </a:xfrm>
              <a:prstGeom prst="ellipse">
                <a:avLst/>
              </a:prstGeom>
              <a:gradFill flip="none" rotWithShape="1">
                <a:gsLst>
                  <a:gs pos="9000">
                    <a:srgbClr val="2969B2"/>
                  </a:gs>
                  <a:gs pos="100000">
                    <a:srgbClr val="FFFFFF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6845">
                  <a:defRPr/>
                </a:pPr>
                <a:endParaRPr lang="en-US" sz="140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4" name="Rectangle 13"/>
            <p:cNvSpPr/>
            <p:nvPr/>
          </p:nvSpPr>
          <p:spPr>
            <a:xfrm>
              <a:off x="0" y="0"/>
              <a:ext cx="12188825" cy="6858000"/>
            </a:xfrm>
            <a:prstGeom prst="rect">
              <a:avLst/>
            </a:prstGeom>
            <a:gradFill>
              <a:gsLst>
                <a:gs pos="99000">
                  <a:srgbClr val="09192C">
                    <a:alpha val="60000"/>
                  </a:srgbClr>
                </a:gs>
                <a:gs pos="34000">
                  <a:srgbClr val="09192C">
                    <a:alpha val="0"/>
                  </a:srgbClr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121899" tIns="60949" rIns="121899" bIns="60949" rtlCol="0" anchor="ctr"/>
            <a:lstStyle/>
            <a:p>
              <a:pPr algn="ctr" defTabSz="456485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 rot="5400000">
              <a:off x="2665413" y="-2665409"/>
              <a:ext cx="6858000" cy="12188825"/>
            </a:xfrm>
            <a:prstGeom prst="rect">
              <a:avLst/>
            </a:prstGeom>
            <a:gradFill>
              <a:gsLst>
                <a:gs pos="99000">
                  <a:srgbClr val="09192C">
                    <a:alpha val="60000"/>
                  </a:srgbClr>
                </a:gs>
                <a:gs pos="0">
                  <a:srgbClr val="09192C">
                    <a:alpha val="60000"/>
                  </a:srgbClr>
                </a:gs>
                <a:gs pos="30000">
                  <a:srgbClr val="09192C">
                    <a:alpha val="0"/>
                  </a:srgbClr>
                </a:gs>
                <a:gs pos="70000">
                  <a:srgbClr val="09192C">
                    <a:alpha val="0"/>
                  </a:srgbClr>
                </a:gs>
              </a:gsLst>
              <a:lin ang="16200000" scaled="0"/>
            </a:gradFill>
            <a:ln>
              <a:noFill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121899" tIns="60949" rIns="121899" bIns="60949" rtlCol="0" anchor="ctr"/>
            <a:lstStyle/>
            <a:p>
              <a:pPr algn="ctr" defTabSz="456485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9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433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88" tIns="45644" rIns="91288" bIns="45644" numCol="1" anchor="ctr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bg2"/>
                </a:solidFill>
                <a:effectLst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ltGray">
          <a:xfrm>
            <a:off x="8513532" y="4742920"/>
            <a:ext cx="220590" cy="154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484" tIns="30761" rIns="61484" bIns="30761" anchor="b">
            <a:spAutoFit/>
          </a:bodyPr>
          <a:lstStyle/>
          <a:p>
            <a:pPr algn="r" defTabSz="609815" fontAlgn="base">
              <a:spcBef>
                <a:spcPct val="0"/>
              </a:spcBef>
              <a:spcAft>
                <a:spcPct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pPr algn="r" defTabSz="609815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ea typeface="ＭＳ Ｐゴシック" charset="0"/>
              <a:cs typeface="CiscoSans Thin"/>
            </a:endParaRPr>
          </a:p>
        </p:txBody>
      </p:sp>
      <p:pic>
        <p:nvPicPr>
          <p:cNvPr id="8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8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oup 19"/>
          <p:cNvGrpSpPr/>
          <p:nvPr userDrawn="1"/>
        </p:nvGrpSpPr>
        <p:grpSpPr>
          <a:xfrm rot="10800000">
            <a:off x="72834" y="4902884"/>
            <a:ext cx="122310" cy="169451"/>
            <a:chOff x="1038286" y="1218564"/>
            <a:chExt cx="163037" cy="225934"/>
          </a:xfrm>
          <a:noFill/>
        </p:grpSpPr>
        <p:sp>
          <p:nvSpPr>
            <p:cNvPr id="21" name="Left-Up Arrow 20"/>
            <p:cNvSpPr/>
            <p:nvPr/>
          </p:nvSpPr>
          <p:spPr>
            <a:xfrm>
              <a:off x="1038286" y="1218564"/>
              <a:ext cx="145875" cy="145885"/>
            </a:xfrm>
            <a:prstGeom prst="leftUpArrow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45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 smtClean="0">
                <a:solidFill>
                  <a:srgbClr val="FFFFFF"/>
                </a:solidFill>
              </a:endParaRPr>
            </a:p>
          </p:txBody>
        </p:sp>
        <p:cxnSp>
          <p:nvCxnSpPr>
            <p:cNvPr id="22" name="Straight Connector 21"/>
            <p:cNvCxnSpPr/>
            <p:nvPr/>
          </p:nvCxnSpPr>
          <p:spPr>
            <a:xfrm flipV="1">
              <a:off x="1124095" y="1295801"/>
              <a:ext cx="77228" cy="94396"/>
            </a:xfrm>
            <a:prstGeom prst="line">
              <a:avLst/>
            </a:prstGeom>
            <a:grpFill/>
            <a:ln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Oval 22"/>
            <p:cNvSpPr/>
            <p:nvPr/>
          </p:nvSpPr>
          <p:spPr>
            <a:xfrm>
              <a:off x="1055448" y="1398778"/>
              <a:ext cx="45719" cy="45720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45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213923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523" y="3793225"/>
            <a:ext cx="8296421" cy="288131"/>
          </a:xfrm>
          <a:prstGeom prst="rect">
            <a:avLst/>
          </a:prstGeom>
        </p:spPr>
        <p:txBody>
          <a:bodyPr lIns="68526" tIns="34283" rIns="68526" bIns="34283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8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5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0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523" y="4033222"/>
            <a:ext cx="8296421" cy="288131"/>
          </a:xfrm>
          <a:prstGeom prst="rect">
            <a:avLst/>
          </a:prstGeom>
        </p:spPr>
        <p:txBody>
          <a:bodyPr lIns="68526" tIns="34283" rIns="68526" bIns="34283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523" y="4273219"/>
            <a:ext cx="8296421" cy="288131"/>
          </a:xfrm>
          <a:prstGeom prst="rect">
            <a:avLst/>
          </a:prstGeom>
        </p:spPr>
        <p:txBody>
          <a:bodyPr lIns="68526" tIns="34283" rIns="68526" bIns="34283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319" y="3211463"/>
            <a:ext cx="8302625" cy="299001"/>
          </a:xfrm>
          <a:prstGeom prst="rect">
            <a:avLst/>
          </a:prstGeom>
        </p:spPr>
        <p:txBody>
          <a:bodyPr lIns="68526" tIns="34283" rIns="68526" bIns="34283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579" indent="0">
              <a:buNone/>
              <a:defRPr/>
            </a:lvl2pPr>
            <a:lvl3pPr marL="427118" indent="0">
              <a:buNone/>
              <a:defRPr/>
            </a:lvl3pPr>
            <a:lvl4pPr marL="516343" indent="0">
              <a:buNone/>
              <a:defRPr/>
            </a:lvl4pPr>
            <a:lvl5pPr marL="600816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7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829817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35" tIns="34286" rIns="68535" bIns="34286" anchor="ctr"/>
          <a:lstStyle/>
          <a:p>
            <a:pPr defTabSz="685358"/>
            <a:endParaRPr lang="en-US">
              <a:solidFill>
                <a:srgbClr val="676767"/>
              </a:solidFill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35" tIns="34286" rIns="68535" bIns="34286" anchor="ctr"/>
          <a:lstStyle/>
          <a:p>
            <a:pPr defTabSz="685358"/>
            <a:endParaRPr lang="en-US">
              <a:solidFill>
                <a:srgbClr val="676767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42" y="3209577"/>
            <a:ext cx="4684867" cy="288131"/>
          </a:xfrm>
          <a:prstGeom prst="rect">
            <a:avLst/>
          </a:prstGeom>
        </p:spPr>
        <p:txBody>
          <a:bodyPr vert="horz" lIns="51405" tIns="25715" rIns="51405" bIns="25715" rtlCol="0">
            <a:noAutofit/>
          </a:bodyPr>
          <a:lstStyle>
            <a:lvl1pPr marL="0" indent="0" algn="l" defTabSz="685289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426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2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8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1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51" y="2462028"/>
            <a:ext cx="4712557" cy="766763"/>
          </a:xfrm>
        </p:spPr>
        <p:txBody>
          <a:bodyPr lIns="46260" tIns="25715" rIns="46260" bIns="25715" rtlCol="0" anchor="b">
            <a:noAutofit/>
          </a:bodyPr>
          <a:lstStyle>
            <a:lvl1pPr marL="0" indent="0" algn="l" defTabSz="685289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68526" tIns="34283" rIns="68526" bIns="34283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44740340"/>
      </p:ext>
    </p:extLst>
  </p:cSld>
  <p:clrMapOvr>
    <a:masterClrMapping/>
  </p:clrMapOvr>
  <p:transition spd="slow">
    <p:wip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ltGray">
          <a:xfrm>
            <a:off x="8513594" y="4742935"/>
            <a:ext cx="220553" cy="1545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47" tIns="30791" rIns="61547" bIns="30791" anchor="b">
            <a:spAutoFit/>
          </a:bodyPr>
          <a:lstStyle/>
          <a:p>
            <a:pPr algn="r" defTabSz="610339"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cs typeface="CiscoSans Thin"/>
              </a:rPr>
              <a:pPr algn="r" defTabSz="610339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5867508" y="4741680"/>
            <a:ext cx="2658018" cy="154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47" tIns="30791" rIns="61547" bIns="30791" anchor="b">
            <a:spAutoFit/>
          </a:bodyPr>
          <a:lstStyle/>
          <a:p>
            <a:pPr defTabSz="610339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2014  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0036266"/>
      </p:ext>
    </p:extLst>
  </p:cSld>
  <p:clrMapOvr>
    <a:masterClrMapping/>
  </p:clrMapOvr>
  <p:transition spd="med"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32" tIns="34286" rIns="68532" bIns="34286" anchor="ctr"/>
          <a:lstStyle/>
          <a:p>
            <a:pPr defTabSz="685358"/>
            <a:endParaRPr lang="en-US">
              <a:solidFill>
                <a:srgbClr val="676767"/>
              </a:solidFill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32" tIns="34286" rIns="68532" bIns="34286" anchor="ctr"/>
          <a:lstStyle/>
          <a:p>
            <a:pPr defTabSz="685358"/>
            <a:endParaRPr lang="en-US">
              <a:solidFill>
                <a:srgbClr val="676767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823806"/>
      </p:ext>
    </p:extLst>
  </p:cSld>
  <p:clrMapOvr>
    <a:masterClrMapping/>
  </p:clrMapOvr>
  <p:transition spd="med"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4662" y="1347790"/>
            <a:ext cx="8280057" cy="3073946"/>
          </a:xfrm>
          <a:prstGeom prst="rect">
            <a:avLst/>
          </a:prstGeom>
        </p:spPr>
        <p:txBody>
          <a:bodyPr lIns="68526" tIns="34283" rIns="68526" bIns="34283">
            <a:noAutofit/>
          </a:bodyPr>
          <a:lstStyle>
            <a:lvl1pPr marL="285501" marR="0" indent="-285501" algn="ctr" defTabSz="45678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0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9" tIns="34283" rIns="68529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0322640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68523" tIns="34283" rIns="68523" bIns="34283">
            <a:noAutofit/>
          </a:bodyPr>
          <a:lstStyle>
            <a:lvl1pPr marL="280725" indent="-223619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545" indent="-21568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035" indent="-171299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382" indent="-171299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1667" indent="-168124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6" tIns="34283" rIns="68526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37414"/>
      </p:ext>
    </p:extLst>
  </p:cSld>
  <p:clrMapOvr>
    <a:masterClrMapping/>
  </p:clrMapOvr>
  <p:transition spd="med"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68526" tIns="34283" rIns="68526" bIns="34283">
            <a:noAutofit/>
          </a:bodyPr>
          <a:lstStyle>
            <a:lvl1pPr marL="280739" indent="-223631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569" indent="-21569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071" indent="-17130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427" indent="-171307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1721" indent="-168132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0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9" tIns="34283" rIns="68529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2669284"/>
      </p:ext>
    </p:extLst>
  </p:cSld>
  <p:clrMapOvr>
    <a:masterClrMapping/>
  </p:clrMapOvr>
  <p:transition spd="med">
    <p:fade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68526" tIns="34283" rIns="68526" bIns="34283">
            <a:noAutofit/>
          </a:bodyPr>
          <a:lstStyle>
            <a:lvl1pPr marL="57095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1851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5738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133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3602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0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9" tIns="34283" rIns="68529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9492438"/>
      </p:ext>
    </p:extLst>
  </p:cSld>
  <p:clrMapOvr>
    <a:masterClrMapping/>
  </p:clrMapOvr>
  <p:transition spd="med"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9685" y="895601"/>
            <a:ext cx="8398739" cy="3168210"/>
          </a:xfrm>
          <a:prstGeom prst="rect">
            <a:avLst/>
          </a:prstGeom>
        </p:spPr>
        <p:txBody>
          <a:bodyPr lIns="68526" tIns="34283" rIns="68526" bIns="34283">
            <a:noAutofit/>
          </a:bodyPr>
          <a:lstStyle>
            <a:lvl1pPr marL="57095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1851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5738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133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3602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330451770"/>
      </p:ext>
    </p:extLst>
  </p:cSld>
  <p:clrMapOvr>
    <a:masterClrMapping/>
  </p:clrMapOvr>
  <p:transition spd="med">
    <p:fade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68526" tIns="34283" rIns="68526" bIns="34283">
            <a:noAutofit/>
          </a:bodyPr>
          <a:lstStyle>
            <a:lvl1pPr marL="212265" indent="-392156">
              <a:lnSpc>
                <a:spcPts val="444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569" indent="-21569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071" indent="-17130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427" indent="-171307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1721" indent="-168132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973477095"/>
      </p:ext>
    </p:extLst>
  </p:cSld>
  <p:clrMapOvr>
    <a:masterClrMapping/>
  </p:clrMapOvr>
  <p:transition spd="med">
    <p:fade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68526" tIns="34283" rIns="68526" bIns="34283">
            <a:noAutofit/>
          </a:bodyPr>
          <a:lstStyle>
            <a:lvl1pPr marL="280739" indent="-223631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569" indent="-21569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071" indent="-17130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427" indent="-171307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1721" indent="-168132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0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9" tIns="34283" rIns="68529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61687095"/>
      </p:ext>
    </p:extLst>
  </p:cSld>
  <p:clrMapOvr>
    <a:masterClrMapping/>
  </p:clrMapOvr>
  <p:transition spd="med">
    <p:fade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93" y="1347788"/>
            <a:ext cx="3901123" cy="3083094"/>
          </a:xfrm>
          <a:prstGeom prst="rect">
            <a:avLst/>
          </a:prstGeom>
        </p:spPr>
        <p:txBody>
          <a:bodyPr lIns="68526" tIns="34283" rIns="68526" bIns="34283">
            <a:noAutofit/>
          </a:bodyPr>
          <a:lstStyle>
            <a:lvl1pPr marL="228393" indent="-171307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782" indent="-21569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115" indent="-17130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394" indent="-171307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699" indent="-171307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68526" tIns="34283" rIns="68526" bIns="34283">
            <a:noAutofit/>
          </a:bodyPr>
          <a:lstStyle>
            <a:lvl1pPr marL="228393" indent="-171307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782" indent="-21569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115" indent="-17130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394" indent="-171307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699" indent="-171307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0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9" tIns="34283" rIns="68529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3969862"/>
      </p:ext>
    </p:extLst>
  </p:cSld>
  <p:clrMapOvr>
    <a:masterClrMapping/>
  </p:clrMapOvr>
  <p:transition spd="med">
    <p:fade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970" y="609608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930" y="302532"/>
            <a:ext cx="3715995" cy="826447"/>
          </a:xfrm>
          <a:prstGeom prst="rect">
            <a:avLst/>
          </a:prstGeom>
        </p:spPr>
        <p:txBody>
          <a:bodyPr lIns="46258" tIns="25715" rIns="46258" bIns="25715" rtlCol="0">
            <a:noAutofit/>
          </a:bodyPr>
          <a:lstStyle>
            <a:lvl1pPr algn="l" defTabSz="685261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905965" y="302506"/>
            <a:ext cx="3715995" cy="826446"/>
          </a:xfrm>
          <a:prstGeom prst="rect">
            <a:avLst/>
          </a:prstGeom>
        </p:spPr>
        <p:txBody>
          <a:bodyPr lIns="68526" tIns="34283" rIns="68526" bIns="34283" anchor="ctr" anchorCtr="0">
            <a:noAutofit/>
          </a:bodyPr>
          <a:lstStyle>
            <a:lvl1pPr marL="0" marR="0" indent="0" algn="l" defTabSz="68526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930" y="1347788"/>
            <a:ext cx="3715995" cy="3083094"/>
          </a:xfrm>
          <a:prstGeom prst="rect">
            <a:avLst/>
          </a:prstGeom>
        </p:spPr>
        <p:txBody>
          <a:bodyPr lIns="68526" tIns="34283" rIns="68526" bIns="34283">
            <a:noAutofit/>
          </a:bodyPr>
          <a:lstStyle>
            <a:lvl1pPr marL="228393" indent="-171307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782" indent="-21569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115" indent="-17130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394" indent="-171307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699" indent="-171307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905965" y="1347788"/>
            <a:ext cx="3715995" cy="3083094"/>
          </a:xfrm>
          <a:prstGeom prst="rect">
            <a:avLst/>
          </a:prstGeom>
        </p:spPr>
        <p:txBody>
          <a:bodyPr lIns="68526" tIns="34283" rIns="68526" bIns="34283">
            <a:noAutofit/>
          </a:bodyPr>
          <a:lstStyle>
            <a:lvl1pPr marL="228393" indent="-171307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782" indent="-21569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115" indent="-17130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394" indent="-171307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699" indent="-171307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1230053"/>
      </p:ext>
    </p:extLst>
  </p:cSld>
  <p:clrMapOvr>
    <a:masterClrMapping/>
  </p:clrMapOvr>
  <p:transition spd="med"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8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8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1990" y="228345"/>
            <a:ext cx="2337109" cy="770461"/>
          </a:xfrm>
          <a:prstGeom prst="rect">
            <a:avLst/>
          </a:prstGeom>
        </p:spPr>
        <p:txBody>
          <a:bodyPr lIns="68526" tIns="34283" rIns="68526" bIns="34283" anchor="b" anchorCtr="0">
            <a:noAutofit/>
          </a:bodyPr>
          <a:lstStyle>
            <a:lvl1pPr marL="0" marR="0" indent="0" algn="l" defTabSz="68526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77755" y="227865"/>
            <a:ext cx="2337109" cy="770461"/>
          </a:xfrm>
          <a:prstGeom prst="rect">
            <a:avLst/>
          </a:prstGeom>
        </p:spPr>
        <p:txBody>
          <a:bodyPr lIns="68526" tIns="34283" rIns="68526" bIns="34283" anchor="b" anchorCtr="0">
            <a:noAutofit/>
          </a:bodyPr>
          <a:lstStyle>
            <a:lvl1pPr marL="0" marR="0" indent="0" algn="l" defTabSz="68526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354840" y="220505"/>
            <a:ext cx="2337109" cy="770461"/>
          </a:xfrm>
          <a:prstGeom prst="rect">
            <a:avLst/>
          </a:prstGeom>
        </p:spPr>
        <p:txBody>
          <a:bodyPr lIns="68526" tIns="34283" rIns="68526" bIns="34283" anchor="b" anchorCtr="0">
            <a:noAutofit/>
          </a:bodyPr>
          <a:lstStyle>
            <a:lvl1pPr marL="0" marR="0" indent="0" algn="l" defTabSz="685261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1965" y="1201094"/>
            <a:ext cx="2337110" cy="3314904"/>
          </a:xfrm>
          <a:prstGeom prst="rect">
            <a:avLst/>
          </a:prstGeom>
        </p:spPr>
        <p:txBody>
          <a:bodyPr lIns="68526" tIns="34283" rIns="68526" bIns="34283">
            <a:noAutofit/>
          </a:bodyPr>
          <a:lstStyle>
            <a:lvl1pPr marL="233154" indent="-171307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627" indent="-171307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68526" tIns="34283" rIns="68526" bIns="34283">
            <a:noAutofit/>
          </a:bodyPr>
          <a:lstStyle>
            <a:lvl1pPr marL="233154" indent="-171307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627" indent="-171307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54814" y="1200321"/>
            <a:ext cx="2337110" cy="3314904"/>
          </a:xfrm>
          <a:prstGeom prst="rect">
            <a:avLst/>
          </a:prstGeom>
        </p:spPr>
        <p:txBody>
          <a:bodyPr lIns="68526" tIns="34283" rIns="68526" bIns="34283">
            <a:noAutofit/>
          </a:bodyPr>
          <a:lstStyle>
            <a:lvl1pPr marL="233154" indent="-171307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627" indent="-171307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882331696"/>
      </p:ext>
    </p:extLst>
  </p:cSld>
  <p:clrMapOvr>
    <a:masterClrMapping/>
  </p:clrMapOvr>
  <p:transition spd="med">
    <p:fade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6" y="1330326"/>
            <a:ext cx="3712779" cy="31019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8" tIns="45684" rIns="91368" bIns="45684" anchor="ctr"/>
          <a:lstStyle/>
          <a:p>
            <a:pPr algn="ctr" defTabSz="685358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68526" tIns="34283" rIns="68526" bIns="34283">
            <a:noAutofit/>
          </a:bodyPr>
          <a:lstStyle>
            <a:lvl1pPr marL="85664" indent="-85664" algn="l" defTabSz="685261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664" indent="-85664" algn="l" defTabSz="685261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664" indent="-85664" algn="l" defTabSz="685261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664" indent="-85664" algn="l" defTabSz="685261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664" indent="-85664" algn="l" defTabSz="685261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148733" y="3552444"/>
            <a:ext cx="3506245" cy="253746"/>
          </a:xfrm>
          <a:prstGeom prst="rect">
            <a:avLst/>
          </a:prstGeom>
        </p:spPr>
        <p:txBody>
          <a:bodyPr lIns="68526" tIns="34283" rIns="68526" bIns="34283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93" y="1347788"/>
            <a:ext cx="3901123" cy="3083094"/>
          </a:xfrm>
          <a:prstGeom prst="rect">
            <a:avLst/>
          </a:prstGeom>
        </p:spPr>
        <p:txBody>
          <a:bodyPr lIns="68526" tIns="34283" rIns="68526" bIns="34283">
            <a:noAutofit/>
          </a:bodyPr>
          <a:lstStyle>
            <a:lvl1pPr marL="228393" indent="-171307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782" indent="-21569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115" indent="-17130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394" indent="-171307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699" indent="-171307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0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9" tIns="34283" rIns="68529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5886259"/>
      </p:ext>
    </p:extLst>
  </p:cSld>
  <p:clrMapOvr>
    <a:masterClrMapping/>
  </p:clrMapOvr>
  <p:transition spd="med"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0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9" tIns="34283" rIns="68529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9297788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93" y="1347788"/>
            <a:ext cx="3901123" cy="3083094"/>
          </a:xfrm>
          <a:prstGeom prst="rect">
            <a:avLst/>
          </a:prstGeom>
        </p:spPr>
        <p:txBody>
          <a:bodyPr lIns="68523" tIns="34283" rIns="68523" bIns="34283">
            <a:noAutofit/>
          </a:bodyPr>
          <a:lstStyle>
            <a:lvl1pPr marL="228381" indent="-171299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758" indent="-21568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085" indent="-171299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354" indent="-171299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651" indent="-171299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68523" tIns="34283" rIns="68523" bIns="34283">
            <a:noAutofit/>
          </a:bodyPr>
          <a:lstStyle>
            <a:lvl1pPr marL="228381" indent="-171299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758" indent="-21568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085" indent="-171299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354" indent="-171299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651" indent="-171299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6" tIns="34283" rIns="68526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1926494"/>
      </p:ext>
    </p:extLst>
  </p:cSld>
  <p:clrMapOvr>
    <a:masterClrMapping/>
  </p:clrMapOvr>
  <p:transition spd="med"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68526" tIns="34283" rIns="68526" bIns="34283" anchor="b" anchorCtr="0">
            <a:noAutofit/>
          </a:bodyPr>
          <a:lstStyle>
            <a:lvl1pPr marL="0" indent="0" algn="l" defTabSz="603170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6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479" indent="-399698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1631040"/>
      </p:ext>
    </p:extLst>
  </p:cSld>
  <p:clrMapOvr>
    <a:masterClrMapping/>
  </p:clrMapOvr>
  <p:transition spd="med"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8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4" y="1439073"/>
            <a:ext cx="3820348" cy="2265389"/>
          </a:xfrm>
        </p:spPr>
        <p:txBody>
          <a:bodyPr lIns="46260" tIns="25715" rIns="46260" bIns="25715" rtlCol="0" anchor="ctr">
            <a:noAutofit/>
          </a:bodyPr>
          <a:lstStyle>
            <a:lvl1pPr marL="0" indent="0" algn="l" defTabSz="685289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1" y="654518"/>
            <a:ext cx="3865880" cy="3840480"/>
          </a:xfrm>
          <a:prstGeom prst="rect">
            <a:avLst/>
          </a:prstGeom>
        </p:spPr>
        <p:txBody>
          <a:bodyPr lIns="68526" tIns="34283" rIns="68526" bIns="34283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700194134"/>
      </p:ext>
    </p:extLst>
  </p:cSld>
  <p:clrMapOvr>
    <a:masterClrMapping/>
  </p:clrMapOvr>
  <p:transition spd="slow">
    <p:wip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90"/>
            <a:ext cx="8345488" cy="2658728"/>
          </a:xfrm>
          <a:prstGeom prst="rect">
            <a:avLst/>
          </a:prstGeom>
        </p:spPr>
        <p:txBody>
          <a:bodyPr lIns="68526" tIns="34283" rIns="68526" bIns="34283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9" y="4148247"/>
            <a:ext cx="7180312" cy="326233"/>
          </a:xfrm>
          <a:prstGeom prst="rect">
            <a:avLst/>
          </a:prstGeom>
        </p:spPr>
        <p:txBody>
          <a:bodyPr wrap="square" lIns="68526" tIns="34283" rIns="68526" bIns="34283" anchor="b" anchorCtr="0">
            <a:noAutofit/>
          </a:bodyPr>
          <a:lstStyle>
            <a:lvl1pPr algn="l" defTabSz="60317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341340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9" tIns="34283" rIns="68529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4437197"/>
      </p:ext>
    </p:extLst>
  </p:cSld>
  <p:clrMapOvr>
    <a:masterClrMapping/>
  </p:clrMapOvr>
  <p:transition spd="med"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6"/>
            <a:ext cx="8345488" cy="2660650"/>
          </a:xfrm>
          <a:prstGeom prst="rect">
            <a:avLst/>
          </a:prstGeom>
        </p:spPr>
        <p:txBody>
          <a:bodyPr vert="horz" lIns="68526" tIns="34283" rIns="68526" bIns="34283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9" y="4148247"/>
            <a:ext cx="7180312" cy="326233"/>
          </a:xfrm>
          <a:prstGeom prst="rect">
            <a:avLst/>
          </a:prstGeom>
        </p:spPr>
        <p:txBody>
          <a:bodyPr wrap="square" lIns="68526" tIns="34283" rIns="68526" bIns="34283" anchor="b" anchorCtr="0">
            <a:noAutofit/>
          </a:bodyPr>
          <a:lstStyle>
            <a:lvl1pPr algn="l" defTabSz="60317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0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9" tIns="34283" rIns="68529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0092306"/>
      </p:ext>
    </p:extLst>
  </p:cSld>
  <p:clrMapOvr>
    <a:masterClrMapping/>
  </p:clrMapOvr>
  <p:transition spd="med"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8" y="1349456"/>
            <a:ext cx="4007001" cy="3040773"/>
          </a:xfrm>
          <a:prstGeom prst="rect">
            <a:avLst/>
          </a:prstGeom>
        </p:spPr>
        <p:txBody>
          <a:bodyPr lIns="68526" tIns="34283" rIns="68526" bIns="34283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99"/>
            <a:ext cx="4073346" cy="3039397"/>
          </a:xfrm>
          <a:prstGeom prst="rect">
            <a:avLst/>
          </a:prstGeom>
        </p:spPr>
        <p:txBody>
          <a:bodyPr vert="horz" lIns="68526" tIns="34283" rIns="68526" bIns="34283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0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9" tIns="34283" rIns="68529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9100467"/>
      </p:ext>
    </p:extLst>
  </p:cSld>
  <p:clrMapOvr>
    <a:masterClrMapping/>
  </p:clrMapOvr>
  <p:transition spd="med"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8" y="1349354"/>
            <a:ext cx="4003995" cy="3040875"/>
          </a:xfrm>
          <a:prstGeom prst="rect">
            <a:avLst/>
          </a:prstGeom>
        </p:spPr>
        <p:txBody>
          <a:bodyPr lIns="68526" tIns="34283" rIns="68526" bIns="34283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68526" tIns="34283" rIns="68526" bIns="34283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0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9" tIns="34283" rIns="68529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013009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6085117" y="1622395"/>
            <a:ext cx="2318564" cy="2318564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1" tIns="34289" rIns="68541" bIns="34289" rtlCol="0" anchor="ctr"/>
          <a:lstStyle/>
          <a:p>
            <a:pPr algn="ctr" defTabSz="685358"/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Oval 3"/>
          <p:cNvSpPr/>
          <p:nvPr/>
        </p:nvSpPr>
        <p:spPr>
          <a:xfrm>
            <a:off x="3423232" y="1622395"/>
            <a:ext cx="2318564" cy="2318564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1" tIns="34289" rIns="68541" bIns="34289" rtlCol="0" anchor="ctr"/>
          <a:lstStyle/>
          <a:p>
            <a:pPr algn="ctr" defTabSz="685358"/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Oval 6"/>
          <p:cNvSpPr/>
          <p:nvPr/>
        </p:nvSpPr>
        <p:spPr>
          <a:xfrm>
            <a:off x="764272" y="1622395"/>
            <a:ext cx="2318564" cy="2318564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1" tIns="34289" rIns="68541" bIns="34289" rtlCol="0" anchor="ctr"/>
          <a:lstStyle/>
          <a:p>
            <a:pPr algn="ctr" defTabSz="685358"/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777486" y="2800169"/>
            <a:ext cx="2292136" cy="603661"/>
          </a:xfrm>
          <a:prstGeom prst="rect">
            <a:avLst/>
          </a:prstGeom>
        </p:spPr>
        <p:txBody>
          <a:bodyPr lIns="68526" tIns="34283" rIns="68526" bIns="34283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436446" y="2798222"/>
            <a:ext cx="2292136" cy="603661"/>
          </a:xfrm>
          <a:prstGeom prst="rect">
            <a:avLst/>
          </a:prstGeom>
        </p:spPr>
        <p:txBody>
          <a:bodyPr lIns="68526" tIns="34283" rIns="68526" bIns="34283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098331" y="2798222"/>
            <a:ext cx="2292136" cy="603661"/>
          </a:xfrm>
          <a:prstGeom prst="rect">
            <a:avLst/>
          </a:prstGeom>
        </p:spPr>
        <p:txBody>
          <a:bodyPr lIns="68526" tIns="34283" rIns="68526" bIns="34283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 lIns="68541" tIns="34289" rIns="68541" bIns="34289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 lIns="68541" tIns="34289" rIns="68541" bIns="34289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 lIns="68541" tIns="34289" rIns="68541" bIns="34289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3378375"/>
      </p:ext>
    </p:extLst>
  </p:cSld>
  <p:clrMapOvr>
    <a:masterClrMapping/>
  </p:clrMapOvr>
  <p:transition spd="slow">
    <p:wip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/>
        </p:nvSpPr>
        <p:spPr>
          <a:xfrm>
            <a:off x="774848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38" tIns="34289" rIns="68538" bIns="34289" anchor="ctr"/>
          <a:lstStyle/>
          <a:p>
            <a:pPr algn="ctr" defTabSz="913793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44" name="Oval 43"/>
          <p:cNvSpPr/>
          <p:nvPr/>
        </p:nvSpPr>
        <p:spPr>
          <a:xfrm>
            <a:off x="3422849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38" tIns="34289" rIns="68538" bIns="34289" anchor="ctr"/>
          <a:lstStyle/>
          <a:p>
            <a:pPr algn="ctr" defTabSz="913793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45" name="Oval 44"/>
          <p:cNvSpPr/>
          <p:nvPr/>
        </p:nvSpPr>
        <p:spPr>
          <a:xfrm>
            <a:off x="6087386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38" tIns="34289" rIns="68538" bIns="34289" anchor="ctr"/>
          <a:lstStyle/>
          <a:p>
            <a:pPr algn="ctr" defTabSz="913793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0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9" tIns="34283" rIns="68529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68529" tIns="34283" rIns="68529" bIns="34283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68529" tIns="34283" rIns="68529" bIns="34283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68529" tIns="34283" rIns="68529" bIns="34283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788799" y="3873165"/>
            <a:ext cx="2292136" cy="603661"/>
          </a:xfrm>
          <a:prstGeom prst="rect">
            <a:avLst/>
          </a:prstGeom>
        </p:spPr>
        <p:txBody>
          <a:bodyPr lIns="68526" tIns="34283" rIns="68526" bIns="34283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436818" y="3871218"/>
            <a:ext cx="2292136" cy="603661"/>
          </a:xfrm>
          <a:prstGeom prst="rect">
            <a:avLst/>
          </a:prstGeom>
        </p:spPr>
        <p:txBody>
          <a:bodyPr lIns="68526" tIns="34283" rIns="68526" bIns="34283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101337" y="3871218"/>
            <a:ext cx="2292136" cy="603661"/>
          </a:xfrm>
          <a:prstGeom prst="rect">
            <a:avLst/>
          </a:prstGeom>
        </p:spPr>
        <p:txBody>
          <a:bodyPr lIns="68526" tIns="34283" rIns="68526" bIns="34283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958407001"/>
      </p:ext>
    </p:extLst>
  </p:cSld>
  <p:clrMapOvr>
    <a:masterClrMapping/>
  </p:clrMapOvr>
  <p:transition spd="slow">
    <p:wip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5" y="4629177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68526" tIns="34283" rIns="68526" bIns="34283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00064" y="3484021"/>
            <a:ext cx="8139112" cy="505908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80948" tIns="0" rIns="68541" bIns="34289" numCol="1" anchor="ctr" anchorCtr="0" compatLnSpc="1">
            <a:prstTxWarp prst="textNoShape">
              <a:avLst/>
            </a:prstTxWarp>
            <a:spAutoFit/>
          </a:bodyPr>
          <a:lstStyle>
            <a:lvl1pPr marL="172692" indent="0">
              <a:lnSpc>
                <a:spcPts val="3680"/>
              </a:lnSpc>
              <a:spcBef>
                <a:spcPts val="0"/>
              </a:spcBef>
              <a:buNone/>
              <a:defRPr sz="24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4118116265"/>
      </p:ext>
    </p:extLst>
  </p:cSld>
  <p:clrMapOvr>
    <a:masterClrMapping/>
  </p:clrMapOvr>
  <p:transition spd="slow">
    <p:wip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4" y="301064"/>
            <a:ext cx="8563172" cy="2542175"/>
          </a:xfrm>
          <a:prstGeom prst="rect">
            <a:avLst/>
          </a:prstGeom>
        </p:spPr>
        <p:txBody>
          <a:bodyPr vert="horz" lIns="68526" tIns="34283" rIns="68526" bIns="34283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6" y="3054544"/>
            <a:ext cx="8364236" cy="544859"/>
          </a:xfrm>
          <a:prstGeom prst="rect">
            <a:avLst/>
          </a:prstGeom>
        </p:spPr>
        <p:txBody>
          <a:bodyPr vert="horz" wrap="square" lIns="68541" tIns="34289" rIns="68541" bIns="34289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442599342"/>
      </p:ext>
    </p:extLst>
  </p:cSld>
  <p:clrMapOvr>
    <a:masterClrMapping/>
  </p:clrMapOvr>
  <p:transition spd="slow">
    <p:wip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970" y="609608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930" y="302532"/>
            <a:ext cx="3715995" cy="826447"/>
          </a:xfrm>
          <a:prstGeom prst="rect">
            <a:avLst/>
          </a:prstGeom>
        </p:spPr>
        <p:txBody>
          <a:bodyPr lIns="46256" tIns="25715" rIns="46256" bIns="25715" rtlCol="0">
            <a:noAutofit/>
          </a:bodyPr>
          <a:lstStyle>
            <a:lvl1pPr algn="l" defTabSz="68522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905965" y="302506"/>
            <a:ext cx="3715995" cy="826446"/>
          </a:xfrm>
          <a:prstGeom prst="rect">
            <a:avLst/>
          </a:prstGeom>
        </p:spPr>
        <p:txBody>
          <a:bodyPr lIns="68523" tIns="34283" rIns="68523" bIns="34283" anchor="ctr" anchorCtr="0">
            <a:noAutofit/>
          </a:bodyPr>
          <a:lstStyle>
            <a:lvl1pPr marL="0" marR="0" indent="0" algn="l" defTabSz="68522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930" y="1347788"/>
            <a:ext cx="3715995" cy="3083094"/>
          </a:xfrm>
          <a:prstGeom prst="rect">
            <a:avLst/>
          </a:prstGeom>
        </p:spPr>
        <p:txBody>
          <a:bodyPr lIns="68523" tIns="34283" rIns="68523" bIns="34283">
            <a:noAutofit/>
          </a:bodyPr>
          <a:lstStyle>
            <a:lvl1pPr marL="228381" indent="-171299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758" indent="-21568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085" indent="-171299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354" indent="-171299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651" indent="-171299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905965" y="1347788"/>
            <a:ext cx="3715995" cy="3083094"/>
          </a:xfrm>
          <a:prstGeom prst="rect">
            <a:avLst/>
          </a:prstGeom>
        </p:spPr>
        <p:txBody>
          <a:bodyPr lIns="68523" tIns="34283" rIns="68523" bIns="34283">
            <a:noAutofit/>
          </a:bodyPr>
          <a:lstStyle>
            <a:lvl1pPr marL="228381" indent="-171299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758" indent="-21568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085" indent="-171299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354" indent="-171299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651" indent="-171299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5734561"/>
      </p:ext>
    </p:extLst>
  </p:cSld>
  <p:clrMapOvr>
    <a:masterClrMapping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9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7348" cy="5143500"/>
          </a:xfrm>
          <a:prstGeom prst="rect">
            <a:avLst/>
          </a:prstGeom>
        </p:spPr>
      </p:pic>
      <p:sp>
        <p:nvSpPr>
          <p:cNvPr id="14" name="Text Placeholder 2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00064" y="3476221"/>
            <a:ext cx="8139112" cy="521510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80948" tIns="0" rIns="68541" bIns="34289" numCol="1" anchor="b" anchorCtr="0" compatLnSpc="1">
            <a:prstTxWarp prst="textNoShape">
              <a:avLst/>
            </a:prstTxWarp>
            <a:spAutoFit/>
          </a:bodyPr>
          <a:lstStyle>
            <a:lvl1pPr marL="172692" indent="-179879">
              <a:lnSpc>
                <a:spcPts val="3680"/>
              </a:lnSpc>
              <a:spcBef>
                <a:spcPts val="0"/>
              </a:spcBef>
              <a:buNone/>
              <a:defRPr sz="32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  <p:pic>
        <p:nvPicPr>
          <p:cNvPr id="11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8513594" y="4742935"/>
            <a:ext cx="220553" cy="1545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47" tIns="30791" rIns="61547" bIns="30791" anchor="b">
            <a:spAutoFit/>
          </a:bodyPr>
          <a:lstStyle/>
          <a:p>
            <a:pPr algn="r" defTabSz="610339"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cs typeface="CiscoSans Thin"/>
              </a:rPr>
              <a:pPr algn="r" defTabSz="610339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5867508" y="4741680"/>
            <a:ext cx="2658018" cy="154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47" tIns="30791" rIns="61547" bIns="30791" anchor="b">
            <a:spAutoFit/>
          </a:bodyPr>
          <a:lstStyle/>
          <a:p>
            <a:pPr defTabSz="610339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2014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61012613"/>
      </p:ext>
    </p:extLst>
  </p:cSld>
  <p:clrMapOvr>
    <a:masterClrMapping/>
  </p:clrMapOvr>
  <p:transition spd="slow">
    <p:wip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5" y="4629177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68526" tIns="34283" rIns="68526" bIns="34283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21116483"/>
      </p:ext>
    </p:extLst>
  </p:cSld>
  <p:clrMapOvr>
    <a:masterClrMapping/>
  </p:clrMapOvr>
  <p:transition spd="slow">
    <p:wip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3"/>
            <a:ext cx="8480388" cy="4266646"/>
          </a:xfrm>
          <a:prstGeom prst="rect">
            <a:avLst/>
          </a:prstGeom>
        </p:spPr>
        <p:txBody>
          <a:bodyPr vert="horz" lIns="68529" tIns="34283" rIns="68529" bIns="34283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11775748"/>
      </p:ext>
    </p:extLst>
  </p:cSld>
  <p:clrMapOvr>
    <a:masterClrMapping/>
  </p:clrMapOvr>
  <p:transition spd="slow">
    <p:wip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2" y="596901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8" tIns="34289" rIns="68538" bIns="34289" anchor="ctr"/>
          <a:lstStyle/>
          <a:p>
            <a:pPr algn="ctr" defTabSz="685358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1" y="3595689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8" tIns="34289" rIns="68538" bIns="34289" anchor="ctr"/>
          <a:lstStyle/>
          <a:p>
            <a:pPr algn="ctr" defTabSz="685358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40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68529" tIns="34283" rIns="68529" bIns="34283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065873" y="3655079"/>
            <a:ext cx="5074070" cy="628650"/>
          </a:xfrm>
        </p:spPr>
        <p:txBody>
          <a:bodyPr anchor="ctr"/>
          <a:lstStyle>
            <a:lvl1pPr>
              <a:defRPr sz="2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59591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827" y="233390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8" tIns="34289" rIns="68538" bIns="34289" anchor="ctr"/>
          <a:lstStyle/>
          <a:p>
            <a:pPr algn="ctr" defTabSz="685358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51407" tIns="25715" rIns="51407" bIns="25715" rtlCol="0" anchor="ctr" anchorCtr="0">
            <a:normAutofit/>
          </a:bodyPr>
          <a:lstStyle>
            <a:lvl1pPr marL="0" indent="0" algn="ctr" defTabSz="68531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0962" y="2480720"/>
            <a:ext cx="6729865" cy="1614419"/>
          </a:xfrm>
        </p:spPr>
        <p:txBody>
          <a:bodyPr>
            <a:noAutofit/>
          </a:bodyPr>
          <a:lstStyle>
            <a:lvl1pPr marL="0" marR="0" indent="0" algn="l" defTabSz="68531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519510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609"/>
            <a:ext cx="3630612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8" tIns="34289" rIns="68538" bIns="34289" anchor="ctr"/>
          <a:lstStyle/>
          <a:p>
            <a:pPr algn="ctr" defTabSz="685358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5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68529" tIns="34283" rIns="68529" bIns="34283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7670" y="546761"/>
            <a:ext cx="4349918" cy="813985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03549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90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5" tIns="34286" rIns="68535" bIns="34286" anchor="ctr"/>
          <a:lstStyle/>
          <a:p>
            <a:pPr algn="ctr" defTabSz="685358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90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5" tIns="34286" rIns="68535" bIns="34286" anchor="ctr"/>
          <a:lstStyle/>
          <a:p>
            <a:pPr algn="ctr" defTabSz="685358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40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5" tIns="34286" rIns="68535" bIns="34286" anchor="ctr"/>
          <a:lstStyle/>
          <a:p>
            <a:pPr algn="ctr" defTabSz="685358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90" y="2271740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5" tIns="34286" rIns="68535" bIns="34286" anchor="ctr"/>
          <a:lstStyle/>
          <a:p>
            <a:pPr algn="ctr" defTabSz="685358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7" y="2271740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5" tIns="34286" rIns="68535" bIns="34286" anchor="ctr"/>
          <a:lstStyle/>
          <a:p>
            <a:pPr algn="ctr" defTabSz="685358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40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5" tIns="34286" rIns="68535" bIns="34286" anchor="ctr"/>
          <a:lstStyle/>
          <a:p>
            <a:pPr algn="ctr" defTabSz="685358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40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5" tIns="34286" rIns="68535" bIns="34286" anchor="ctr"/>
          <a:lstStyle/>
          <a:p>
            <a:pPr algn="ctr" defTabSz="685358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6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05" tIns="25715" rIns="51405" bIns="25715" rtlCol="0" anchor="ctr" anchorCtr="0">
            <a:normAutofit/>
          </a:bodyPr>
          <a:lstStyle>
            <a:lvl1pPr marL="0" indent="0" algn="ctr" defTabSz="685289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05" tIns="25715" rIns="51405" bIns="25715" rtlCol="0" anchor="ctr" anchorCtr="0">
            <a:normAutofit/>
          </a:bodyPr>
          <a:lstStyle>
            <a:lvl1pPr marL="0" indent="0" algn="ctr" defTabSz="685289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05" tIns="25715" rIns="51405" bIns="25715" rtlCol="0" anchor="ctr" anchorCtr="0">
            <a:normAutofit/>
          </a:bodyPr>
          <a:lstStyle>
            <a:lvl1pPr marL="0" indent="0" algn="ctr" defTabSz="685289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45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05" tIns="25715" rIns="51405" bIns="25715" rtlCol="0" anchor="ctr" anchorCtr="0">
            <a:normAutofit/>
          </a:bodyPr>
          <a:lstStyle>
            <a:lvl1pPr marL="0" indent="0" algn="ctr" defTabSz="685289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6" y="2271745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05" tIns="25715" rIns="51405" bIns="25715" rtlCol="0" anchor="ctr" anchorCtr="0">
            <a:normAutofit/>
          </a:bodyPr>
          <a:lstStyle>
            <a:lvl1pPr marL="0" indent="0" algn="ctr" defTabSz="685289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05" tIns="25715" rIns="51405" bIns="25715" rtlCol="0" anchor="ctr" anchorCtr="0">
            <a:normAutofit/>
          </a:bodyPr>
          <a:lstStyle>
            <a:lvl1pPr marL="0" indent="0" algn="ctr" defTabSz="685289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05" tIns="25715" rIns="51405" bIns="25715" rtlCol="0" anchor="ctr" anchorCtr="0">
            <a:normAutofit/>
          </a:bodyPr>
          <a:lstStyle>
            <a:lvl1pPr marL="0" indent="0" algn="ctr" defTabSz="685289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709525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56334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65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51405" tIns="25715" rIns="51405" bIns="25715" rtlCol="0" anchor="ctr">
            <a:normAutofit/>
          </a:bodyPr>
          <a:lstStyle>
            <a:lvl1pPr marL="0" indent="0" algn="ctr" defTabSz="685289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278302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51405" tIns="25715" rIns="51405" bIns="25715" rtlCol="0" anchor="ctr">
            <a:normAutofit/>
          </a:bodyPr>
          <a:lstStyle>
            <a:lvl1pPr marL="0" indent="0" algn="ctr" defTabSz="685289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534359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8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8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1992" y="228347"/>
            <a:ext cx="2337109" cy="770461"/>
          </a:xfrm>
          <a:prstGeom prst="rect">
            <a:avLst/>
          </a:prstGeom>
        </p:spPr>
        <p:txBody>
          <a:bodyPr lIns="68523" tIns="34283" rIns="68523" bIns="34283" anchor="b" anchorCtr="0">
            <a:noAutofit/>
          </a:bodyPr>
          <a:lstStyle>
            <a:lvl1pPr marL="0" marR="0" indent="0" algn="l" defTabSz="68522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77757" y="227867"/>
            <a:ext cx="2337109" cy="770461"/>
          </a:xfrm>
          <a:prstGeom prst="rect">
            <a:avLst/>
          </a:prstGeom>
        </p:spPr>
        <p:txBody>
          <a:bodyPr lIns="68523" tIns="34283" rIns="68523" bIns="34283" anchor="b" anchorCtr="0">
            <a:noAutofit/>
          </a:bodyPr>
          <a:lstStyle>
            <a:lvl1pPr marL="0" marR="0" indent="0" algn="l" defTabSz="68522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354842" y="220507"/>
            <a:ext cx="2337109" cy="770461"/>
          </a:xfrm>
          <a:prstGeom prst="rect">
            <a:avLst/>
          </a:prstGeom>
        </p:spPr>
        <p:txBody>
          <a:bodyPr lIns="68523" tIns="34283" rIns="68523" bIns="34283" anchor="b" anchorCtr="0">
            <a:noAutofit/>
          </a:bodyPr>
          <a:lstStyle>
            <a:lvl1pPr marL="0" marR="0" indent="0" algn="l" defTabSz="68522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1965" y="1201094"/>
            <a:ext cx="2337110" cy="3314904"/>
          </a:xfrm>
          <a:prstGeom prst="rect">
            <a:avLst/>
          </a:prstGeom>
        </p:spPr>
        <p:txBody>
          <a:bodyPr lIns="68523" tIns="34283" rIns="68523" bIns="34283">
            <a:noAutofit/>
          </a:bodyPr>
          <a:lstStyle>
            <a:lvl1pPr marL="233142" indent="-171299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606" indent="-171299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68523" tIns="34283" rIns="68523" bIns="34283">
            <a:noAutofit/>
          </a:bodyPr>
          <a:lstStyle>
            <a:lvl1pPr marL="233142" indent="-171299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606" indent="-171299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54814" y="1200321"/>
            <a:ext cx="2337110" cy="3314904"/>
          </a:xfrm>
          <a:prstGeom prst="rect">
            <a:avLst/>
          </a:prstGeom>
        </p:spPr>
        <p:txBody>
          <a:bodyPr lIns="68523" tIns="34283" rIns="68523" bIns="34283">
            <a:noAutofit/>
          </a:bodyPr>
          <a:lstStyle>
            <a:lvl1pPr marL="233142" indent="-171299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606" indent="-171299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632883829"/>
      </p:ext>
    </p:extLst>
  </p:cSld>
  <p:clrMapOvr>
    <a:masterClrMapping/>
  </p:clrMapOvr>
  <p:transition spd="med"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115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73798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16" y="-2569"/>
            <a:ext cx="9150431" cy="5148643"/>
          </a:xfrm>
          <a:prstGeom prst="rect">
            <a:avLst/>
          </a:prstGeom>
        </p:spPr>
      </p:pic>
      <p:pic>
        <p:nvPicPr>
          <p:cNvPr id="17" name="Picture 16" descr="pref_1-line_logo+tagline-rt-white-CMYK.ai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  <a:lum bright="-100000" contrast="-100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745" y="1643634"/>
            <a:ext cx="8760510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187392"/>
      </p:ext>
    </p:extLst>
  </p:cSld>
  <p:clrMapOvr>
    <a:masterClrMapping/>
  </p:clrMapOvr>
  <p:transition spd="slow">
    <p:wip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Multi_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59117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1499" y="1200177"/>
            <a:ext cx="8659976" cy="3394075"/>
          </a:xfrm>
          <a:prstGeom prst="rect">
            <a:avLst/>
          </a:prstGeom>
        </p:spPr>
        <p:txBody>
          <a:bodyPr lIns="91380" tIns="45690" rIns="91380" bIns="45690">
            <a:noAutofit/>
          </a:bodyPr>
          <a:lstStyle>
            <a:lvl1pPr marL="285546" marR="0" indent="-285546" algn="l" defTabSz="45685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45685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 smtClean="0"/>
              <a:t>This slide will allow you to add one of the following:</a:t>
            </a:r>
            <a:br>
              <a:rPr lang="en-GB" dirty="0" smtClean="0"/>
            </a:br>
            <a:r>
              <a:rPr lang="en-GB" dirty="0" smtClean="0"/>
              <a:t>Table, Charts, Smart Art, Pictures, Clip Art and Media</a:t>
            </a:r>
            <a:br>
              <a:rPr lang="en-GB" dirty="0" smtClean="0"/>
            </a:br>
            <a:r>
              <a:rPr lang="en-GB" dirty="0" smtClean="0"/>
              <a:t>Click icon to add content</a:t>
            </a: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53" tIns="30794" rIns="61553" bIns="30794" anchor="b">
            <a:spAutoFit/>
          </a:bodyPr>
          <a:lstStyle/>
          <a:p>
            <a:pPr algn="r" defTabSz="610410"/>
            <a:r>
              <a:rPr lang="en-US" sz="600" dirty="0">
                <a:solidFill>
                  <a:srgbClr val="FFFFFF"/>
                </a:solidFill>
                <a:cs typeface="Arial" panose="020B0604020202020204" pitchFamily="34" charset="0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60755" y="4742905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53" tIns="30794" rIns="61553" bIns="30794" anchor="b">
            <a:spAutoFit/>
          </a:bodyPr>
          <a:lstStyle/>
          <a:p>
            <a:pPr algn="r" defTabSz="610410"/>
            <a:fld id="{DFCF27A5-1A5B-48D3-A060-2758FFBB1ADD}" type="slidenum">
              <a:rPr lang="en-US" sz="600">
                <a:solidFill>
                  <a:srgbClr val="FFFFFF"/>
                </a:solidFill>
                <a:cs typeface="Arial" panose="020B0604020202020204" pitchFamily="34" charset="0"/>
              </a:rPr>
              <a:pPr algn="r" defTabSz="610410"/>
              <a:t>‹#›</a:t>
            </a:fld>
            <a:endParaRPr lang="en-US" sz="6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92070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53" tIns="30794" rIns="61553" bIns="30794" anchor="b" anchorCtr="0">
            <a:spAutoFit/>
          </a:bodyPr>
          <a:lstStyle/>
          <a:p>
            <a:pPr defTabSz="610410"/>
            <a:r>
              <a:rPr lang="en-US" sz="600" dirty="0" smtClean="0">
                <a:solidFill>
                  <a:srgbClr val="FFFFFF"/>
                </a:solidFill>
                <a:cs typeface="Arial" panose="020B0604020202020204" pitchFamily="34" charset="0"/>
              </a:rPr>
              <a:t>©2014 Cisco and/or its affiliates. All rights reserved.</a:t>
            </a:r>
            <a:endParaRPr lang="en-US" sz="6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51233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59742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64" tIns="30797" rIns="61564" bIns="30797" anchor="b">
            <a:spAutoFit/>
          </a:bodyPr>
          <a:lstStyle/>
          <a:p>
            <a:pPr algn="r" defTabSz="610501"/>
            <a:r>
              <a:rPr lang="en-US" sz="6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8660815" y="4742918"/>
            <a:ext cx="220577" cy="1545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64" tIns="30797" rIns="61564" bIns="30797" anchor="b">
            <a:spAutoFit/>
          </a:bodyPr>
          <a:lstStyle/>
          <a:p>
            <a:pPr algn="r" defTabSz="610501"/>
            <a:fld id="{DFCF27A5-1A5B-48D3-A060-2758FFBB1ADD}" type="slidenum">
              <a:rPr lang="en-US" sz="600">
                <a:solidFill>
                  <a:srgbClr val="FFFFFF"/>
                </a:solidFill>
                <a:cs typeface="CiscoSans Thin"/>
              </a:rPr>
              <a:pPr algn="r" defTabSz="610501"/>
              <a:t>‹#›</a:t>
            </a:fld>
            <a:endParaRPr lang="en-US" sz="6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292066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64" tIns="30797" rIns="61564" bIns="30797" anchor="b" anchorCtr="0">
            <a:spAutoFit/>
          </a:bodyPr>
          <a:lstStyle/>
          <a:p>
            <a:pPr defTabSz="610501"/>
            <a:r>
              <a:rPr lang="en-US" sz="600" dirty="0" smtClean="0">
                <a:solidFill>
                  <a:srgbClr val="FFFFFF"/>
                </a:solidFill>
                <a:cs typeface="CiscoSans Thin"/>
              </a:rPr>
              <a:t>© 2014  Cisco and/or its affiliates. All rights reserved.</a:t>
            </a:r>
            <a:endParaRPr lang="en-US" sz="600" dirty="0">
              <a:solidFill>
                <a:srgbClr val="FFFFFF"/>
              </a:solidFill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3963072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Placeholder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517" y="0"/>
            <a:ext cx="9141291" cy="51435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8" descr="logo_black.ai"/>
          <p:cNvPicPr>
            <a:picLocks noChangeAspect="1"/>
          </p:cNvPicPr>
          <p:nvPr userDrawn="1"/>
        </p:nvPicPr>
        <p:blipFill>
          <a:blip r:embed="rId3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80" y="320677"/>
            <a:ext cx="9493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525" y="3793228"/>
            <a:ext cx="8296421" cy="288131"/>
          </a:xfrm>
          <a:prstGeom prst="rect">
            <a:avLst/>
          </a:prstGeom>
        </p:spPr>
        <p:txBody>
          <a:bodyPr lIns="68513" tIns="34274" rIns="68513" bIns="34274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4D4D4D"/>
                </a:solidFill>
                <a:latin typeface="+mn-lt"/>
                <a:cs typeface="CiscoSans"/>
              </a:defRPr>
            </a:lvl1pPr>
            <a:lvl2pPr marL="342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1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6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28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3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7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04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525" y="4078581"/>
            <a:ext cx="8296421" cy="288131"/>
          </a:xfrm>
          <a:prstGeom prst="rect">
            <a:avLst/>
          </a:prstGeom>
        </p:spPr>
        <p:txBody>
          <a:bodyPr lIns="68513" tIns="34274" rIns="68513" bIns="34274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525" y="4363934"/>
            <a:ext cx="8296421" cy="288131"/>
          </a:xfrm>
          <a:prstGeom prst="rect">
            <a:avLst/>
          </a:prstGeom>
        </p:spPr>
        <p:txBody>
          <a:bodyPr lIns="68513" tIns="34274" rIns="68513" bIns="34274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320" y="3211463"/>
            <a:ext cx="8302625" cy="299001"/>
          </a:xfrm>
          <a:prstGeom prst="rect">
            <a:avLst/>
          </a:prstGeom>
        </p:spPr>
        <p:txBody>
          <a:bodyPr lIns="68513" tIns="34274" rIns="68513" bIns="34274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517" indent="0">
              <a:buNone/>
              <a:defRPr/>
            </a:lvl2pPr>
            <a:lvl3pPr marL="427031" indent="0">
              <a:buNone/>
              <a:defRPr/>
            </a:lvl3pPr>
            <a:lvl4pPr marL="516239" indent="0">
              <a:buNone/>
              <a:defRPr/>
            </a:lvl4pPr>
            <a:lvl5pPr marL="600694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7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27905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92" y="1192"/>
            <a:ext cx="1190" cy="1190"/>
          </a:xfrm>
          <a:prstGeom prst="rect">
            <a:avLst/>
          </a:prstGeom>
          <a:noFill/>
        </p:spPr>
      </p:pic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</p:spTree>
    <p:extLst>
      <p:ext uri="{BB962C8B-B14F-4D97-AF65-F5344CB8AC3E}">
        <p14:creationId xmlns:p14="http://schemas.microsoft.com/office/powerpoint/2010/main" val="1854617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6"/>
            <a:ext cx="83454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1064258"/>
      </p:ext>
    </p:extLst>
  </p:cSld>
  <p:clrMapOvr>
    <a:masterClrMapping/>
  </p:clrMapOvr>
  <p:transition spd="med"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">
    <p:bg>
      <p:bgPr>
        <a:gradFill rotWithShape="1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76638" y="1646240"/>
            <a:ext cx="19907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1042507"/>
      </p:ext>
    </p:extLst>
  </p:cSld>
  <p:clrMapOvr>
    <a:masterClrMapping/>
  </p:clrMapOvr>
  <p:transition spd="slow">
    <p:wip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92" y="1192"/>
            <a:ext cx="1190" cy="1190"/>
          </a:xfrm>
          <a:prstGeom prst="rect">
            <a:avLst/>
          </a:prstGeom>
          <a:noFill/>
        </p:spPr>
      </p:pic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35186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6"/>
            <a:ext cx="83454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1344459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6" y="1330326"/>
            <a:ext cx="3712779" cy="31019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4" tIns="45682" rIns="91364" bIns="45682" anchor="ctr"/>
          <a:lstStyle/>
          <a:p>
            <a:pPr algn="ctr" defTabSz="685324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68523" tIns="34283" rIns="68523" bIns="34283">
            <a:noAutofit/>
          </a:bodyPr>
          <a:lstStyle>
            <a:lvl1pPr marL="85660" indent="-85660" algn="l" defTabSz="685227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660" indent="-85660" algn="l" defTabSz="685227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660" indent="-85660" algn="l" defTabSz="685227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660" indent="-85660" algn="l" defTabSz="685227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660" indent="-85660" algn="l" defTabSz="685227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148735" y="3552444"/>
            <a:ext cx="3506245" cy="253746"/>
          </a:xfrm>
          <a:prstGeom prst="rect">
            <a:avLst/>
          </a:prstGeom>
        </p:spPr>
        <p:txBody>
          <a:bodyPr lIns="68523" tIns="34283" rIns="68523" bIns="34283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93" y="1347788"/>
            <a:ext cx="3901123" cy="3083094"/>
          </a:xfrm>
          <a:prstGeom prst="rect">
            <a:avLst/>
          </a:prstGeom>
        </p:spPr>
        <p:txBody>
          <a:bodyPr lIns="68523" tIns="34283" rIns="68523" bIns="34283">
            <a:noAutofit/>
          </a:bodyPr>
          <a:lstStyle>
            <a:lvl1pPr marL="228381" indent="-171299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758" indent="-21568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085" indent="-171299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354" indent="-171299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651" indent="-171299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6" tIns="34283" rIns="68526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401885"/>
      </p:ext>
    </p:extLst>
  </p:cSld>
  <p:clrMapOvr>
    <a:masterClrMapping/>
  </p:clrMapOvr>
  <p:transition spd="med"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">
    <p:bg>
      <p:bgPr>
        <a:gradFill rotWithShape="1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76638" y="1646240"/>
            <a:ext cx="19907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75294351"/>
      </p:ext>
    </p:extLst>
  </p:cSld>
  <p:clrMapOvr>
    <a:masterClrMapping/>
  </p:clrMapOvr>
  <p:transition spd="slow">
    <p:wip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>
          <a:gsLst>
            <a:gs pos="0">
              <a:srgbClr val="049FD9"/>
            </a:gs>
            <a:gs pos="100000">
              <a:srgbClr val="004BAF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50" y="323851"/>
            <a:ext cx="941388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9518" y="3793220"/>
            <a:ext cx="8296421" cy="288131"/>
          </a:xfrm>
          <a:prstGeom prst="rect">
            <a:avLst/>
          </a:prstGeom>
        </p:spPr>
        <p:txBody>
          <a:bodyPr lIns="91376" tIns="45688" rIns="91376" bIns="45688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3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469518" y="4033217"/>
            <a:ext cx="8296421" cy="288131"/>
          </a:xfrm>
          <a:prstGeom prst="rect">
            <a:avLst/>
          </a:prstGeom>
        </p:spPr>
        <p:txBody>
          <a:bodyPr lIns="91376" tIns="45688" rIns="91376" bIns="45688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469518" y="4273214"/>
            <a:ext cx="8296421" cy="288131"/>
          </a:xfrm>
          <a:prstGeom prst="rect">
            <a:avLst/>
          </a:prstGeom>
        </p:spPr>
        <p:txBody>
          <a:bodyPr lIns="91376" tIns="45688" rIns="91376" bIns="45688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3314" y="3211463"/>
            <a:ext cx="8302625" cy="299001"/>
          </a:xfrm>
          <a:prstGeom prst="rect">
            <a:avLst/>
          </a:prstGeom>
        </p:spPr>
        <p:txBody>
          <a:bodyPr lIns="91376" tIns="45688" rIns="91376" bIns="45688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616" indent="0">
              <a:buNone/>
              <a:defRPr/>
            </a:lvl2pPr>
            <a:lvl3pPr marL="427170" indent="0">
              <a:buNone/>
              <a:defRPr/>
            </a:lvl3pPr>
            <a:lvl4pPr marL="516408" indent="0">
              <a:buNone/>
              <a:defRPr/>
            </a:lvl4pPr>
            <a:lvl5pPr marL="60089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425767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6173959"/>
      </p:ext>
    </p:extLst>
  </p:cSld>
  <p:clrMapOvr>
    <a:masterClrMapping/>
  </p:clrMapOvr>
  <p:transition spd="slow">
    <p:wip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99937" y="3209572"/>
            <a:ext cx="4684867" cy="288131"/>
          </a:xfrm>
          <a:prstGeom prst="rect">
            <a:avLst/>
          </a:prstGeom>
        </p:spPr>
        <p:txBody>
          <a:bodyPr vert="horz" lIns="68541" tIns="34286" rIns="68541" bIns="34286" rtlCol="0">
            <a:noAutofit/>
          </a:bodyPr>
          <a:lstStyle>
            <a:lvl1pPr marL="0" indent="0" algn="l" defTabSz="685374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42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3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7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4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9547" y="2462028"/>
            <a:ext cx="4712557" cy="766763"/>
          </a:xfrm>
        </p:spPr>
        <p:txBody>
          <a:bodyPr lIns="61682" tIns="34286" rIns="61682" bIns="34286" rtlCol="0" anchor="b">
            <a:noAutofit/>
          </a:bodyPr>
          <a:lstStyle>
            <a:lvl1pPr marL="0" indent="0" algn="l" defTabSz="685374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376" tIns="45688" rIns="91376" bIns="45688" anchor="ctr" anchorCtr="1"/>
          <a:lstStyle>
            <a:lvl1pPr marL="0" indent="0" algn="ctr"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2359156"/>
      </p:ext>
    </p:extLst>
  </p:cSld>
  <p:clrMapOvr>
    <a:masterClrMapping/>
  </p:clrMapOvr>
  <p:transition spd="slow">
    <p:wip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5708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53" tIns="30791" rIns="61553" bIns="30791" anchor="b">
            <a:spAutoFit/>
          </a:bodyPr>
          <a:lstStyle/>
          <a:p>
            <a:pPr algn="r" defTabSz="610414"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ea typeface="ＭＳ Ｐゴシック" pitchFamily="34" charset="-128"/>
                <a:cs typeface="CiscoSans Thin"/>
              </a:rPr>
              <a:pPr algn="r" defTabSz="61041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ea typeface="ＭＳ Ｐゴシック" pitchFamily="34" charset="-128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53" tIns="30791" rIns="61553" bIns="30791" anchor="b">
            <a:spAutoFit/>
          </a:bodyPr>
          <a:lstStyle/>
          <a:p>
            <a:pPr defTabSz="61041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ea typeface="ＭＳ Ｐゴシック" pitchFamily="34" charset="-128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0164666"/>
      </p:ext>
    </p:extLst>
  </p:cSld>
  <p:clrMapOvr>
    <a:masterClrMapping/>
  </p:clrMapOvr>
  <p:transition spd="slow">
    <p:wip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egue">
    <p:bg>
      <p:bgPr>
        <a:solidFill>
          <a:srgbClr val="3939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8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53" tIns="30791" rIns="61553" bIns="30791" anchor="b">
            <a:spAutoFit/>
          </a:bodyPr>
          <a:lstStyle/>
          <a:p>
            <a:pPr algn="r" defTabSz="610414"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ea typeface="ＭＳ Ｐゴシック" pitchFamily="34" charset="-128"/>
                <a:cs typeface="CiscoSans Thin"/>
              </a:rPr>
              <a:pPr algn="r" defTabSz="61041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ea typeface="ＭＳ Ｐゴシック" pitchFamily="34" charset="-128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53" tIns="30791" rIns="61553" bIns="30791" anchor="b">
            <a:spAutoFit/>
          </a:bodyPr>
          <a:lstStyle/>
          <a:p>
            <a:pPr defTabSz="61041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ea typeface="ＭＳ Ｐゴシック" pitchFamily="34" charset="-128"/>
                <a:cs typeface="CiscoSans Thin"/>
              </a:rPr>
              <a:t>© 2016  Cisco and/or its affiliates. All rights reserved.   Cisco Confidentia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5316561"/>
      </p:ext>
    </p:extLst>
  </p:cSld>
  <p:clrMapOvr>
    <a:masterClrMapping/>
  </p:clrMapOvr>
  <p:transition spd="slow">
    <p:wip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accent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277248"/>
      </p:ext>
    </p:extLst>
  </p:cSld>
  <p:clrMapOvr>
    <a:masterClrMapping/>
  </p:clrMapOvr>
  <p:transition spd="slow">
    <p:wip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90"/>
            <a:ext cx="8280057" cy="3073946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85536" marR="0" indent="-285536" algn="ctr" defTabSz="4568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928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80774" indent="-22366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629" indent="-21572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161" indent="-17132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539" indent="-171327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1856" indent="-168152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4710077"/>
      </p:ext>
    </p:extLst>
  </p:cSld>
  <p:clrMapOvr>
    <a:masterClrMapping/>
  </p:clrMapOvr>
  <p:transition spd="med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57103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1886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581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223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3715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63380886"/>
      </p:ext>
    </p:extLst>
  </p:cSld>
  <p:clrMapOvr>
    <a:masterClrMapping/>
  </p:clrMapOvr>
  <p:transition spd="med"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89682" y="895601"/>
            <a:ext cx="8398739" cy="3168210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57103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1886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581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223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3715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5742923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6" tIns="34283" rIns="68526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734805"/>
      </p:ext>
    </p:extLst>
  </p:cSld>
  <p:clrMapOvr>
    <a:masterClrMapping/>
  </p:clrMapOvr>
  <p:transition spd="med"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12290" indent="-392201">
              <a:lnSpc>
                <a:spcPts val="4440"/>
              </a:lnSpc>
              <a:spcBef>
                <a:spcPts val="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629" indent="-21572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161" indent="-17132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539" indent="-171327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1856" indent="-168152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8054803"/>
      </p:ext>
    </p:extLst>
  </p:cSld>
  <p:clrMapOvr>
    <a:masterClrMapping/>
  </p:clrMapOvr>
  <p:transition spd="med"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80774" indent="-223661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629" indent="-215723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47161" indent="-171327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0539" indent="-171327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081856" indent="-168152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62444743"/>
      </p:ext>
    </p:extLst>
  </p:cSld>
  <p:clrMapOvr>
    <a:masterClrMapping/>
  </p:clrMapOvr>
  <p:transition spd="med"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88" y="1347788"/>
            <a:ext cx="3901123" cy="3083094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28423" indent="-171327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6842" indent="-215723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190" indent="-171327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494" indent="-171327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0819" indent="-171327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28423" indent="-171327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6842" indent="-215723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190" indent="-171327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494" indent="-171327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0819" indent="-171327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0613387"/>
      </p:ext>
    </p:extLst>
  </p:cSld>
  <p:clrMapOvr>
    <a:masterClrMapping/>
  </p:clrMapOvr>
  <p:transition spd="med"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650" y="609608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30" y="302527"/>
            <a:ext cx="3715995" cy="826447"/>
          </a:xfrm>
          <a:prstGeom prst="rect">
            <a:avLst/>
          </a:prstGeom>
        </p:spPr>
        <p:txBody>
          <a:bodyPr lIns="61679" tIns="34286" rIns="61679" bIns="34286" rtlCol="0">
            <a:noAutofit/>
          </a:bodyPr>
          <a:lstStyle>
            <a:lvl1pPr algn="l" defTabSz="68534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4905965" y="302506"/>
            <a:ext cx="3715995" cy="826446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marR="0" indent="0" algn="l" defTabSz="685346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chemeClr val="tx2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7930" y="1347788"/>
            <a:ext cx="3715995" cy="3083094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28423" indent="-171327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6842" indent="-215723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190" indent="-171327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494" indent="-171327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0819" indent="-171327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905965" y="1347788"/>
            <a:ext cx="3715995" cy="3083094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28423" indent="-171327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6842" indent="-215723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190" indent="-171327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494" indent="-171327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0819" indent="-171327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1505025"/>
      </p:ext>
    </p:extLst>
  </p:cSld>
  <p:clrMapOvr>
    <a:masterClrMapping/>
  </p:clrMapOvr>
  <p:transition spd="med">
    <p:fade/>
  </p:transition>
  <p:hf hdr="0" ftr="0" dt="0"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8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8"/>
            <a:ext cx="0" cy="3984625"/>
          </a:xfrm>
          <a:prstGeom prst="line">
            <a:avLst/>
          </a:prstGeom>
          <a:ln w="38100" cap="flat" cmpd="sng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>
          <a:xfrm>
            <a:off x="461985" y="228340"/>
            <a:ext cx="2337109" cy="770461"/>
          </a:xfrm>
          <a:prstGeom prst="rect">
            <a:avLst/>
          </a:prstGeom>
        </p:spPr>
        <p:txBody>
          <a:bodyPr lIns="91376" tIns="45688" rIns="91376" bIns="45688" anchor="b" anchorCtr="0">
            <a:noAutofit/>
          </a:bodyPr>
          <a:lstStyle>
            <a:lvl1pPr marL="0" marR="0" indent="0" algn="l" defTabSz="685346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/>
          </p:nvPr>
        </p:nvSpPr>
        <p:spPr>
          <a:xfrm>
            <a:off x="3377750" y="227860"/>
            <a:ext cx="2337109" cy="770461"/>
          </a:xfrm>
          <a:prstGeom prst="rect">
            <a:avLst/>
          </a:prstGeom>
        </p:spPr>
        <p:txBody>
          <a:bodyPr lIns="91376" tIns="45688" rIns="91376" bIns="45688" anchor="b" anchorCtr="0">
            <a:noAutofit/>
          </a:bodyPr>
          <a:lstStyle>
            <a:lvl1pPr marL="0" marR="0" indent="0" algn="l" defTabSz="685346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/>
          </p:nvPr>
        </p:nvSpPr>
        <p:spPr>
          <a:xfrm>
            <a:off x="6354835" y="220500"/>
            <a:ext cx="2337109" cy="770461"/>
          </a:xfrm>
          <a:prstGeom prst="rect">
            <a:avLst/>
          </a:prstGeom>
        </p:spPr>
        <p:txBody>
          <a:bodyPr lIns="91376" tIns="45688" rIns="91376" bIns="45688" anchor="b" anchorCtr="0">
            <a:noAutofit/>
          </a:bodyPr>
          <a:lstStyle>
            <a:lvl1pPr marL="0" marR="0" indent="0" algn="l" defTabSz="685346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61965" y="1201094"/>
            <a:ext cx="2337110" cy="3314904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33184" indent="-171327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431679" indent="-171327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33184" indent="-171327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431679" indent="-171327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/>
          </p:nvPr>
        </p:nvSpPr>
        <p:spPr>
          <a:xfrm>
            <a:off x="6354814" y="1200321"/>
            <a:ext cx="2337110" cy="3314904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33184" indent="-171327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16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431679" indent="-171327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>
              <a:buClr>
                <a:schemeClr val="tx2"/>
              </a:buClr>
              <a:buSzPct val="80000"/>
              <a:defRPr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606240"/>
      </p:ext>
    </p:extLst>
  </p:cSld>
  <p:clrMapOvr>
    <a:masterClrMapping/>
  </p:clrMapOvr>
  <p:transition spd="med"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6" y="1330338"/>
            <a:ext cx="3713163" cy="310197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anchor="ctr"/>
          <a:lstStyle/>
          <a:p>
            <a:pPr algn="ctr" defTabSz="456938">
              <a:defRPr/>
            </a:pPr>
            <a:endParaRPr lang="en-US">
              <a:solidFill>
                <a:srgbClr val="515150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85674" indent="-85674" algn="l" defTabSz="685346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674" indent="-85674" algn="l" defTabSz="685346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674" indent="-85674" algn="l" defTabSz="685346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674" indent="-85674" algn="l" defTabSz="685346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674" indent="-85674" algn="l" defTabSz="685346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/>
          </p:nvPr>
        </p:nvSpPr>
        <p:spPr>
          <a:xfrm>
            <a:off x="5148728" y="3552444"/>
            <a:ext cx="3506245" cy="253746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88" y="1347788"/>
            <a:ext cx="3901123" cy="3083094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28423" indent="-171327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456842" indent="-215723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Arial"/>
              <a:buChar char="•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628190" indent="-171327">
              <a:buClr>
                <a:schemeClr val="tx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799494" indent="-171327">
              <a:buClr>
                <a:schemeClr val="tx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970819" indent="-171327">
              <a:buClr>
                <a:schemeClr val="tx2"/>
              </a:buClr>
              <a:buSzPct val="80000"/>
              <a:buFont typeface="Arial"/>
              <a:buChar char="•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419163"/>
      </p:ext>
    </p:extLst>
  </p:cSld>
  <p:clrMapOvr>
    <a:masterClrMapping/>
  </p:clrMapOvr>
  <p:transition spd="med"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35898215"/>
      </p:ext>
    </p:extLst>
  </p:cSld>
  <p:clrMapOvr>
    <a:masterClrMapping/>
  </p:clrMapOvr>
  <p:transition spd="med"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376" tIns="45688" rIns="91376" bIns="45688" anchor="b" anchorCtr="0">
            <a:noAutofit/>
          </a:bodyPr>
          <a:lstStyle>
            <a:lvl1pPr marL="0" indent="0" algn="l" defTabSz="60324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2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6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502" indent="-399748" algn="l">
              <a:lnSpc>
                <a:spcPct val="90000"/>
              </a:lnSpc>
              <a:defRPr sz="4600" b="0" i="1" spc="0" baseline="0">
                <a:solidFill>
                  <a:schemeClr val="accent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7044291"/>
      </p:ext>
    </p:extLst>
  </p:cSld>
  <p:clrMapOvr>
    <a:masterClrMapping/>
  </p:clrMapOvr>
  <p:transition spd="med"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00" y="609608"/>
            <a:ext cx="0" cy="3984625"/>
          </a:xfrm>
          <a:prstGeom prst="line">
            <a:avLst/>
          </a:prstGeom>
          <a:ln w="38100" cap="flat" cmpd="sng">
            <a:solidFill>
              <a:srgbClr val="004BA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63764" y="1439073"/>
            <a:ext cx="3820348" cy="2265389"/>
          </a:xfrm>
        </p:spPr>
        <p:txBody>
          <a:bodyPr lIns="61682" tIns="34286" rIns="61682" bIns="34286" rtlCol="0">
            <a:noAutofit/>
          </a:bodyPr>
          <a:lstStyle>
            <a:lvl1pPr marL="0" indent="0" algn="l" defTabSz="685374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922521" y="654518"/>
            <a:ext cx="3865880" cy="3840480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2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52654"/>
      </p:ext>
    </p:extLst>
  </p:cSld>
  <p:clrMapOvr>
    <a:masterClrMapping/>
  </p:clrMapOvr>
  <p:transition spd="slow">
    <p:wip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90"/>
            <a:ext cx="8345488" cy="2658728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0" indent="0" algn="ctr">
              <a:buNone/>
              <a:defRPr sz="2000" baseline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9" y="4148242"/>
            <a:ext cx="7180312" cy="326233"/>
          </a:xfrm>
          <a:prstGeom prst="rect">
            <a:avLst/>
          </a:prstGeom>
        </p:spPr>
        <p:txBody>
          <a:bodyPr wrap="square" lIns="91376" tIns="45688" rIns="91376" bIns="45688" anchor="b" anchorCtr="0">
            <a:noAutofit/>
          </a:bodyPr>
          <a:lstStyle>
            <a:lvl1pPr algn="l" defTabSz="60324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2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7511468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68523" tIns="34283" rIns="68523" bIns="34283" anchor="b" anchorCtr="0">
            <a:noAutofit/>
          </a:bodyPr>
          <a:lstStyle>
            <a:lvl1pPr marL="0" indent="0" algn="l" defTabSz="603140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6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470" indent="-399678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3593837"/>
      </p:ext>
    </p:extLst>
  </p:cSld>
  <p:clrMapOvr>
    <a:masterClrMapping/>
  </p:clrMapOvr>
  <p:transition spd="med"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6"/>
            <a:ext cx="8345488" cy="2660650"/>
          </a:xfrm>
          <a:prstGeom prst="rect">
            <a:avLst/>
          </a:prstGeom>
        </p:spPr>
        <p:txBody>
          <a:bodyPr vert="horz" lIns="91376" tIns="45688" rIns="91376" bIns="45688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9" y="4148242"/>
            <a:ext cx="7180312" cy="326233"/>
          </a:xfrm>
          <a:prstGeom prst="rect">
            <a:avLst/>
          </a:prstGeom>
        </p:spPr>
        <p:txBody>
          <a:bodyPr wrap="square" lIns="91376" tIns="45688" rIns="91376" bIns="45688" anchor="b" anchorCtr="0">
            <a:noAutofit/>
          </a:bodyPr>
          <a:lstStyle>
            <a:lvl1pPr algn="l" defTabSz="60324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tx2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1316467"/>
      </p:ext>
    </p:extLst>
  </p:cSld>
  <p:clrMapOvr>
    <a:masterClrMapping/>
  </p:clrMapOvr>
  <p:transition spd="med">
    <p:fade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8" y="1349456"/>
            <a:ext cx="4007001" cy="3040773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96"/>
            <a:ext cx="4073346" cy="3039397"/>
          </a:xfrm>
          <a:prstGeom prst="rect">
            <a:avLst/>
          </a:prstGeom>
        </p:spPr>
        <p:txBody>
          <a:bodyPr vert="horz" lIns="91376" tIns="45688" rIns="91376" bIns="45688">
            <a:no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1281731"/>
      </p:ext>
    </p:extLst>
  </p:cSld>
  <p:clrMapOvr>
    <a:masterClrMapping/>
  </p:clrMapOvr>
  <p:transition spd="med">
    <p:fade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437768" y="1349354"/>
            <a:ext cx="4003995" cy="3040875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376" tIns="45688" rIns="91376" bIns="45688">
            <a:noAutofit/>
          </a:bodyPr>
          <a:lstStyle>
            <a:lvl1pPr marL="0" indent="0" algn="ctr">
              <a:buNone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9784570"/>
      </p:ext>
    </p:extLst>
  </p:cSld>
  <p:clrMapOvr>
    <a:masterClrMapping/>
  </p:clrMapOvr>
  <p:transition spd="med">
    <p:fade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/>
          <p:cNvSpPr/>
          <p:nvPr/>
        </p:nvSpPr>
        <p:spPr>
          <a:xfrm>
            <a:off x="6084910" y="1622427"/>
            <a:ext cx="2319337" cy="2317750"/>
          </a:xfrm>
          <a:prstGeom prst="ellips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45698" anchor="ctr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0" name="Oval 9"/>
          <p:cNvSpPr/>
          <p:nvPr/>
        </p:nvSpPr>
        <p:spPr>
          <a:xfrm>
            <a:off x="3422650" y="1622427"/>
            <a:ext cx="2319338" cy="2317750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45698" anchor="ctr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1" name="Oval 10"/>
          <p:cNvSpPr/>
          <p:nvPr/>
        </p:nvSpPr>
        <p:spPr>
          <a:xfrm>
            <a:off x="763610" y="1622427"/>
            <a:ext cx="2319337" cy="231775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45698" anchor="ctr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777486" y="2800164"/>
            <a:ext cx="2292136" cy="603661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3436446" y="2798217"/>
            <a:ext cx="2292136" cy="603661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6098331" y="2798217"/>
            <a:ext cx="2292136" cy="603661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 lIns="91396" tIns="45698" rIns="91396" bIns="45698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 lIns="91396" tIns="45698" rIns="91396" bIns="45698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 lIns="91396" tIns="45698" rIns="91396" bIns="45698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57002919"/>
      </p:ext>
    </p:extLst>
  </p:cSld>
  <p:clrMapOvr>
    <a:masterClrMapping/>
  </p:clrMapOvr>
  <p:transition spd="slow">
    <p:wipe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5"/>
          <p:cNvSpPr>
            <a:spLocks noChangeArrowheads="1"/>
          </p:cNvSpPr>
          <p:nvPr/>
        </p:nvSpPr>
        <p:spPr bwMode="auto">
          <a:xfrm>
            <a:off x="774702" y="1622427"/>
            <a:ext cx="2306638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44" tIns="34289" rIns="68544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913905"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FFFFFF"/>
              </a:solidFill>
            </a:endParaRPr>
          </a:p>
        </p:txBody>
      </p:sp>
      <p:sp>
        <p:nvSpPr>
          <p:cNvPr id="13" name="Oval 7"/>
          <p:cNvSpPr>
            <a:spLocks noChangeArrowheads="1"/>
          </p:cNvSpPr>
          <p:nvPr/>
        </p:nvSpPr>
        <p:spPr bwMode="auto">
          <a:xfrm>
            <a:off x="3422652" y="1622427"/>
            <a:ext cx="2306638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44" tIns="34289" rIns="68544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913905"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FFFFFF"/>
              </a:solidFill>
            </a:endParaRPr>
          </a:p>
        </p:txBody>
      </p:sp>
      <p:sp>
        <p:nvSpPr>
          <p:cNvPr id="14" name="Oval 8"/>
          <p:cNvSpPr>
            <a:spLocks noChangeArrowheads="1"/>
          </p:cNvSpPr>
          <p:nvPr/>
        </p:nvSpPr>
        <p:spPr bwMode="auto">
          <a:xfrm>
            <a:off x="6088063" y="1622427"/>
            <a:ext cx="2305050" cy="2306638"/>
          </a:xfrm>
          <a:prstGeom prst="ellipse">
            <a:avLst/>
          </a:prstGeom>
          <a:solidFill>
            <a:srgbClr val="000000">
              <a:alpha val="30196"/>
            </a:srgb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68544" tIns="34289" rIns="68544" bIns="34289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defTabSz="913905" eaLnBrk="1" fontAlgn="base" hangingPunct="1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FFFFFF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380" tIns="45690" rIns="91380" bIns="45690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380" tIns="45690" rIns="91380" bIns="45690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380" tIns="45690" rIns="91380" bIns="45690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788799" y="3873160"/>
            <a:ext cx="2292136" cy="603661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3436818" y="3871213"/>
            <a:ext cx="2292136" cy="603661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6101337" y="3871213"/>
            <a:ext cx="2292136" cy="603661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5368655"/>
      </p:ext>
    </p:extLst>
  </p:cSld>
  <p:clrMapOvr>
    <a:masterClrMapping/>
  </p:clrMapOvr>
  <p:transition spd="slow">
    <p:wipe/>
  </p:transition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Oval 11"/>
          <p:cNvSpPr/>
          <p:nvPr userDrawn="1"/>
        </p:nvSpPr>
        <p:spPr>
          <a:xfrm>
            <a:off x="575611" y="2552551"/>
            <a:ext cx="698624" cy="698624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575611" y="1426608"/>
            <a:ext cx="698624" cy="698624"/>
          </a:xfrm>
          <a:prstGeom prst="ellipse">
            <a:avLst/>
          </a:prstGeom>
          <a:noFill/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4000" dirty="0">
              <a:ln>
                <a:solidFill>
                  <a:srgbClr val="239ACC"/>
                </a:solidFill>
              </a:ln>
              <a:solidFill>
                <a:srgbClr val="049FD9"/>
              </a:solidFill>
              <a:cs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575611" y="3653095"/>
            <a:ext cx="698624" cy="698624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365250" y="1432523"/>
            <a:ext cx="5473700" cy="693381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365250" y="2557793"/>
            <a:ext cx="5473700" cy="693381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365250" y="3653093"/>
            <a:ext cx="5473700" cy="693381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11" y="1425203"/>
            <a:ext cx="698624" cy="693381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2541689"/>
            <a:ext cx="698624" cy="693381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1" y="3658337"/>
            <a:ext cx="698624" cy="693381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203887624"/>
      </p:ext>
    </p:extLst>
  </p:cSld>
  <p:clrMapOvr>
    <a:masterClrMapping/>
  </p:clrMapOvr>
  <p:transition spd="slow">
    <p:wip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575611" y="2552551"/>
            <a:ext cx="698624" cy="698624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575611" y="1426608"/>
            <a:ext cx="698624" cy="698624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4000" dirty="0">
              <a:ln>
                <a:solidFill>
                  <a:srgbClr val="239ACC"/>
                </a:solidFill>
              </a:ln>
              <a:solidFill>
                <a:srgbClr val="FFFFFF"/>
              </a:solidFill>
              <a:cs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575611" y="3653095"/>
            <a:ext cx="698624" cy="698624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049FD9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365250" y="1432523"/>
            <a:ext cx="5473700" cy="693381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365250" y="2557793"/>
            <a:ext cx="5473700" cy="693381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365250" y="3653093"/>
            <a:ext cx="5473700" cy="693381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11" y="2552552"/>
            <a:ext cx="698624" cy="693381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11" y="3651140"/>
            <a:ext cx="698624" cy="693381"/>
          </a:xfrm>
          <a:prstGeom prst="rect">
            <a:avLst/>
          </a:prstGeom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75611" y="1427249"/>
            <a:ext cx="698624" cy="693381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4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023674776"/>
      </p:ext>
    </p:extLst>
  </p:cSld>
  <p:clrMapOvr>
    <a:masterClrMapping/>
  </p:clrMapOvr>
  <p:transition spd="slow">
    <p:wip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Oval 11"/>
          <p:cNvSpPr/>
          <p:nvPr userDrawn="1"/>
        </p:nvSpPr>
        <p:spPr>
          <a:xfrm>
            <a:off x="575633" y="1979340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4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575632" y="1328948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4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575633" y="2627468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4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172384" y="1334864"/>
            <a:ext cx="5678748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172385" y="1984583"/>
            <a:ext cx="5678748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172385" y="2627468"/>
            <a:ext cx="5678748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33" y="1327543"/>
            <a:ext cx="464815" cy="461327"/>
          </a:xfrm>
          <a:prstGeom prst="rect">
            <a:avLst/>
          </a:prstGeom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33" y="1979340"/>
            <a:ext cx="464815" cy="461327"/>
          </a:xfrm>
          <a:prstGeom prst="rect">
            <a:avLst/>
          </a:prstGeom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34" y="2625498"/>
            <a:ext cx="464815" cy="461327"/>
          </a:xfrm>
          <a:prstGeom prst="rect">
            <a:avLst/>
          </a:prstGeom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3" name="Oval 12"/>
          <p:cNvSpPr/>
          <p:nvPr userDrawn="1"/>
        </p:nvSpPr>
        <p:spPr>
          <a:xfrm>
            <a:off x="575634" y="3274603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4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1172386" y="3274603"/>
            <a:ext cx="5678748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575635" y="3272650"/>
            <a:ext cx="464815" cy="461327"/>
          </a:xfrm>
          <a:prstGeom prst="rect">
            <a:avLst/>
          </a:prstGeom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575635" y="3921738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4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1172387" y="3921738"/>
            <a:ext cx="5678748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575636" y="3919785"/>
            <a:ext cx="464815" cy="461327"/>
          </a:xfrm>
          <a:prstGeom prst="rect">
            <a:avLst/>
          </a:prstGeom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540622997"/>
      </p:ext>
    </p:extLst>
  </p:cSld>
  <p:clrMapOvr>
    <a:masterClrMapping/>
  </p:clrMapOvr>
  <p:transition spd="slow">
    <p:wip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575633" y="1979340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4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575632" y="1328948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4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575633" y="2627468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4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172384" y="1334864"/>
            <a:ext cx="5678748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172385" y="1984583"/>
            <a:ext cx="5678748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172385" y="2627468"/>
            <a:ext cx="5678748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33" y="1327543"/>
            <a:ext cx="464815" cy="461327"/>
          </a:xfrm>
          <a:prstGeom prst="rect">
            <a:avLst/>
          </a:prstGeom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33" y="1979340"/>
            <a:ext cx="464815" cy="461327"/>
          </a:xfrm>
          <a:prstGeom prst="rect">
            <a:avLst/>
          </a:prstGeom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34" y="2625498"/>
            <a:ext cx="464815" cy="461327"/>
          </a:xfrm>
          <a:prstGeom prst="rect">
            <a:avLst/>
          </a:prstGeom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3" name="Oval 12"/>
          <p:cNvSpPr/>
          <p:nvPr userDrawn="1"/>
        </p:nvSpPr>
        <p:spPr>
          <a:xfrm>
            <a:off x="575634" y="3274603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4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1172386" y="3274603"/>
            <a:ext cx="5678748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575635" y="3272650"/>
            <a:ext cx="464815" cy="461327"/>
          </a:xfrm>
          <a:prstGeom prst="rect">
            <a:avLst/>
          </a:prstGeom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575635" y="3921738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4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1172387" y="3921738"/>
            <a:ext cx="5678748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20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575636" y="3919785"/>
            <a:ext cx="464815" cy="461327"/>
          </a:xfrm>
          <a:prstGeom prst="rect">
            <a:avLst/>
          </a:prstGeom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221768129"/>
      </p:ext>
    </p:extLst>
  </p:cSld>
  <p:clrMapOvr>
    <a:masterClrMapping/>
  </p:clrMapOvr>
  <p:transition spd="slow">
    <p:wip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575633" y="1979340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15" name="Oval 14"/>
          <p:cNvSpPr/>
          <p:nvPr userDrawn="1"/>
        </p:nvSpPr>
        <p:spPr>
          <a:xfrm>
            <a:off x="575632" y="1328948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22" name="Oval 21"/>
          <p:cNvSpPr/>
          <p:nvPr userDrawn="1"/>
        </p:nvSpPr>
        <p:spPr>
          <a:xfrm>
            <a:off x="575633" y="2627468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172385" y="1334864"/>
            <a:ext cx="2175886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172385" y="1984583"/>
            <a:ext cx="2175886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172385" y="2627468"/>
            <a:ext cx="2175886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33" y="1327543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33" y="1979340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2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34" y="2625498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3" name="Oval 12"/>
          <p:cNvSpPr/>
          <p:nvPr userDrawn="1"/>
        </p:nvSpPr>
        <p:spPr>
          <a:xfrm>
            <a:off x="575634" y="3274603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1172388" y="3274603"/>
            <a:ext cx="2175886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575635" y="3272650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17" name="Oval 16"/>
          <p:cNvSpPr/>
          <p:nvPr userDrawn="1"/>
        </p:nvSpPr>
        <p:spPr>
          <a:xfrm>
            <a:off x="575635" y="3921738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1172388" y="3921738"/>
            <a:ext cx="2175886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575636" y="3919785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chemeClr val="accent5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20" name="Oval 19"/>
          <p:cNvSpPr/>
          <p:nvPr userDrawn="1"/>
        </p:nvSpPr>
        <p:spPr>
          <a:xfrm>
            <a:off x="4414598" y="1983106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21" name="Oval 20"/>
          <p:cNvSpPr/>
          <p:nvPr userDrawn="1"/>
        </p:nvSpPr>
        <p:spPr>
          <a:xfrm>
            <a:off x="4414597" y="1332704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23" name="Oval 22"/>
          <p:cNvSpPr/>
          <p:nvPr userDrawn="1"/>
        </p:nvSpPr>
        <p:spPr>
          <a:xfrm>
            <a:off x="4414598" y="2631234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30" name="Text Placeholder 17"/>
          <p:cNvSpPr>
            <a:spLocks noGrp="1"/>
          </p:cNvSpPr>
          <p:nvPr>
            <p:ph type="body" sz="quarter" idx="23"/>
          </p:nvPr>
        </p:nvSpPr>
        <p:spPr>
          <a:xfrm>
            <a:off x="5011350" y="1338630"/>
            <a:ext cx="2175886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17"/>
          <p:cNvSpPr>
            <a:spLocks noGrp="1"/>
          </p:cNvSpPr>
          <p:nvPr>
            <p:ph type="body" sz="quarter" idx="24"/>
          </p:nvPr>
        </p:nvSpPr>
        <p:spPr>
          <a:xfrm>
            <a:off x="5011350" y="1988349"/>
            <a:ext cx="2175886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17"/>
          <p:cNvSpPr>
            <a:spLocks noGrp="1"/>
          </p:cNvSpPr>
          <p:nvPr>
            <p:ph type="body" sz="quarter" idx="25"/>
          </p:nvPr>
        </p:nvSpPr>
        <p:spPr>
          <a:xfrm>
            <a:off x="5011350" y="2631234"/>
            <a:ext cx="2175886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4414598" y="1331309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34" name="Text Placeholder 17"/>
          <p:cNvSpPr>
            <a:spLocks noGrp="1"/>
          </p:cNvSpPr>
          <p:nvPr>
            <p:ph type="body" sz="quarter" idx="27" hasCustomPrompt="1"/>
          </p:nvPr>
        </p:nvSpPr>
        <p:spPr>
          <a:xfrm>
            <a:off x="4414598" y="1983106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35" name="Text Placeholder 17"/>
          <p:cNvSpPr>
            <a:spLocks noGrp="1"/>
          </p:cNvSpPr>
          <p:nvPr>
            <p:ph type="body" sz="quarter" idx="28" hasCustomPrompt="1"/>
          </p:nvPr>
        </p:nvSpPr>
        <p:spPr>
          <a:xfrm>
            <a:off x="4414599" y="2629269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36" name="Oval 35"/>
          <p:cNvSpPr/>
          <p:nvPr userDrawn="1"/>
        </p:nvSpPr>
        <p:spPr>
          <a:xfrm>
            <a:off x="4414599" y="3278369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37" name="Text Placeholder 17"/>
          <p:cNvSpPr>
            <a:spLocks noGrp="1"/>
          </p:cNvSpPr>
          <p:nvPr>
            <p:ph type="body" sz="quarter" idx="29"/>
          </p:nvPr>
        </p:nvSpPr>
        <p:spPr>
          <a:xfrm>
            <a:off x="5011351" y="3278369"/>
            <a:ext cx="2175886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Text Placeholder 17"/>
          <p:cNvSpPr>
            <a:spLocks noGrp="1"/>
          </p:cNvSpPr>
          <p:nvPr>
            <p:ph type="body" sz="quarter" idx="30" hasCustomPrompt="1"/>
          </p:nvPr>
        </p:nvSpPr>
        <p:spPr>
          <a:xfrm>
            <a:off x="4414600" y="3276416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9</a:t>
            </a:r>
          </a:p>
        </p:txBody>
      </p:sp>
      <p:sp>
        <p:nvSpPr>
          <p:cNvPr id="39" name="Oval 38"/>
          <p:cNvSpPr/>
          <p:nvPr userDrawn="1"/>
        </p:nvSpPr>
        <p:spPr>
          <a:xfrm>
            <a:off x="4414600" y="3925504"/>
            <a:ext cx="464815" cy="464815"/>
          </a:xfrm>
          <a:prstGeom prst="ellipse">
            <a:avLst/>
          </a:prstGeom>
          <a:noFill/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40" name="Text Placeholder 17"/>
          <p:cNvSpPr>
            <a:spLocks noGrp="1"/>
          </p:cNvSpPr>
          <p:nvPr>
            <p:ph type="body" sz="quarter" idx="31"/>
          </p:nvPr>
        </p:nvSpPr>
        <p:spPr>
          <a:xfrm>
            <a:off x="5011353" y="3925504"/>
            <a:ext cx="2175886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17"/>
          <p:cNvSpPr>
            <a:spLocks noGrp="1"/>
          </p:cNvSpPr>
          <p:nvPr>
            <p:ph type="body" sz="quarter" idx="32" hasCustomPrompt="1"/>
          </p:nvPr>
        </p:nvSpPr>
        <p:spPr>
          <a:xfrm>
            <a:off x="4414601" y="3923551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chemeClr val="bg2"/>
                  </a:solidFill>
                </a:ln>
                <a:solidFill>
                  <a:srgbClr val="049FD9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417348342"/>
      </p:ext>
    </p:extLst>
  </p:cSld>
  <p:clrMapOvr>
    <a:masterClrMapping/>
  </p:clrMapOvr>
  <p:transition spd="slow">
    <p:wip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8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4" y="1439073"/>
            <a:ext cx="3820348" cy="2265389"/>
          </a:xfrm>
        </p:spPr>
        <p:txBody>
          <a:bodyPr lIns="46258" tIns="25715" rIns="46258" bIns="25715" rtlCol="0" anchor="ctr">
            <a:noAutofit/>
          </a:bodyPr>
          <a:lstStyle>
            <a:lvl1pPr marL="0" indent="0" algn="l" defTabSz="685255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1" y="654518"/>
            <a:ext cx="3865880" cy="3840480"/>
          </a:xfrm>
          <a:prstGeom prst="rect">
            <a:avLst/>
          </a:prstGeom>
        </p:spPr>
        <p:txBody>
          <a:bodyPr lIns="68523" tIns="34283" rIns="68523" bIns="34283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105977386"/>
      </p:ext>
    </p:extLst>
  </p:cSld>
  <p:clrMapOvr>
    <a:masterClrMapping/>
  </p:clrMapOvr>
  <p:transition spd="slow">
    <p:wip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ircled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2" name="Oval 41"/>
          <p:cNvSpPr/>
          <p:nvPr userDrawn="1"/>
        </p:nvSpPr>
        <p:spPr>
          <a:xfrm>
            <a:off x="575633" y="1979340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43" name="Oval 42"/>
          <p:cNvSpPr/>
          <p:nvPr userDrawn="1"/>
        </p:nvSpPr>
        <p:spPr>
          <a:xfrm>
            <a:off x="575632" y="1328948"/>
            <a:ext cx="464815" cy="464815"/>
          </a:xfrm>
          <a:prstGeom prst="ellipse">
            <a:avLst/>
          </a:prstGeom>
          <a:solidFill>
            <a:schemeClr val="bg2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n>
                <a:solidFill>
                  <a:srgbClr val="239ACC"/>
                </a:solidFill>
              </a:ln>
              <a:solidFill>
                <a:srgbClr val="FFFFFF"/>
              </a:solidFill>
              <a:cs typeface="Arial"/>
            </a:endParaRPr>
          </a:p>
        </p:txBody>
      </p:sp>
      <p:sp>
        <p:nvSpPr>
          <p:cNvPr id="44" name="Oval 43"/>
          <p:cNvSpPr/>
          <p:nvPr userDrawn="1"/>
        </p:nvSpPr>
        <p:spPr>
          <a:xfrm>
            <a:off x="575633" y="2627468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45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1172385" y="1334864"/>
            <a:ext cx="2175886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17"/>
          <p:cNvSpPr>
            <a:spLocks noGrp="1"/>
          </p:cNvSpPr>
          <p:nvPr>
            <p:ph type="body" sz="quarter" idx="14"/>
          </p:nvPr>
        </p:nvSpPr>
        <p:spPr>
          <a:xfrm>
            <a:off x="1172385" y="1984583"/>
            <a:ext cx="2175886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17"/>
          <p:cNvSpPr>
            <a:spLocks noGrp="1"/>
          </p:cNvSpPr>
          <p:nvPr>
            <p:ph type="body" sz="quarter" idx="15"/>
          </p:nvPr>
        </p:nvSpPr>
        <p:spPr>
          <a:xfrm>
            <a:off x="1172385" y="2627468"/>
            <a:ext cx="2175886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575633" y="1327543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49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575633" y="1979340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50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575634" y="2625498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51" name="Oval 50"/>
          <p:cNvSpPr/>
          <p:nvPr userDrawn="1"/>
        </p:nvSpPr>
        <p:spPr>
          <a:xfrm>
            <a:off x="575634" y="3274603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52" name="Text Placeholder 17"/>
          <p:cNvSpPr>
            <a:spLocks noGrp="1"/>
          </p:cNvSpPr>
          <p:nvPr>
            <p:ph type="body" sz="quarter" idx="19"/>
          </p:nvPr>
        </p:nvSpPr>
        <p:spPr>
          <a:xfrm>
            <a:off x="1172388" y="3274603"/>
            <a:ext cx="2175886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ext Placeholder 17"/>
          <p:cNvSpPr>
            <a:spLocks noGrp="1"/>
          </p:cNvSpPr>
          <p:nvPr>
            <p:ph type="body" sz="quarter" idx="20" hasCustomPrompt="1"/>
          </p:nvPr>
        </p:nvSpPr>
        <p:spPr>
          <a:xfrm>
            <a:off x="575635" y="3272650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4</a:t>
            </a:r>
          </a:p>
        </p:txBody>
      </p:sp>
      <p:sp>
        <p:nvSpPr>
          <p:cNvPr id="54" name="Oval 53"/>
          <p:cNvSpPr/>
          <p:nvPr userDrawn="1"/>
        </p:nvSpPr>
        <p:spPr>
          <a:xfrm>
            <a:off x="575635" y="3921738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55" name="Text Placeholder 17"/>
          <p:cNvSpPr>
            <a:spLocks noGrp="1"/>
          </p:cNvSpPr>
          <p:nvPr>
            <p:ph type="body" sz="quarter" idx="21"/>
          </p:nvPr>
        </p:nvSpPr>
        <p:spPr>
          <a:xfrm>
            <a:off x="1172388" y="3921738"/>
            <a:ext cx="2175886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575636" y="3919785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5</a:t>
            </a:r>
          </a:p>
        </p:txBody>
      </p:sp>
      <p:sp>
        <p:nvSpPr>
          <p:cNvPr id="57" name="Oval 56"/>
          <p:cNvSpPr/>
          <p:nvPr userDrawn="1"/>
        </p:nvSpPr>
        <p:spPr>
          <a:xfrm>
            <a:off x="4414598" y="1983106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58" name="Oval 57"/>
          <p:cNvSpPr/>
          <p:nvPr userDrawn="1"/>
        </p:nvSpPr>
        <p:spPr>
          <a:xfrm>
            <a:off x="4414597" y="1332704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59" name="Oval 58"/>
          <p:cNvSpPr/>
          <p:nvPr userDrawn="1"/>
        </p:nvSpPr>
        <p:spPr>
          <a:xfrm>
            <a:off x="4414598" y="2631234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60" name="Text Placeholder 17"/>
          <p:cNvSpPr>
            <a:spLocks noGrp="1"/>
          </p:cNvSpPr>
          <p:nvPr>
            <p:ph type="body" sz="quarter" idx="23"/>
          </p:nvPr>
        </p:nvSpPr>
        <p:spPr>
          <a:xfrm>
            <a:off x="5011350" y="1338630"/>
            <a:ext cx="2175886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17"/>
          <p:cNvSpPr>
            <a:spLocks noGrp="1"/>
          </p:cNvSpPr>
          <p:nvPr>
            <p:ph type="body" sz="quarter" idx="24"/>
          </p:nvPr>
        </p:nvSpPr>
        <p:spPr>
          <a:xfrm>
            <a:off x="5011350" y="1988349"/>
            <a:ext cx="2175886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Text Placeholder 17"/>
          <p:cNvSpPr>
            <a:spLocks noGrp="1"/>
          </p:cNvSpPr>
          <p:nvPr>
            <p:ph type="body" sz="quarter" idx="25"/>
          </p:nvPr>
        </p:nvSpPr>
        <p:spPr>
          <a:xfrm>
            <a:off x="5011350" y="2631234"/>
            <a:ext cx="2175886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17"/>
          <p:cNvSpPr>
            <a:spLocks noGrp="1"/>
          </p:cNvSpPr>
          <p:nvPr>
            <p:ph type="body" sz="quarter" idx="26" hasCustomPrompt="1"/>
          </p:nvPr>
        </p:nvSpPr>
        <p:spPr>
          <a:xfrm>
            <a:off x="4414598" y="1331309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6</a:t>
            </a:r>
          </a:p>
        </p:txBody>
      </p:sp>
      <p:sp>
        <p:nvSpPr>
          <p:cNvPr id="64" name="Text Placeholder 17"/>
          <p:cNvSpPr>
            <a:spLocks noGrp="1"/>
          </p:cNvSpPr>
          <p:nvPr>
            <p:ph type="body" sz="quarter" idx="27" hasCustomPrompt="1"/>
          </p:nvPr>
        </p:nvSpPr>
        <p:spPr>
          <a:xfrm>
            <a:off x="4414598" y="1983106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7</a:t>
            </a:r>
          </a:p>
        </p:txBody>
      </p:sp>
      <p:sp>
        <p:nvSpPr>
          <p:cNvPr id="65" name="Text Placeholder 17"/>
          <p:cNvSpPr>
            <a:spLocks noGrp="1"/>
          </p:cNvSpPr>
          <p:nvPr>
            <p:ph type="body" sz="quarter" idx="28" hasCustomPrompt="1"/>
          </p:nvPr>
        </p:nvSpPr>
        <p:spPr>
          <a:xfrm>
            <a:off x="4414599" y="2629269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8</a:t>
            </a:r>
          </a:p>
        </p:txBody>
      </p:sp>
      <p:sp>
        <p:nvSpPr>
          <p:cNvPr id="66" name="Oval 65"/>
          <p:cNvSpPr/>
          <p:nvPr userDrawn="1"/>
        </p:nvSpPr>
        <p:spPr>
          <a:xfrm>
            <a:off x="4414599" y="3278369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67" name="Text Placeholder 17"/>
          <p:cNvSpPr>
            <a:spLocks noGrp="1"/>
          </p:cNvSpPr>
          <p:nvPr>
            <p:ph type="body" sz="quarter" idx="29"/>
          </p:nvPr>
        </p:nvSpPr>
        <p:spPr>
          <a:xfrm>
            <a:off x="5011351" y="3278369"/>
            <a:ext cx="2175886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8" name="Text Placeholder 17"/>
          <p:cNvSpPr>
            <a:spLocks noGrp="1"/>
          </p:cNvSpPr>
          <p:nvPr>
            <p:ph type="body" sz="quarter" idx="30" hasCustomPrompt="1"/>
          </p:nvPr>
        </p:nvSpPr>
        <p:spPr>
          <a:xfrm>
            <a:off x="4414600" y="3276416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9</a:t>
            </a:r>
          </a:p>
        </p:txBody>
      </p:sp>
      <p:sp>
        <p:nvSpPr>
          <p:cNvPr id="69" name="Oval 68"/>
          <p:cNvSpPr/>
          <p:nvPr userDrawn="1"/>
        </p:nvSpPr>
        <p:spPr>
          <a:xfrm>
            <a:off x="4414600" y="3925504"/>
            <a:ext cx="464815" cy="464815"/>
          </a:xfrm>
          <a:prstGeom prst="ellipse">
            <a:avLst/>
          </a:prstGeom>
          <a:solidFill>
            <a:srgbClr val="049FD9"/>
          </a:solidFill>
          <a:ln w="19050">
            <a:solidFill>
              <a:srgbClr val="049FD9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91396" rtlCol="0" anchor="ctr" anchorCtr="0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ln>
                <a:solidFill>
                  <a:srgbClr val="239ACC"/>
                </a:solidFill>
              </a:ln>
              <a:solidFill>
                <a:srgbClr val="239ACC"/>
              </a:solidFill>
              <a:cs typeface="Arial"/>
            </a:endParaRPr>
          </a:p>
        </p:txBody>
      </p:sp>
      <p:sp>
        <p:nvSpPr>
          <p:cNvPr id="70" name="Text Placeholder 17"/>
          <p:cNvSpPr>
            <a:spLocks noGrp="1"/>
          </p:cNvSpPr>
          <p:nvPr>
            <p:ph type="body" sz="quarter" idx="31"/>
          </p:nvPr>
        </p:nvSpPr>
        <p:spPr>
          <a:xfrm>
            <a:off x="5011353" y="3925504"/>
            <a:ext cx="2175886" cy="461327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l">
              <a:buNone/>
              <a:defRPr sz="1800" b="0" i="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1" name="Text Placeholder 17"/>
          <p:cNvSpPr>
            <a:spLocks noGrp="1"/>
          </p:cNvSpPr>
          <p:nvPr>
            <p:ph type="body" sz="quarter" idx="32" hasCustomPrompt="1"/>
          </p:nvPr>
        </p:nvSpPr>
        <p:spPr>
          <a:xfrm>
            <a:off x="4414601" y="3923551"/>
            <a:ext cx="464815" cy="461327"/>
          </a:xfrm>
          <a:prstGeom prst="rect">
            <a:avLst/>
          </a:prstGeom>
          <a:noFill/>
          <a:ln>
            <a:noFill/>
          </a:ln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ln>
                  <a:solidFill>
                    <a:srgbClr val="FFFFFF"/>
                  </a:solidFill>
                </a:ln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US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078900801"/>
      </p:ext>
    </p:extLst>
  </p:cSld>
  <p:clrMapOvr>
    <a:masterClrMapping/>
  </p:clrMapOvr>
  <p:transition spd="slow">
    <p:wip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5" y="4629172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376" tIns="45688" rIns="91376" bIns="45688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4" y="3476669"/>
            <a:ext cx="8139112" cy="520655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7934" tIns="0" rIns="91396" bIns="45698" numCol="1" anchor="ctr" anchorCtr="0" compatLnSpc="1">
            <a:prstTxWarp prst="textNoShape">
              <a:avLst/>
            </a:prstTxWarp>
            <a:spAutoFit/>
          </a:bodyPr>
          <a:lstStyle>
            <a:lvl1pPr marL="172712" indent="0">
              <a:lnSpc>
                <a:spcPts val="3680"/>
              </a:lnSpc>
              <a:spcBef>
                <a:spcPts val="0"/>
              </a:spcBef>
              <a:buNone/>
              <a:defRPr sz="2400" i="1">
                <a:solidFill>
                  <a:srgbClr val="58585B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9416044"/>
      </p:ext>
    </p:extLst>
  </p:cSld>
  <p:clrMapOvr>
    <a:masterClrMapping/>
  </p:clrMapOvr>
  <p:transition spd="med"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4" y="301059"/>
            <a:ext cx="8563172" cy="2542175"/>
          </a:xfrm>
          <a:prstGeom prst="rect">
            <a:avLst/>
          </a:prstGeom>
        </p:spPr>
        <p:txBody>
          <a:bodyPr vert="horz" lIns="91376" tIns="45688" rIns="91376" bIns="45688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6" y="3054540"/>
            <a:ext cx="8364236" cy="564257"/>
          </a:xfrm>
          <a:prstGeom prst="rect">
            <a:avLst/>
          </a:prstGeom>
        </p:spPr>
        <p:txBody>
          <a:bodyPr vert="horz" wrap="square" lIns="91396" tIns="45698" rIns="91396" bIns="45698">
            <a:spAutoFit/>
          </a:bodyPr>
          <a:lstStyle>
            <a:lvl1pPr marL="0" indent="0">
              <a:buNone/>
              <a:defRPr sz="3200" baseline="0">
                <a:solidFill>
                  <a:srgbClr val="58585B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5281286"/>
      </p:ext>
    </p:extLst>
  </p:cSld>
  <p:clrMapOvr>
    <a:masterClrMapping/>
  </p:clrMapOvr>
  <p:transition spd="med"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5" y="4629172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376" tIns="45688" rIns="91376" bIns="45688"/>
          <a:lstStyle>
            <a:lvl1pPr marL="0" indent="0" algn="ctr">
              <a:buNone/>
              <a:defRPr sz="2200" baseline="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59555474"/>
      </p:ext>
    </p:extLst>
  </p:cSld>
  <p:clrMapOvr>
    <a:masterClrMapping/>
  </p:clrMapOvr>
  <p:transition spd="med"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292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76638" y="1646240"/>
            <a:ext cx="19907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5064517"/>
      </p:ext>
    </p:extLst>
  </p:cSld>
  <p:clrMapOvr>
    <a:masterClrMapping/>
  </p:clrMapOvr>
  <p:transition spd="slow">
    <p:wip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518" y="3793220"/>
            <a:ext cx="8296421" cy="288131"/>
          </a:xfrm>
          <a:prstGeom prst="rect">
            <a:avLst/>
          </a:prstGeom>
        </p:spPr>
        <p:txBody>
          <a:bodyPr lIns="91376" tIns="45688" rIns="91376" bIns="45688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3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3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518" y="4033217"/>
            <a:ext cx="8296421" cy="288131"/>
          </a:xfrm>
          <a:prstGeom prst="rect">
            <a:avLst/>
          </a:prstGeom>
        </p:spPr>
        <p:txBody>
          <a:bodyPr lIns="91376" tIns="45688" rIns="91376" bIns="45688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518" y="4273214"/>
            <a:ext cx="8296421" cy="288131"/>
          </a:xfrm>
          <a:prstGeom prst="rect">
            <a:avLst/>
          </a:prstGeom>
        </p:spPr>
        <p:txBody>
          <a:bodyPr lIns="91376" tIns="45688" rIns="91376" bIns="45688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314" y="3211463"/>
            <a:ext cx="8302625" cy="299001"/>
          </a:xfrm>
          <a:prstGeom prst="rect">
            <a:avLst/>
          </a:prstGeom>
        </p:spPr>
        <p:txBody>
          <a:bodyPr lIns="91376" tIns="45688" rIns="91376" bIns="45688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616" indent="0">
              <a:buNone/>
              <a:defRPr/>
            </a:lvl2pPr>
            <a:lvl3pPr marL="427170" indent="0">
              <a:buNone/>
              <a:defRPr/>
            </a:lvl3pPr>
            <a:lvl4pPr marL="516408" indent="0">
              <a:buNone/>
              <a:defRPr/>
            </a:lvl4pPr>
            <a:lvl5pPr marL="60089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7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064663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41" tIns="34286" rIns="68541" bIns="34286" anchor="ctr"/>
          <a:lstStyle/>
          <a:p>
            <a:pPr defTabSz="45693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41" tIns="34286" rIns="68541" bIns="34286" anchor="ctr"/>
          <a:lstStyle/>
          <a:p>
            <a:pPr defTabSz="45693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37" y="3209572"/>
            <a:ext cx="4684867" cy="288131"/>
          </a:xfrm>
          <a:prstGeom prst="rect">
            <a:avLst/>
          </a:prstGeom>
        </p:spPr>
        <p:txBody>
          <a:bodyPr vert="horz" lIns="68541" tIns="34286" rIns="68541" bIns="34286" rtlCol="0">
            <a:noAutofit/>
          </a:bodyPr>
          <a:lstStyle>
            <a:lvl1pPr marL="0" indent="0" algn="l" defTabSz="685374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426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3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7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4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47" y="2462028"/>
            <a:ext cx="4712557" cy="766763"/>
          </a:xfrm>
        </p:spPr>
        <p:txBody>
          <a:bodyPr lIns="61682" tIns="34286" rIns="61682" bIns="34286" rtlCol="0" anchor="b">
            <a:noAutofit/>
          </a:bodyPr>
          <a:lstStyle>
            <a:lvl1pPr marL="0" indent="0" algn="l" defTabSz="685374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376" tIns="45688" rIns="91376" bIns="45688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11592642"/>
      </p:ext>
    </p:extLst>
  </p:cSld>
  <p:clrMapOvr>
    <a:masterClrMapping/>
  </p:clrMapOvr>
  <p:transition spd="slow">
    <p:wip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8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53" tIns="30791" rIns="61553" bIns="30791" anchor="b">
            <a:spAutoFit/>
          </a:bodyPr>
          <a:lstStyle/>
          <a:p>
            <a:pPr algn="r" defTabSz="610414"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cs typeface="CiscoSans Thin"/>
              </a:rPr>
              <a:pPr algn="r" defTabSz="61041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53" tIns="30791" rIns="61553" bIns="30791" anchor="b">
            <a:spAutoFit/>
          </a:bodyPr>
          <a:lstStyle/>
          <a:p>
            <a:pPr defTabSz="61041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2014  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4964746"/>
      </p:ext>
    </p:extLst>
  </p:cSld>
  <p:clrMapOvr>
    <a:masterClrMapping/>
  </p:clrMapOvr>
  <p:transition spd="med"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38" tIns="34286" rIns="68538" bIns="34286" anchor="ctr"/>
          <a:lstStyle/>
          <a:p>
            <a:pPr defTabSz="45693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38" tIns="34286" rIns="68538" bIns="34286" anchor="ctr"/>
          <a:lstStyle/>
          <a:p>
            <a:pPr defTabSz="456938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996105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">
    <p:bg>
      <p:bgPr>
        <a:gradFill rotWithShape="1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76638" y="1646240"/>
            <a:ext cx="19907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50000005"/>
      </p:ext>
    </p:extLst>
  </p:cSld>
  <p:clrMapOvr>
    <a:masterClrMapping/>
  </p:clrMapOvr>
  <p:transition spd="slow">
    <p:wip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90"/>
            <a:ext cx="8345488" cy="2658728"/>
          </a:xfrm>
          <a:prstGeom prst="rect">
            <a:avLst/>
          </a:prstGeom>
        </p:spPr>
        <p:txBody>
          <a:bodyPr lIns="68523" tIns="34283" rIns="68523" bIns="34283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9" y="4148249"/>
            <a:ext cx="7180312" cy="326233"/>
          </a:xfrm>
          <a:prstGeom prst="rect">
            <a:avLst/>
          </a:prstGeom>
        </p:spPr>
        <p:txBody>
          <a:bodyPr wrap="square" lIns="68523" tIns="34283" rIns="68523" bIns="34283" anchor="b" anchorCtr="0">
            <a:noAutofit/>
          </a:bodyPr>
          <a:lstStyle>
            <a:lvl1pPr algn="l" defTabSz="60314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6" tIns="34283" rIns="68526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09820"/>
      </p:ext>
    </p:extLst>
  </p:cSld>
  <p:clrMapOvr>
    <a:masterClrMapping/>
  </p:clrMapOvr>
  <p:transition spd="med"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4662" y="1347790"/>
            <a:ext cx="8280057" cy="3073946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85536" marR="0" indent="-285536" algn="ctr" defTabSz="4568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0" tIns="45690" rIns="91380" bIns="4569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1475501"/>
      </p:ext>
    </p:extLst>
  </p:cSld>
  <p:clrMapOvr>
    <a:masterClrMapping/>
  </p:clrMapOvr>
  <p:transition spd="med"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80774" indent="-223661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629" indent="-21572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161" indent="-17132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539" indent="-171327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1856" indent="-168152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0" tIns="45690" rIns="91380" bIns="4569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9546998"/>
      </p:ext>
    </p:extLst>
  </p:cSld>
  <p:clrMapOvr>
    <a:masterClrMapping/>
  </p:clrMapOvr>
  <p:transition spd="med"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57103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1886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581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223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3715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0" tIns="45690" rIns="91380" bIns="4569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8382280"/>
      </p:ext>
    </p:extLst>
  </p:cSld>
  <p:clrMapOvr>
    <a:masterClrMapping/>
  </p:clrMapOvr>
  <p:transition spd="med"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9682" y="895601"/>
            <a:ext cx="8398739" cy="3168210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57103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1886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581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223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3715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779288782"/>
      </p:ext>
    </p:extLst>
  </p:cSld>
  <p:clrMapOvr>
    <a:masterClrMapping/>
  </p:clrMapOvr>
  <p:transition spd="med"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12290" indent="-392201">
              <a:lnSpc>
                <a:spcPts val="444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629" indent="-21572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161" indent="-17132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539" indent="-171327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1856" indent="-168152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392520756"/>
      </p:ext>
    </p:extLst>
  </p:cSld>
  <p:clrMapOvr>
    <a:masterClrMapping/>
  </p:clrMapOvr>
  <p:transition spd="med"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80774" indent="-223661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629" indent="-21572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161" indent="-17132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539" indent="-171327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1856" indent="-168152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0" tIns="45690" rIns="91380" bIns="4569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8644356"/>
      </p:ext>
    </p:extLst>
  </p:cSld>
  <p:clrMapOvr>
    <a:masterClrMapping/>
  </p:clrMapOvr>
  <p:transition spd="med"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88" y="1347788"/>
            <a:ext cx="3901123" cy="3083094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28423" indent="-171327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842" indent="-21572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190" indent="-17132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494" indent="-171327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819" indent="-171327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28423" indent="-171327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842" indent="-21572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190" indent="-17132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494" indent="-171327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819" indent="-171327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0" tIns="45690" rIns="91380" bIns="4569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7503269"/>
      </p:ext>
    </p:extLst>
  </p:cSld>
  <p:clrMapOvr>
    <a:masterClrMapping/>
  </p:clrMapOvr>
  <p:transition spd="med"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970" y="609608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930" y="302527"/>
            <a:ext cx="3715995" cy="826447"/>
          </a:xfrm>
          <a:prstGeom prst="rect">
            <a:avLst/>
          </a:prstGeom>
        </p:spPr>
        <p:txBody>
          <a:bodyPr lIns="61679" tIns="34286" rIns="61679" bIns="34286" rtlCol="0">
            <a:noAutofit/>
          </a:bodyPr>
          <a:lstStyle>
            <a:lvl1pPr algn="l" defTabSz="685346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905965" y="302506"/>
            <a:ext cx="3715995" cy="826446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marR="0" indent="0" algn="l" defTabSz="685346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930" y="1347788"/>
            <a:ext cx="3715995" cy="3083094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28423" indent="-171327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842" indent="-21572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190" indent="-17132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494" indent="-171327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819" indent="-171327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905965" y="1347788"/>
            <a:ext cx="3715995" cy="3083094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28423" indent="-171327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842" indent="-21572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190" indent="-17132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494" indent="-171327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819" indent="-171327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965900"/>
      </p:ext>
    </p:extLst>
  </p:cSld>
  <p:clrMapOvr>
    <a:masterClrMapping/>
  </p:clrMapOvr>
  <p:transition spd="med">
    <p:fade/>
  </p:transition>
  <p:hf hdr="0" ftr="0" dt="0"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8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8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1985" y="228340"/>
            <a:ext cx="2337109" cy="770461"/>
          </a:xfrm>
          <a:prstGeom prst="rect">
            <a:avLst/>
          </a:prstGeom>
        </p:spPr>
        <p:txBody>
          <a:bodyPr lIns="91376" tIns="45688" rIns="91376" bIns="45688" anchor="b" anchorCtr="0">
            <a:noAutofit/>
          </a:bodyPr>
          <a:lstStyle>
            <a:lvl1pPr marL="0" marR="0" indent="0" algn="l" defTabSz="685346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77750" y="227860"/>
            <a:ext cx="2337109" cy="770461"/>
          </a:xfrm>
          <a:prstGeom prst="rect">
            <a:avLst/>
          </a:prstGeom>
        </p:spPr>
        <p:txBody>
          <a:bodyPr lIns="91376" tIns="45688" rIns="91376" bIns="45688" anchor="b" anchorCtr="0">
            <a:noAutofit/>
          </a:bodyPr>
          <a:lstStyle>
            <a:lvl1pPr marL="0" marR="0" indent="0" algn="l" defTabSz="685346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354835" y="220500"/>
            <a:ext cx="2337109" cy="770461"/>
          </a:xfrm>
          <a:prstGeom prst="rect">
            <a:avLst/>
          </a:prstGeom>
        </p:spPr>
        <p:txBody>
          <a:bodyPr lIns="91376" tIns="45688" rIns="91376" bIns="45688" anchor="b" anchorCtr="0">
            <a:noAutofit/>
          </a:bodyPr>
          <a:lstStyle>
            <a:lvl1pPr marL="0" marR="0" indent="0" algn="l" defTabSz="685346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1965" y="1201094"/>
            <a:ext cx="2337110" cy="3314904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33184" indent="-171327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679" indent="-171327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33184" indent="-171327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679" indent="-171327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54814" y="1200321"/>
            <a:ext cx="2337110" cy="3314904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33184" indent="-171327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679" indent="-171327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72732863"/>
      </p:ext>
    </p:extLst>
  </p:cSld>
  <p:clrMapOvr>
    <a:masterClrMapping/>
  </p:clrMapOvr>
  <p:transition spd="med"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6" y="1330326"/>
            <a:ext cx="3712779" cy="31019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6" tIns="45688" rIns="91376" bIns="45688" anchor="ctr"/>
          <a:lstStyle/>
          <a:p>
            <a:pPr algn="ctr" defTabSz="456938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85674" indent="-85674" algn="l" defTabSz="685346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674" indent="-85674" algn="l" defTabSz="685346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674" indent="-85674" algn="l" defTabSz="685346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674" indent="-85674" algn="l" defTabSz="685346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674" indent="-85674" algn="l" defTabSz="685346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148728" y="3552444"/>
            <a:ext cx="3506245" cy="253746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88" y="1347788"/>
            <a:ext cx="3901123" cy="3083094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28423" indent="-171327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842" indent="-21572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190" indent="-17132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494" indent="-171327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819" indent="-171327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0" tIns="45690" rIns="91380" bIns="4569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7622138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6"/>
            <a:ext cx="8345488" cy="2660650"/>
          </a:xfrm>
          <a:prstGeom prst="rect">
            <a:avLst/>
          </a:prstGeom>
        </p:spPr>
        <p:txBody>
          <a:bodyPr vert="horz" lIns="68523" tIns="34283" rIns="68523" bIns="34283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9" y="4148249"/>
            <a:ext cx="7180312" cy="326233"/>
          </a:xfrm>
          <a:prstGeom prst="rect">
            <a:avLst/>
          </a:prstGeom>
        </p:spPr>
        <p:txBody>
          <a:bodyPr wrap="square" lIns="68523" tIns="34283" rIns="68523" bIns="34283" anchor="b" anchorCtr="0">
            <a:noAutofit/>
          </a:bodyPr>
          <a:lstStyle>
            <a:lvl1pPr algn="l" defTabSz="60314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6" tIns="34283" rIns="68526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9000861"/>
      </p:ext>
    </p:extLst>
  </p:cSld>
  <p:clrMapOvr>
    <a:masterClrMapping/>
  </p:clrMapOvr>
  <p:transition spd="med"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0" tIns="45690" rIns="91380" bIns="4569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4037972"/>
      </p:ext>
    </p:extLst>
  </p:cSld>
  <p:clrMapOvr>
    <a:masterClrMapping/>
  </p:clrMapOvr>
  <p:transition spd="med"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376" tIns="45688" rIns="91376" bIns="45688" anchor="b" anchorCtr="0">
            <a:noAutofit/>
          </a:bodyPr>
          <a:lstStyle>
            <a:lvl1pPr marL="0" indent="0" algn="l" defTabSz="60324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6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502" indent="-399748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617066"/>
      </p:ext>
    </p:extLst>
  </p:cSld>
  <p:clrMapOvr>
    <a:masterClrMapping/>
  </p:clrMapOvr>
  <p:transition spd="med"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8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4" y="1439073"/>
            <a:ext cx="3820348" cy="2265389"/>
          </a:xfrm>
        </p:spPr>
        <p:txBody>
          <a:bodyPr lIns="61682" tIns="34286" rIns="61682" bIns="34286" rtlCol="0" anchor="ctr">
            <a:noAutofit/>
          </a:bodyPr>
          <a:lstStyle>
            <a:lvl1pPr marL="0" indent="0" algn="l" defTabSz="685374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1" y="654518"/>
            <a:ext cx="3865880" cy="3840480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937512566"/>
      </p:ext>
    </p:extLst>
  </p:cSld>
  <p:clrMapOvr>
    <a:masterClrMapping/>
  </p:clrMapOvr>
  <p:transition spd="slow">
    <p:wip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90"/>
            <a:ext cx="8345488" cy="2658728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9" y="4148242"/>
            <a:ext cx="7180312" cy="326233"/>
          </a:xfrm>
          <a:prstGeom prst="rect">
            <a:avLst/>
          </a:prstGeom>
        </p:spPr>
        <p:txBody>
          <a:bodyPr wrap="square" lIns="91376" tIns="45688" rIns="91376" bIns="45688" anchor="b" anchorCtr="0">
            <a:noAutofit/>
          </a:bodyPr>
          <a:lstStyle>
            <a:lvl1pPr algn="l" defTabSz="60324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0" tIns="45690" rIns="91380" bIns="4569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4805884"/>
      </p:ext>
    </p:extLst>
  </p:cSld>
  <p:clrMapOvr>
    <a:masterClrMapping/>
  </p:clrMapOvr>
  <p:transition spd="med"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6"/>
            <a:ext cx="8345488" cy="2660650"/>
          </a:xfrm>
          <a:prstGeom prst="rect">
            <a:avLst/>
          </a:prstGeom>
        </p:spPr>
        <p:txBody>
          <a:bodyPr vert="horz" lIns="91376" tIns="45688" rIns="91376" bIns="45688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9" y="4148242"/>
            <a:ext cx="7180312" cy="326233"/>
          </a:xfrm>
          <a:prstGeom prst="rect">
            <a:avLst/>
          </a:prstGeom>
        </p:spPr>
        <p:txBody>
          <a:bodyPr wrap="square" lIns="91376" tIns="45688" rIns="91376" bIns="45688" anchor="b" anchorCtr="0">
            <a:noAutofit/>
          </a:bodyPr>
          <a:lstStyle>
            <a:lvl1pPr algn="l" defTabSz="60324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0" tIns="45690" rIns="91380" bIns="4569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0429411"/>
      </p:ext>
    </p:extLst>
  </p:cSld>
  <p:clrMapOvr>
    <a:masterClrMapping/>
  </p:clrMapOvr>
  <p:transition spd="med"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8" y="1349456"/>
            <a:ext cx="4007001" cy="3040773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96"/>
            <a:ext cx="4073346" cy="3039397"/>
          </a:xfrm>
          <a:prstGeom prst="rect">
            <a:avLst/>
          </a:prstGeom>
        </p:spPr>
        <p:txBody>
          <a:bodyPr vert="horz" lIns="91376" tIns="45688" rIns="91376" bIns="45688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0" tIns="45690" rIns="91380" bIns="4569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7221107"/>
      </p:ext>
    </p:extLst>
  </p:cSld>
  <p:clrMapOvr>
    <a:masterClrMapping/>
  </p:clrMapOvr>
  <p:transition spd="med"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8" y="1349354"/>
            <a:ext cx="4003995" cy="3040875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376" tIns="45688" rIns="91376" bIns="45688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0" tIns="45690" rIns="91380" bIns="4569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1649334"/>
      </p:ext>
    </p:extLst>
  </p:cSld>
  <p:clrMapOvr>
    <a:masterClrMapping/>
  </p:clrMapOvr>
  <p:transition spd="med"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 userDrawn="1"/>
        </p:nvSpPr>
        <p:spPr>
          <a:xfrm>
            <a:off x="6085117" y="1622395"/>
            <a:ext cx="2318564" cy="2318564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45698" rtlCol="0" anchor="ctr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Oval 3"/>
          <p:cNvSpPr/>
          <p:nvPr userDrawn="1"/>
        </p:nvSpPr>
        <p:spPr>
          <a:xfrm>
            <a:off x="3423232" y="1622395"/>
            <a:ext cx="2318564" cy="2318564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45698" rtlCol="0" anchor="ctr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764272" y="1622395"/>
            <a:ext cx="2318564" cy="2318564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45698" rtlCol="0" anchor="ctr"/>
          <a:lstStyle/>
          <a:p>
            <a:pPr algn="ctr" defTabSz="456938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777486" y="2800164"/>
            <a:ext cx="2292136" cy="603661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436446" y="2798217"/>
            <a:ext cx="2292136" cy="603661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098331" y="2798217"/>
            <a:ext cx="2292136" cy="603661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 lIns="91396" tIns="45698" rIns="91396" bIns="45698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 lIns="91396" tIns="45698" rIns="91396" bIns="45698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 lIns="91396" tIns="45698" rIns="91396" bIns="45698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8150836"/>
      </p:ext>
    </p:extLst>
  </p:cSld>
  <p:clrMapOvr>
    <a:masterClrMapping/>
  </p:clrMapOvr>
  <p:transition spd="slow">
    <p:wip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 userDrawn="1"/>
        </p:nvSpPr>
        <p:spPr>
          <a:xfrm>
            <a:off x="774843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44" tIns="34289" rIns="68544" bIns="34289" anchor="ctr"/>
          <a:lstStyle/>
          <a:p>
            <a:pPr algn="ctr" defTabSz="913905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44" name="Oval 43"/>
          <p:cNvSpPr/>
          <p:nvPr userDrawn="1"/>
        </p:nvSpPr>
        <p:spPr>
          <a:xfrm>
            <a:off x="3422849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44" tIns="34289" rIns="68544" bIns="34289" anchor="ctr"/>
          <a:lstStyle/>
          <a:p>
            <a:pPr algn="ctr" defTabSz="913905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45" name="Oval 44"/>
          <p:cNvSpPr/>
          <p:nvPr userDrawn="1"/>
        </p:nvSpPr>
        <p:spPr>
          <a:xfrm>
            <a:off x="6087381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44" tIns="34289" rIns="68544" bIns="34289" anchor="ctr"/>
          <a:lstStyle/>
          <a:p>
            <a:pPr algn="ctr" defTabSz="913905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0" tIns="45690" rIns="91380" bIns="4569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380" tIns="45690" rIns="91380" bIns="45690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380" tIns="45690" rIns="91380" bIns="45690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380" tIns="45690" rIns="91380" bIns="45690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788799" y="3873160"/>
            <a:ext cx="2292136" cy="603661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436818" y="3871213"/>
            <a:ext cx="2292136" cy="603661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101337" y="3871213"/>
            <a:ext cx="2292136" cy="603661"/>
          </a:xfrm>
          <a:prstGeom prst="rect">
            <a:avLst/>
          </a:prstGeom>
        </p:spPr>
        <p:txBody>
          <a:bodyPr lIns="91376" tIns="45688" rIns="91376" bIns="45688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850849965"/>
      </p:ext>
    </p:extLst>
  </p:cSld>
  <p:clrMapOvr>
    <a:masterClrMapping/>
  </p:clrMapOvr>
  <p:transition spd="slow">
    <p:wip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5" y="4629172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376" tIns="45688" rIns="91376" bIns="45688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00064" y="3478252"/>
            <a:ext cx="8139112" cy="517448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7934" tIns="0" rIns="91396" bIns="45698" numCol="1" anchor="ctr" anchorCtr="0" compatLnSpc="1">
            <a:prstTxWarp prst="textNoShape">
              <a:avLst/>
            </a:prstTxWarp>
            <a:spAutoFit/>
          </a:bodyPr>
          <a:lstStyle>
            <a:lvl1pPr marL="172712" indent="0">
              <a:lnSpc>
                <a:spcPts val="3680"/>
              </a:lnSpc>
              <a:spcBef>
                <a:spcPts val="0"/>
              </a:spcBef>
              <a:buNone/>
              <a:defRPr sz="24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607604407"/>
      </p:ext>
    </p:extLst>
  </p:cSld>
  <p:clrMapOvr>
    <a:masterClrMapping/>
  </p:clrMapOvr>
  <p:transition spd="slow">
    <p:wip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8" y="1349456"/>
            <a:ext cx="4007001" cy="3040773"/>
          </a:xfrm>
          <a:prstGeom prst="rect">
            <a:avLst/>
          </a:prstGeom>
        </p:spPr>
        <p:txBody>
          <a:bodyPr lIns="68523" tIns="34283" rIns="68523" bIns="34283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99"/>
            <a:ext cx="4073346" cy="3039397"/>
          </a:xfrm>
          <a:prstGeom prst="rect">
            <a:avLst/>
          </a:prstGeom>
        </p:spPr>
        <p:txBody>
          <a:bodyPr vert="horz" lIns="68523" tIns="34283" rIns="68523" bIns="34283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6" tIns="34283" rIns="68526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3728972"/>
      </p:ext>
    </p:extLst>
  </p:cSld>
  <p:clrMapOvr>
    <a:masterClrMapping/>
  </p:clrMapOvr>
  <p:transition spd="med"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4" y="301059"/>
            <a:ext cx="8563172" cy="2542175"/>
          </a:xfrm>
          <a:prstGeom prst="rect">
            <a:avLst/>
          </a:prstGeom>
        </p:spPr>
        <p:txBody>
          <a:bodyPr vert="horz" lIns="91376" tIns="45688" rIns="91376" bIns="45688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6" y="3054540"/>
            <a:ext cx="8364236" cy="564257"/>
          </a:xfrm>
          <a:prstGeom prst="rect">
            <a:avLst/>
          </a:prstGeom>
        </p:spPr>
        <p:txBody>
          <a:bodyPr vert="horz" wrap="square" lIns="91396" tIns="45698" rIns="91396" bIns="45698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57710322"/>
      </p:ext>
    </p:extLst>
  </p:cSld>
  <p:clrMapOvr>
    <a:masterClrMapping/>
  </p:clrMapOvr>
  <p:transition spd="slow">
    <p:wip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5" y="4629172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376" tIns="45688" rIns="91376" bIns="45688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6382238"/>
      </p:ext>
    </p:extLst>
  </p:cSld>
  <p:clrMapOvr>
    <a:masterClrMapping/>
  </p:clrMapOvr>
  <p:transition spd="slow">
    <p:wip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3"/>
            <a:ext cx="8480388" cy="4266646"/>
          </a:xfrm>
          <a:prstGeom prst="rect">
            <a:avLst/>
          </a:prstGeom>
        </p:spPr>
        <p:txBody>
          <a:bodyPr vert="horz" lIns="91380" tIns="45690" rIns="91380" bIns="45690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46103989"/>
      </p:ext>
    </p:extLst>
  </p:cSld>
  <p:clrMapOvr>
    <a:masterClrMapping/>
  </p:clrMapOvr>
  <p:transition spd="slow">
    <p:wip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2" y="596901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4" tIns="34289" rIns="68544" bIns="34289" anchor="ctr"/>
          <a:lstStyle/>
          <a:p>
            <a:pPr algn="ctr" defTabSz="456938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1" y="3595689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4" tIns="34289" rIns="68544" bIns="34289" anchor="ctr"/>
          <a:lstStyle/>
          <a:p>
            <a:pPr algn="ctr" defTabSz="456938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40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380" tIns="45690" rIns="91380" bIns="45690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065873" y="3655079"/>
            <a:ext cx="5074070" cy="628650"/>
          </a:xfrm>
        </p:spPr>
        <p:txBody>
          <a:bodyPr anchor="ctr"/>
          <a:lstStyle>
            <a:lvl1pPr>
              <a:defRPr sz="2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7306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822" y="233385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4" tIns="34289" rIns="68544" bIns="34289" anchor="ctr"/>
          <a:lstStyle/>
          <a:p>
            <a:pPr algn="ctr" defTabSz="456938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44" tIns="34289" rIns="68544" bIns="34289" rtlCol="0" anchor="ctr" anchorCtr="0">
            <a:normAutofit/>
          </a:bodyPr>
          <a:lstStyle>
            <a:lvl1pPr marL="0" indent="0" algn="ctr" defTabSz="685403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0957" y="2480715"/>
            <a:ext cx="6729865" cy="1614419"/>
          </a:xfrm>
        </p:spPr>
        <p:txBody>
          <a:bodyPr>
            <a:noAutofit/>
          </a:bodyPr>
          <a:lstStyle>
            <a:lvl1pPr marL="0" marR="0" indent="0" algn="l" defTabSz="6854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993475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609"/>
            <a:ext cx="3630612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4" tIns="34289" rIns="68544" bIns="34289" anchor="ctr"/>
          <a:lstStyle/>
          <a:p>
            <a:pPr algn="ctr" defTabSz="456938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5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380" tIns="45690" rIns="91380" bIns="45690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7670" y="546756"/>
            <a:ext cx="4349918" cy="813985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92162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85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1" tIns="34286" rIns="68541" bIns="34286" anchor="ctr"/>
          <a:lstStyle/>
          <a:p>
            <a:pPr algn="ctr" defTabSz="456938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85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1" tIns="34286" rIns="68541" bIns="34286" anchor="ctr"/>
          <a:lstStyle/>
          <a:p>
            <a:pPr algn="ctr" defTabSz="456938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40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1" tIns="34286" rIns="68541" bIns="34286" anchor="ctr"/>
          <a:lstStyle/>
          <a:p>
            <a:pPr algn="ctr" defTabSz="456938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85" y="2271735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1" tIns="34286" rIns="68541" bIns="34286" anchor="ctr"/>
          <a:lstStyle/>
          <a:p>
            <a:pPr algn="ctr" defTabSz="456938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7" y="2271735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1" tIns="34286" rIns="68541" bIns="34286" anchor="ctr"/>
          <a:lstStyle/>
          <a:p>
            <a:pPr algn="ctr" defTabSz="456938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40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1" tIns="34286" rIns="68541" bIns="34286" anchor="ctr"/>
          <a:lstStyle/>
          <a:p>
            <a:pPr algn="ctr" defTabSz="456938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40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41" tIns="34286" rIns="68541" bIns="34286" anchor="ctr"/>
          <a:lstStyle/>
          <a:p>
            <a:pPr algn="ctr" defTabSz="456938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6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41" tIns="34286" rIns="68541" bIns="34286" rtlCol="0" anchor="ctr" anchorCtr="0">
            <a:normAutofit/>
          </a:bodyPr>
          <a:lstStyle>
            <a:lvl1pPr marL="0" indent="0" algn="ctr" defTabSz="685374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41" tIns="34286" rIns="68541" bIns="34286" rtlCol="0" anchor="ctr" anchorCtr="0">
            <a:normAutofit/>
          </a:bodyPr>
          <a:lstStyle>
            <a:lvl1pPr marL="0" indent="0" algn="ctr" defTabSz="685374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41" tIns="34286" rIns="68541" bIns="34286" rtlCol="0" anchor="ctr" anchorCtr="0">
            <a:normAutofit/>
          </a:bodyPr>
          <a:lstStyle>
            <a:lvl1pPr marL="0" indent="0" algn="ctr" defTabSz="685374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40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41" tIns="34286" rIns="68541" bIns="34286" rtlCol="0" anchor="ctr" anchorCtr="0">
            <a:normAutofit/>
          </a:bodyPr>
          <a:lstStyle>
            <a:lvl1pPr marL="0" indent="0" algn="ctr" defTabSz="685374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6" y="2271740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41" tIns="34286" rIns="68541" bIns="34286" rtlCol="0" anchor="ctr" anchorCtr="0">
            <a:normAutofit/>
          </a:bodyPr>
          <a:lstStyle>
            <a:lvl1pPr marL="0" indent="0" algn="ctr" defTabSz="685374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41" tIns="34286" rIns="68541" bIns="34286" rtlCol="0" anchor="ctr" anchorCtr="0">
            <a:normAutofit/>
          </a:bodyPr>
          <a:lstStyle>
            <a:lvl1pPr marL="0" indent="0" algn="ctr" defTabSz="685374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41" tIns="34286" rIns="68541" bIns="34286" rtlCol="0" anchor="ctr" anchorCtr="0">
            <a:normAutofit/>
          </a:bodyPr>
          <a:lstStyle>
            <a:lvl1pPr marL="0" indent="0" algn="ctr" defTabSz="685374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42475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3470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60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41" tIns="34286" rIns="68541" bIns="34286" rtlCol="0" anchor="ctr">
            <a:normAutofit/>
          </a:bodyPr>
          <a:lstStyle>
            <a:lvl1pPr marL="0" indent="0" algn="ctr" defTabSz="685374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594099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41" tIns="34286" rIns="68541" bIns="34286" rtlCol="0" anchor="ctr">
            <a:normAutofit/>
          </a:bodyPr>
          <a:lstStyle>
            <a:lvl1pPr marL="0" indent="0" algn="ctr" defTabSz="685374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72627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8" y="1349354"/>
            <a:ext cx="4003995" cy="3040875"/>
          </a:xfrm>
          <a:prstGeom prst="rect">
            <a:avLst/>
          </a:prstGeom>
        </p:spPr>
        <p:txBody>
          <a:bodyPr lIns="68523" tIns="34283" rIns="68523" bIns="34283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68523" tIns="34283" rIns="68523" bIns="34283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6" tIns="34283" rIns="68526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3800747"/>
      </p:ext>
    </p:extLst>
  </p:cSld>
  <p:clrMapOvr>
    <a:masterClrMapping/>
  </p:clrMapOvr>
  <p:transition spd="med"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110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25338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92" y="1192"/>
            <a:ext cx="1190" cy="1190"/>
          </a:xfrm>
          <a:prstGeom prst="rect">
            <a:avLst/>
          </a:prstGeom>
          <a:noFill/>
        </p:spPr>
      </p:pic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</p:spTree>
    <p:extLst>
      <p:ext uri="{BB962C8B-B14F-4D97-AF65-F5344CB8AC3E}">
        <p14:creationId xmlns:p14="http://schemas.microsoft.com/office/powerpoint/2010/main" val="3523334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">
    <p:bg>
      <p:bgPr>
        <a:gradFill rotWithShape="1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76638" y="1646240"/>
            <a:ext cx="19907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6634076"/>
      </p:ext>
    </p:extLst>
  </p:cSld>
  <p:clrMapOvr>
    <a:masterClrMapping/>
  </p:clrMapOvr>
  <p:transition spd="slow">
    <p:wip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92" y="1192"/>
            <a:ext cx="1190" cy="1190"/>
          </a:xfrm>
          <a:prstGeom prst="rect">
            <a:avLst/>
          </a:prstGeom>
          <a:noFill/>
        </p:spPr>
      </p:pic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</p:spTree>
    <p:extLst>
      <p:ext uri="{BB962C8B-B14F-4D97-AF65-F5344CB8AC3E}">
        <p14:creationId xmlns:p14="http://schemas.microsoft.com/office/powerpoint/2010/main" val="16368441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6"/>
            <a:ext cx="83454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0420076"/>
      </p:ext>
    </p:extLst>
  </p:cSld>
  <p:clrMapOvr>
    <a:masterClrMapping/>
  </p:clrMapOvr>
  <p:transition spd="med">
    <p:fad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">
    <p:bg>
      <p:bgPr>
        <a:gradFill rotWithShape="1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76638" y="1646240"/>
            <a:ext cx="19907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1884065"/>
      </p:ext>
    </p:extLst>
  </p:cSld>
  <p:clrMapOvr>
    <a:masterClrMapping/>
  </p:clrMapOvr>
  <p:transition spd="slow">
    <p:wip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441" y="1216"/>
            <a:ext cx="1440" cy="1214"/>
          </a:xfrm>
          <a:prstGeom prst="rect">
            <a:avLst/>
          </a:prstGeom>
          <a:noFill/>
        </p:spPr>
      </p:pic>
      <p:pic>
        <p:nvPicPr>
          <p:cNvPr id="17643" name="Picture 23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82607" y="2669644"/>
            <a:ext cx="6422194" cy="523220"/>
          </a:xfrm>
          <a:prstGeom prst="rect">
            <a:avLst/>
          </a:prstGeom>
          <a:ln>
            <a:noFill/>
          </a:ln>
        </p:spPr>
        <p:txBody>
          <a:bodyPr anchor="b"/>
          <a:lstStyle>
            <a:lvl1pPr algn="l">
              <a:defRPr sz="3400" b="0" baseline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82607" y="3231472"/>
            <a:ext cx="6422194" cy="311624"/>
          </a:xfrm>
          <a:ln>
            <a:noFill/>
          </a:ln>
        </p:spPr>
        <p:txBody>
          <a:bodyPr wrap="square">
            <a:spAutoFit/>
          </a:bodyPr>
          <a:lstStyle>
            <a:lvl1pPr algn="l">
              <a:defRPr sz="2000" baseline="0"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altLang="ja-JP" noProof="0" smtClean="0"/>
              <a:t>Click to edit Master subtitle style</a:t>
            </a:r>
            <a:endParaRPr lang="en-US" altLang="ja-JP" noProof="0" dirty="0" smtClean="0"/>
          </a:p>
        </p:txBody>
      </p:sp>
      <p:grpSp>
        <p:nvGrpSpPr>
          <p:cNvPr id="3" name="McK Title Elements" hidden="1"/>
          <p:cNvGrpSpPr/>
          <p:nvPr userDrawn="1"/>
        </p:nvGrpSpPr>
        <p:grpSpPr bwMode="auto">
          <a:xfrm>
            <a:off x="482607" y="4095874"/>
            <a:ext cx="4935538" cy="490970"/>
            <a:chOff x="2640013" y="4927383"/>
            <a:chExt cx="4935538" cy="490971"/>
          </a:xfrm>
        </p:grpSpPr>
        <p:sp>
          <p:nvSpPr>
            <p:cNvPr id="18" name="McK Document type"/>
            <p:cNvSpPr txBox="1">
              <a:spLocks noChangeArrowheads="1"/>
            </p:cNvSpPr>
            <p:nvPr userDrawn="1"/>
          </p:nvSpPr>
          <p:spPr bwMode="auto">
            <a:xfrm>
              <a:off x="2640013" y="4927383"/>
              <a:ext cx="4935538" cy="2192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934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676767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9" name="McK Date"/>
            <p:cNvSpPr txBox="1">
              <a:spLocks noChangeArrowheads="1"/>
            </p:cNvSpPr>
            <p:nvPr userDrawn="1"/>
          </p:nvSpPr>
          <p:spPr bwMode="auto">
            <a:xfrm>
              <a:off x="2640013" y="5199063"/>
              <a:ext cx="4935538" cy="2192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3934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676767"/>
                  </a:solidFill>
                  <a:latin typeface="Arial"/>
                </a:rPr>
                <a:t>Date</a:t>
              </a:r>
            </a:p>
          </p:txBody>
        </p:sp>
      </p:grpSp>
      <p:pic>
        <p:nvPicPr>
          <p:cNvPr id="15" name="Picture 8" descr="logo_black.ai"/>
          <p:cNvPicPr>
            <a:picLocks noChangeAspect="1"/>
          </p:cNvPicPr>
          <p:nvPr userDrawn="1"/>
        </p:nvPicPr>
        <p:blipFill>
          <a:blip r:embed="rId4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70" y="320677"/>
            <a:ext cx="9493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3781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92" y="1192"/>
            <a:ext cx="1190" cy="1190"/>
          </a:xfrm>
          <a:prstGeom prst="rect">
            <a:avLst/>
          </a:prstGeom>
          <a:noFill/>
        </p:spPr>
      </p:pic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</p:spTree>
    <p:extLst>
      <p:ext uri="{BB962C8B-B14F-4D97-AF65-F5344CB8AC3E}">
        <p14:creationId xmlns:p14="http://schemas.microsoft.com/office/powerpoint/2010/main" val="2074383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9" y="1589"/>
            <a:ext cx="1587" cy="1587"/>
          </a:xfrm>
          <a:prstGeom prst="rect">
            <a:avLst/>
          </a:prstGeom>
          <a:noFill/>
        </p:spPr>
      </p:pic>
      <p:pic>
        <p:nvPicPr>
          <p:cNvPr id="348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-1588"/>
            <a:ext cx="9144000" cy="51435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 descr="pref_1-line_logo+tagline-rt-white-CMYK.ai"/>
          <p:cNvPicPr>
            <a:picLocks noChangeAspect="1"/>
          </p:cNvPicPr>
          <p:nvPr userDrawn="1"/>
        </p:nvPicPr>
        <p:blipFill>
          <a:blip r:embed="rId4">
            <a:duotone>
              <a:prstClr val="black"/>
              <a:schemeClr val="accent3">
                <a:tint val="45000"/>
                <a:satMod val="400000"/>
              </a:schemeClr>
            </a:duotone>
            <a:lum bright="-100000" contrast="-100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91745" y="1643634"/>
            <a:ext cx="8760510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726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662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/>
        </p:nvSpPr>
        <p:spPr>
          <a:xfrm>
            <a:off x="6085117" y="1622395"/>
            <a:ext cx="2318564" cy="2318564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8" tIns="34289" rIns="68538" bIns="34289" rtlCol="0" anchor="ctr"/>
          <a:lstStyle/>
          <a:p>
            <a:pPr algn="ctr" defTabSz="685324"/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Oval 3"/>
          <p:cNvSpPr/>
          <p:nvPr/>
        </p:nvSpPr>
        <p:spPr>
          <a:xfrm>
            <a:off x="3423232" y="1622395"/>
            <a:ext cx="2318564" cy="2318564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8" tIns="34289" rIns="68538" bIns="34289" rtlCol="0" anchor="ctr"/>
          <a:lstStyle/>
          <a:p>
            <a:pPr algn="ctr" defTabSz="685324"/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Oval 6"/>
          <p:cNvSpPr/>
          <p:nvPr/>
        </p:nvSpPr>
        <p:spPr>
          <a:xfrm>
            <a:off x="764272" y="1622395"/>
            <a:ext cx="2318564" cy="2318564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8" tIns="34289" rIns="68538" bIns="34289" rtlCol="0" anchor="ctr"/>
          <a:lstStyle/>
          <a:p>
            <a:pPr algn="ctr" defTabSz="685324"/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777486" y="2800171"/>
            <a:ext cx="2292136" cy="603661"/>
          </a:xfrm>
          <a:prstGeom prst="rect">
            <a:avLst/>
          </a:prstGeom>
        </p:spPr>
        <p:txBody>
          <a:bodyPr lIns="68523" tIns="34283" rIns="68523" bIns="34283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436446" y="2798224"/>
            <a:ext cx="2292136" cy="603661"/>
          </a:xfrm>
          <a:prstGeom prst="rect">
            <a:avLst/>
          </a:prstGeom>
        </p:spPr>
        <p:txBody>
          <a:bodyPr lIns="68523" tIns="34283" rIns="68523" bIns="34283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098331" y="2798224"/>
            <a:ext cx="2292136" cy="603661"/>
          </a:xfrm>
          <a:prstGeom prst="rect">
            <a:avLst/>
          </a:prstGeom>
        </p:spPr>
        <p:txBody>
          <a:bodyPr lIns="68523" tIns="34283" rIns="68523" bIns="34283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 lIns="68538" tIns="34289" rIns="68538" bIns="34289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 lIns="68538" tIns="34289" rIns="68538" bIns="34289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 lIns="68538" tIns="34289" rIns="68538" bIns="34289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7213302"/>
      </p:ext>
    </p:extLst>
  </p:cSld>
  <p:clrMapOvr>
    <a:masterClrMapping/>
  </p:clrMapOvr>
  <p:transition spd="slow">
    <p:wip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613413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2828" y="228600"/>
            <a:ext cx="7435849" cy="338554"/>
          </a:xfrm>
        </p:spPr>
        <p:txBody>
          <a:bodyPr/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12822" y="1200154"/>
            <a:ext cx="3549649" cy="33944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200"/>
            </a:lvl3pPr>
            <a:lvl4pPr>
              <a:defRPr sz="900"/>
            </a:lvl4pPr>
            <a:lvl5pPr>
              <a:defRPr sz="9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79973" y="1200154"/>
            <a:ext cx="3549649" cy="33944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200"/>
            </a:lvl3pPr>
            <a:lvl4pPr>
              <a:defRPr sz="900"/>
            </a:lvl4pPr>
            <a:lvl5pPr>
              <a:defRPr sz="9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12828" y="889907"/>
            <a:ext cx="7435849" cy="2857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buFontTx/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Subtitle Goes Here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12808" y="4837033"/>
            <a:ext cx="7461250" cy="173124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 defTabSz="603337">
              <a:lnSpc>
                <a:spcPct val="100000"/>
              </a:lnSpc>
              <a:spcBef>
                <a:spcPct val="50000"/>
              </a:spcBef>
              <a:buNone/>
              <a:defRPr sz="1100"/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 smtClean="0"/>
              <a:t>Source: Placeholder for Notes Is 14 Points</a:t>
            </a:r>
          </a:p>
        </p:txBody>
      </p:sp>
    </p:spTree>
    <p:extLst>
      <p:ext uri="{BB962C8B-B14F-4D97-AF65-F5344CB8AC3E}">
        <p14:creationId xmlns:p14="http://schemas.microsoft.com/office/powerpoint/2010/main" val="83548812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63269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411504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4840746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3063459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 Slid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30" y="253765"/>
            <a:ext cx="8588861" cy="332399"/>
          </a:xfrm>
        </p:spPr>
        <p:txBody>
          <a:bodyPr/>
          <a:lstStyle>
            <a:lvl1pPr algn="l" defTabSz="9138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 flip="none" rotWithShape="1">
                  <a:gsLst>
                    <a:gs pos="99000">
                      <a:schemeClr val="accent4"/>
                    </a:gs>
                    <a:gs pos="41000">
                      <a:srgbClr val="01BBBB"/>
                    </a:gs>
                    <a:gs pos="0">
                      <a:schemeClr val="accent1"/>
                    </a:gs>
                  </a:gsLst>
                  <a:lin ang="4800000" scaled="0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28600" y="870966"/>
            <a:ext cx="8610600" cy="342900"/>
          </a:xfrm>
          <a:prstGeom prst="rect">
            <a:avLst/>
          </a:prstGeom>
        </p:spPr>
        <p:txBody>
          <a:bodyPr lIns="51423" tIns="25721" rIns="51423" bIns="25721">
            <a:noAutofit/>
          </a:bodyPr>
          <a:lstStyle>
            <a:lvl1pPr marL="0" indent="0">
              <a:buNone/>
              <a:defRPr sz="2300" spc="-50" baseline="0"/>
            </a:lvl1pPr>
          </a:lstStyle>
          <a:p>
            <a:pPr lvl="0"/>
            <a:r>
              <a:rPr lang="en-US" dirty="0" smtClean="0"/>
              <a:t>Slide Subtitl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4766753"/>
            <a:ext cx="9144000" cy="160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1" tIns="34292" rIns="68561" bIns="34292" rtlCol="0" anchor="ctr"/>
          <a:lstStyle/>
          <a:p>
            <a:pPr algn="ctr" defTabSz="456953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9089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6689" y="145949"/>
            <a:ext cx="6470650" cy="219291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400" b="0" kern="0" dirty="0">
                <a:latin typeface="+mj-lt"/>
                <a:ea typeface="+mj-ea"/>
              </a:defRPr>
            </a:lvl1pPr>
          </a:lstStyle>
          <a:p>
            <a:pPr lvl="0">
              <a:tabLst>
                <a:tab pos="303278" algn="l"/>
              </a:tabLst>
            </a:pPr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2784623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88" y="1347788"/>
            <a:ext cx="3901123" cy="3083094"/>
          </a:xfrm>
          <a:prstGeom prst="rect">
            <a:avLst/>
          </a:prstGeom>
        </p:spPr>
        <p:txBody>
          <a:bodyPr lIns="68540" tIns="34283" rIns="68540" bIns="34283">
            <a:noAutofit/>
          </a:bodyPr>
          <a:lstStyle>
            <a:lvl1pPr marL="228441" indent="-171339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878" indent="-21574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235" indent="-171339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554" indent="-171339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891" indent="-171339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68540" tIns="34283" rIns="68540" bIns="34283">
            <a:noAutofit/>
          </a:bodyPr>
          <a:lstStyle>
            <a:lvl1pPr marL="228441" indent="-171339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878" indent="-21574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235" indent="-171339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554" indent="-171339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891" indent="-171339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03371"/>
            <a:ext cx="8345488" cy="40774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43" tIns="34283" rIns="68543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4117830"/>
      </p:ext>
    </p:extLst>
  </p:cSld>
  <p:clrMapOvr>
    <a:masterClrMapping/>
  </p:clrMapOvr>
  <p:transition spd="med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59636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/>
        </p:nvSpPr>
        <p:spPr>
          <a:xfrm>
            <a:off x="774850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35" tIns="34289" rIns="68535" bIns="34289" anchor="ctr"/>
          <a:lstStyle/>
          <a:p>
            <a:pPr algn="ctr" defTabSz="913748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44" name="Oval 43"/>
          <p:cNvSpPr/>
          <p:nvPr/>
        </p:nvSpPr>
        <p:spPr>
          <a:xfrm>
            <a:off x="3422849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35" tIns="34289" rIns="68535" bIns="34289" anchor="ctr"/>
          <a:lstStyle/>
          <a:p>
            <a:pPr algn="ctr" defTabSz="913748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45" name="Oval 44"/>
          <p:cNvSpPr/>
          <p:nvPr/>
        </p:nvSpPr>
        <p:spPr>
          <a:xfrm>
            <a:off x="6087387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35" tIns="34289" rIns="68535" bIns="34289" anchor="ctr"/>
          <a:lstStyle/>
          <a:p>
            <a:pPr algn="ctr" defTabSz="913748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6" tIns="34283" rIns="68526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68526" tIns="34283" rIns="68526" bIns="34283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68526" tIns="34283" rIns="68526" bIns="34283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68526" tIns="34283" rIns="68526" bIns="34283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788799" y="3873167"/>
            <a:ext cx="2292136" cy="603661"/>
          </a:xfrm>
          <a:prstGeom prst="rect">
            <a:avLst/>
          </a:prstGeom>
        </p:spPr>
        <p:txBody>
          <a:bodyPr lIns="68523" tIns="34283" rIns="68523" bIns="34283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436818" y="3871220"/>
            <a:ext cx="2292136" cy="603661"/>
          </a:xfrm>
          <a:prstGeom prst="rect">
            <a:avLst/>
          </a:prstGeom>
        </p:spPr>
        <p:txBody>
          <a:bodyPr lIns="68523" tIns="34283" rIns="68523" bIns="34283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101337" y="3871220"/>
            <a:ext cx="2292136" cy="603661"/>
          </a:xfrm>
          <a:prstGeom prst="rect">
            <a:avLst/>
          </a:prstGeom>
        </p:spPr>
        <p:txBody>
          <a:bodyPr lIns="68523" tIns="34283" rIns="68523" bIns="34283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71309306"/>
      </p:ext>
    </p:extLst>
  </p:cSld>
  <p:clrMapOvr>
    <a:masterClrMapping/>
  </p:clrMapOvr>
  <p:transition spd="slow">
    <p:wip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6515413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4" y="1347788"/>
            <a:ext cx="8277344" cy="3168210"/>
          </a:xfrm>
          <a:prstGeom prst="rect">
            <a:avLst/>
          </a:prstGeom>
        </p:spPr>
        <p:txBody>
          <a:bodyPr lIns="68553" tIns="34289" rIns="68553" bIns="34289">
            <a:noAutofit/>
          </a:bodyPr>
          <a:lstStyle>
            <a:lvl1pPr marL="280528" indent="-223466">
              <a:lnSpc>
                <a:spcPct val="95000"/>
              </a:lnSpc>
              <a:spcBef>
                <a:spcPts val="1109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182" indent="-215537">
              <a:lnSpc>
                <a:spcPct val="95000"/>
              </a:lnSpc>
              <a:spcBef>
                <a:spcPts val="449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6504" indent="-17117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09741" indent="-171177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0910" indent="-16800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03364"/>
            <a:ext cx="8345488" cy="40775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56" tIns="34289" rIns="68556" bIns="3428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253040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uck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572" y="-5997"/>
            <a:ext cx="9153144" cy="5155499"/>
          </a:xfrm>
          <a:prstGeom prst="rect">
            <a:avLst/>
          </a:prstGeom>
        </p:spPr>
      </p:pic>
      <p:pic>
        <p:nvPicPr>
          <p:cNvPr id="15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6065" y="320677"/>
            <a:ext cx="948131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514" y="3793216"/>
            <a:ext cx="8296421" cy="288131"/>
          </a:xfrm>
          <a:prstGeom prst="rect">
            <a:avLst/>
          </a:prstGeom>
        </p:spPr>
        <p:txBody>
          <a:bodyPr lIns="68540" tIns="34283" rIns="68540" bIns="34283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4D4D4D"/>
                </a:solidFill>
                <a:latin typeface="+mn-lt"/>
                <a:cs typeface="CiscoSans"/>
              </a:defRPr>
            </a:lvl1pPr>
            <a:lvl2pPr marL="342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2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514" y="4078569"/>
            <a:ext cx="8296421" cy="288131"/>
          </a:xfrm>
          <a:prstGeom prst="rect">
            <a:avLst/>
          </a:prstGeom>
        </p:spPr>
        <p:txBody>
          <a:bodyPr lIns="68540" tIns="34283" rIns="68540" bIns="34283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514" y="4363922"/>
            <a:ext cx="8296421" cy="288131"/>
          </a:xfrm>
          <a:prstGeom prst="rect">
            <a:avLst/>
          </a:prstGeom>
        </p:spPr>
        <p:txBody>
          <a:bodyPr lIns="68540" tIns="34283" rIns="68540" bIns="34283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310" y="3211481"/>
            <a:ext cx="8302625" cy="407741"/>
          </a:xfrm>
          <a:prstGeom prst="rect">
            <a:avLst/>
          </a:prstGeom>
        </p:spPr>
        <p:txBody>
          <a:bodyPr lIns="68540" tIns="34283" rIns="68540" bIns="34283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646" indent="0">
              <a:buNone/>
              <a:defRPr/>
            </a:lvl2pPr>
            <a:lvl3pPr marL="427212" indent="0">
              <a:buNone/>
              <a:defRPr/>
            </a:lvl3pPr>
            <a:lvl4pPr marL="516460" indent="0">
              <a:buNone/>
              <a:defRPr/>
            </a:lvl4pPr>
            <a:lvl5pPr marL="60095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7" y="1844425"/>
            <a:ext cx="8340152" cy="1440299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8133622"/>
      </p:ext>
    </p:extLst>
  </p:cSld>
  <p:clrMapOvr>
    <a:masterClrMapping/>
  </p:clrMapOvr>
  <p:transition spd="slow">
    <p:wip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jec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93" y="1192"/>
            <a:ext cx="1191" cy="119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9724" y="1004812"/>
            <a:ext cx="8551441" cy="1300106"/>
          </a:xfrm>
          <a:prstGeom prst="rect">
            <a:avLst/>
          </a:prstGeom>
        </p:spPr>
        <p:txBody>
          <a:bodyPr lIns="68543" tIns="34283" rIns="68543" bIns="3428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4809761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441" y="1216"/>
            <a:ext cx="1440" cy="1214"/>
          </a:xfrm>
          <a:prstGeom prst="rect">
            <a:avLst/>
          </a:prstGeom>
          <a:noFill/>
        </p:spPr>
      </p:pic>
      <p:pic>
        <p:nvPicPr>
          <p:cNvPr id="17643" name="Picture 23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82607" y="2669644"/>
            <a:ext cx="6422194" cy="523220"/>
          </a:xfrm>
          <a:prstGeom prst="rect">
            <a:avLst/>
          </a:prstGeom>
          <a:ln>
            <a:noFill/>
          </a:ln>
        </p:spPr>
        <p:txBody>
          <a:bodyPr anchor="b"/>
          <a:lstStyle>
            <a:lvl1pPr algn="l">
              <a:defRPr sz="3400" b="0" baseline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82607" y="3231472"/>
            <a:ext cx="6422194" cy="311624"/>
          </a:xfrm>
          <a:ln>
            <a:noFill/>
          </a:ln>
        </p:spPr>
        <p:txBody>
          <a:bodyPr wrap="square">
            <a:spAutoFit/>
          </a:bodyPr>
          <a:lstStyle>
            <a:lvl1pPr algn="l">
              <a:defRPr sz="2000" baseline="0"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altLang="ja-JP" noProof="0" smtClean="0"/>
              <a:t>Click to edit Master subtitle style</a:t>
            </a:r>
            <a:endParaRPr lang="en-US" altLang="ja-JP" noProof="0" dirty="0" smtClean="0"/>
          </a:p>
        </p:txBody>
      </p:sp>
      <p:grpSp>
        <p:nvGrpSpPr>
          <p:cNvPr id="3" name="McK Title Elements" hidden="1"/>
          <p:cNvGrpSpPr/>
          <p:nvPr userDrawn="1"/>
        </p:nvGrpSpPr>
        <p:grpSpPr bwMode="auto">
          <a:xfrm>
            <a:off x="482607" y="4095874"/>
            <a:ext cx="4935538" cy="490970"/>
            <a:chOff x="2640013" y="4927383"/>
            <a:chExt cx="4935538" cy="490971"/>
          </a:xfrm>
        </p:grpSpPr>
        <p:sp>
          <p:nvSpPr>
            <p:cNvPr id="18" name="McK Document type"/>
            <p:cNvSpPr txBox="1">
              <a:spLocks noChangeArrowheads="1"/>
            </p:cNvSpPr>
            <p:nvPr userDrawn="1"/>
          </p:nvSpPr>
          <p:spPr bwMode="auto">
            <a:xfrm>
              <a:off x="2640013" y="4927383"/>
              <a:ext cx="4935538" cy="2192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091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676767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9" name="McK Date"/>
            <p:cNvSpPr txBox="1">
              <a:spLocks noChangeArrowheads="1"/>
            </p:cNvSpPr>
            <p:nvPr userDrawn="1"/>
          </p:nvSpPr>
          <p:spPr bwMode="auto">
            <a:xfrm>
              <a:off x="2640013" y="5199063"/>
              <a:ext cx="4935538" cy="2192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091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676767"/>
                  </a:solidFill>
                  <a:latin typeface="Arial"/>
                </a:rPr>
                <a:t>Date</a:t>
              </a:r>
            </a:p>
          </p:txBody>
        </p:sp>
      </p:grpSp>
      <p:pic>
        <p:nvPicPr>
          <p:cNvPr id="15" name="Picture 8" descr="logo_black.ai"/>
          <p:cNvPicPr>
            <a:picLocks noChangeAspect="1"/>
          </p:cNvPicPr>
          <p:nvPr userDrawn="1"/>
        </p:nvPicPr>
        <p:blipFill>
          <a:blip r:embed="rId4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63" y="320677"/>
            <a:ext cx="9493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874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92" y="1192"/>
            <a:ext cx="1190" cy="1190"/>
          </a:xfrm>
          <a:prstGeom prst="rect">
            <a:avLst/>
          </a:prstGeom>
          <a:noFill/>
        </p:spPr>
      </p:pic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</p:spTree>
    <p:extLst>
      <p:ext uri="{BB962C8B-B14F-4D97-AF65-F5344CB8AC3E}">
        <p14:creationId xmlns:p14="http://schemas.microsoft.com/office/powerpoint/2010/main" val="1120685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9" y="1589"/>
            <a:ext cx="1587" cy="1587"/>
          </a:xfrm>
          <a:prstGeom prst="rect">
            <a:avLst/>
          </a:prstGeom>
          <a:noFill/>
        </p:spPr>
      </p:pic>
      <p:pic>
        <p:nvPicPr>
          <p:cNvPr id="348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-1588"/>
            <a:ext cx="9144000" cy="51435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 descr="pref_1-line_logo+tagline-rt-white-CMYK.ai"/>
          <p:cNvPicPr>
            <a:picLocks noChangeAspect="1"/>
          </p:cNvPicPr>
          <p:nvPr userDrawn="1"/>
        </p:nvPicPr>
        <p:blipFill>
          <a:blip r:embed="rId4">
            <a:duotone>
              <a:prstClr val="black"/>
              <a:schemeClr val="accent3">
                <a:tint val="45000"/>
                <a:satMod val="400000"/>
              </a:schemeClr>
            </a:duotone>
            <a:lum bright="-100000" contrast="-100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91745" y="1643634"/>
            <a:ext cx="8760510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101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432258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9057870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2821" y="228600"/>
            <a:ext cx="7435849" cy="338554"/>
          </a:xfrm>
        </p:spPr>
        <p:txBody>
          <a:bodyPr/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12820" y="1200154"/>
            <a:ext cx="3549649" cy="33944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200"/>
            </a:lvl3pPr>
            <a:lvl4pPr>
              <a:defRPr sz="900"/>
            </a:lvl4pPr>
            <a:lvl5pPr>
              <a:defRPr sz="9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79966" y="1200154"/>
            <a:ext cx="3549649" cy="33944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200"/>
            </a:lvl3pPr>
            <a:lvl4pPr>
              <a:defRPr sz="900"/>
            </a:lvl4pPr>
            <a:lvl5pPr>
              <a:defRPr sz="9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12821" y="889907"/>
            <a:ext cx="7435849" cy="2857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buFontTx/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Subtitle Goes Here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12808" y="4837033"/>
            <a:ext cx="7461250" cy="173124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 defTabSz="603442">
              <a:lnSpc>
                <a:spcPct val="100000"/>
              </a:lnSpc>
              <a:spcBef>
                <a:spcPct val="50000"/>
              </a:spcBef>
              <a:buNone/>
              <a:defRPr sz="1100"/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 smtClean="0"/>
              <a:t>Source: Placeholder for Notes Is 14 Points</a:t>
            </a:r>
          </a:p>
        </p:txBody>
      </p:sp>
    </p:spTree>
    <p:extLst>
      <p:ext uri="{BB962C8B-B14F-4D97-AF65-F5344CB8AC3E}">
        <p14:creationId xmlns:p14="http://schemas.microsoft.com/office/powerpoint/2010/main" val="311414123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5" y="4629179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68523" tIns="34283" rIns="68523" bIns="34283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00064" y="3484021"/>
            <a:ext cx="8139112" cy="505908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80944" tIns="0" rIns="68538" bIns="34289" numCol="1" anchor="ctr" anchorCtr="0" compatLnSpc="1">
            <a:prstTxWarp prst="textNoShape">
              <a:avLst/>
            </a:prstTxWarp>
            <a:spAutoFit/>
          </a:bodyPr>
          <a:lstStyle>
            <a:lvl1pPr marL="172684" indent="0">
              <a:lnSpc>
                <a:spcPts val="3680"/>
              </a:lnSpc>
              <a:spcBef>
                <a:spcPts val="0"/>
              </a:spcBef>
              <a:buNone/>
              <a:defRPr sz="24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285068976"/>
      </p:ext>
    </p:extLst>
  </p:cSld>
  <p:clrMapOvr>
    <a:masterClrMapping/>
  </p:clrMapOvr>
  <p:transition spd="slow">
    <p:wip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63972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899515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5440066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111271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 Slid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23" y="253758"/>
            <a:ext cx="8588861" cy="332399"/>
          </a:xfrm>
        </p:spPr>
        <p:txBody>
          <a:bodyPr/>
          <a:lstStyle>
            <a:lvl1pPr algn="l" defTabSz="91397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 flip="none" rotWithShape="1">
                  <a:gsLst>
                    <a:gs pos="99000">
                      <a:schemeClr val="accent4"/>
                    </a:gs>
                    <a:gs pos="41000">
                      <a:srgbClr val="01BBBB"/>
                    </a:gs>
                    <a:gs pos="0">
                      <a:schemeClr val="accent1"/>
                    </a:gs>
                  </a:gsLst>
                  <a:lin ang="4800000" scaled="0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28600" y="870966"/>
            <a:ext cx="8610600" cy="342900"/>
          </a:xfrm>
          <a:prstGeom prst="rect">
            <a:avLst/>
          </a:prstGeom>
        </p:spPr>
        <p:txBody>
          <a:bodyPr lIns="51430" tIns="25721" rIns="51430" bIns="25721">
            <a:noAutofit/>
          </a:bodyPr>
          <a:lstStyle>
            <a:lvl1pPr marL="0" indent="0">
              <a:buNone/>
              <a:defRPr sz="2300" spc="-50" baseline="0"/>
            </a:lvl1pPr>
          </a:lstStyle>
          <a:p>
            <a:pPr lvl="0"/>
            <a:r>
              <a:rPr lang="en-US" dirty="0" smtClean="0"/>
              <a:t>Slide Subtitl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4766746"/>
            <a:ext cx="9144000" cy="160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92" rIns="68571" bIns="34292" rtlCol="0" anchor="ctr"/>
          <a:lstStyle/>
          <a:p>
            <a:pPr algn="ctr" defTabSz="457037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245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6689" y="145949"/>
            <a:ext cx="6470650" cy="219291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400" b="0" kern="0" dirty="0">
                <a:latin typeface="+mj-lt"/>
                <a:ea typeface="+mj-ea"/>
              </a:defRPr>
            </a:lvl1pPr>
          </a:lstStyle>
          <a:p>
            <a:pPr lvl="0">
              <a:tabLst>
                <a:tab pos="303331" algn="l"/>
              </a:tabLst>
            </a:pPr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162562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81" y="1347788"/>
            <a:ext cx="3901123" cy="3083094"/>
          </a:xfrm>
          <a:prstGeom prst="rect">
            <a:avLst/>
          </a:prstGeom>
        </p:spPr>
        <p:txBody>
          <a:bodyPr lIns="68550" tIns="34283" rIns="68550" bIns="34283">
            <a:noAutofit/>
          </a:bodyPr>
          <a:lstStyle>
            <a:lvl1pPr marL="228483" indent="-171367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62" indent="-21578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340" indent="-17136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694" indent="-171367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059" indent="-171367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68550" tIns="34283" rIns="68550" bIns="34283">
            <a:noAutofit/>
          </a:bodyPr>
          <a:lstStyle>
            <a:lvl1pPr marL="228483" indent="-171367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62" indent="-21578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340" indent="-17136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694" indent="-171367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059" indent="-171367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03371"/>
            <a:ext cx="8345488" cy="40774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53" tIns="34283" rIns="68553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3094927"/>
      </p:ext>
    </p:extLst>
  </p:cSld>
  <p:clrMapOvr>
    <a:masterClrMapping/>
  </p:clrMapOvr>
  <p:transition spd="med"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374641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835070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4" y="1347788"/>
            <a:ext cx="8277344" cy="3168210"/>
          </a:xfrm>
          <a:prstGeom prst="rect">
            <a:avLst/>
          </a:prstGeom>
        </p:spPr>
        <p:txBody>
          <a:bodyPr lIns="68564" tIns="34289" rIns="68564" bIns="34289">
            <a:noAutofit/>
          </a:bodyPr>
          <a:lstStyle>
            <a:lvl1pPr marL="280577" indent="-223508">
              <a:lnSpc>
                <a:spcPct val="95000"/>
              </a:lnSpc>
              <a:spcBef>
                <a:spcPts val="1109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266" indent="-215579">
              <a:lnSpc>
                <a:spcPct val="95000"/>
              </a:lnSpc>
              <a:spcBef>
                <a:spcPts val="449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6630" indent="-17120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09899" indent="-17120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1099" indent="-168033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03364"/>
            <a:ext cx="8345488" cy="40775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67" tIns="34289" rIns="68567" bIns="3428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618933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4" y="301066"/>
            <a:ext cx="8563172" cy="2542175"/>
          </a:xfrm>
          <a:prstGeom prst="rect">
            <a:avLst/>
          </a:prstGeom>
        </p:spPr>
        <p:txBody>
          <a:bodyPr vert="horz" lIns="68523" tIns="34283" rIns="68523" bIns="34283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6" y="3054546"/>
            <a:ext cx="8364236" cy="544859"/>
          </a:xfrm>
          <a:prstGeom prst="rect">
            <a:avLst/>
          </a:prstGeom>
        </p:spPr>
        <p:txBody>
          <a:bodyPr vert="horz" wrap="square" lIns="68538" tIns="34289" rIns="68538" bIns="34289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854579280"/>
      </p:ext>
    </p:extLst>
  </p:cSld>
  <p:clrMapOvr>
    <a:masterClrMapping/>
  </p:clrMapOvr>
  <p:transition spd="slow">
    <p:wip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uck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572" y="-5997"/>
            <a:ext cx="9153144" cy="5155499"/>
          </a:xfrm>
          <a:prstGeom prst="rect">
            <a:avLst/>
          </a:prstGeom>
        </p:spPr>
      </p:pic>
      <p:pic>
        <p:nvPicPr>
          <p:cNvPr id="15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6058" y="320677"/>
            <a:ext cx="948131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507" y="3793209"/>
            <a:ext cx="8296421" cy="288131"/>
          </a:xfrm>
          <a:prstGeom prst="rect">
            <a:avLst/>
          </a:prstGeom>
        </p:spPr>
        <p:txBody>
          <a:bodyPr lIns="68550" tIns="34283" rIns="68550" bIns="34283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4D4D4D"/>
                </a:solidFill>
                <a:latin typeface="+mn-lt"/>
                <a:cs typeface="CiscoSans"/>
              </a:defRPr>
            </a:lvl1pPr>
            <a:lvl2pPr marL="342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2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0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8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3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1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507" y="4078562"/>
            <a:ext cx="8296421" cy="288131"/>
          </a:xfrm>
          <a:prstGeom prst="rect">
            <a:avLst/>
          </a:prstGeom>
        </p:spPr>
        <p:txBody>
          <a:bodyPr lIns="68550" tIns="34283" rIns="68550" bIns="34283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507" y="4363915"/>
            <a:ext cx="8296421" cy="288131"/>
          </a:xfrm>
          <a:prstGeom prst="rect">
            <a:avLst/>
          </a:prstGeom>
        </p:spPr>
        <p:txBody>
          <a:bodyPr lIns="68550" tIns="34283" rIns="68550" bIns="34283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303" y="3211474"/>
            <a:ext cx="8302625" cy="407741"/>
          </a:xfrm>
          <a:prstGeom prst="rect">
            <a:avLst/>
          </a:prstGeom>
        </p:spPr>
        <p:txBody>
          <a:bodyPr lIns="68550" tIns="34283" rIns="68550" bIns="34283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699" indent="0">
              <a:buNone/>
              <a:defRPr/>
            </a:lvl2pPr>
            <a:lvl3pPr marL="427286" indent="0">
              <a:buNone/>
              <a:defRPr/>
            </a:lvl3pPr>
            <a:lvl4pPr marL="516551" indent="0">
              <a:buNone/>
              <a:defRPr/>
            </a:lvl4pPr>
            <a:lvl5pPr marL="601056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7" y="1844418"/>
            <a:ext cx="8340152" cy="1440299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570569"/>
      </p:ext>
    </p:extLst>
  </p:cSld>
  <p:clrMapOvr>
    <a:masterClrMapping/>
  </p:clrMapOvr>
  <p:transition spd="slow">
    <p:wip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jec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93" y="1192"/>
            <a:ext cx="1191" cy="119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9717" y="1004812"/>
            <a:ext cx="8551441" cy="1300106"/>
          </a:xfrm>
          <a:prstGeom prst="rect">
            <a:avLst/>
          </a:prstGeom>
        </p:spPr>
        <p:txBody>
          <a:bodyPr lIns="68553" tIns="34283" rIns="68553" bIns="3428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8943680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506" y="3793208"/>
            <a:ext cx="8296421" cy="288131"/>
          </a:xfrm>
          <a:prstGeom prst="rect">
            <a:avLst/>
          </a:prstGeom>
        </p:spPr>
        <p:txBody>
          <a:bodyPr lIns="68552" tIns="34283" rIns="68552" bIns="34283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7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1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6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506" y="4033205"/>
            <a:ext cx="8296421" cy="288131"/>
          </a:xfrm>
          <a:prstGeom prst="rect">
            <a:avLst/>
          </a:prstGeom>
        </p:spPr>
        <p:txBody>
          <a:bodyPr lIns="68552" tIns="34283" rIns="68552" bIns="34283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506" y="4273202"/>
            <a:ext cx="8296421" cy="288131"/>
          </a:xfrm>
          <a:prstGeom prst="rect">
            <a:avLst/>
          </a:prstGeom>
        </p:spPr>
        <p:txBody>
          <a:bodyPr lIns="68552" tIns="34283" rIns="68552" bIns="34283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302" y="3211463"/>
            <a:ext cx="8302625" cy="299001"/>
          </a:xfrm>
          <a:prstGeom prst="rect">
            <a:avLst/>
          </a:prstGeom>
        </p:spPr>
        <p:txBody>
          <a:bodyPr lIns="68552" tIns="34283" rIns="68552" bIns="34283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06" indent="0">
              <a:buNone/>
              <a:defRPr/>
            </a:lvl2pPr>
            <a:lvl3pPr marL="427296" indent="0">
              <a:buNone/>
              <a:defRPr/>
            </a:lvl3pPr>
            <a:lvl4pPr marL="516564" indent="0">
              <a:buNone/>
              <a:defRPr/>
            </a:lvl4pPr>
            <a:lvl5pPr marL="60107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7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36139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61" tIns="34286" rIns="68561" bIns="34286" anchor="ctr"/>
          <a:lstStyle/>
          <a:p>
            <a:pPr defTabSz="457082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61" tIns="34286" rIns="68561" bIns="34286" anchor="ctr"/>
          <a:lstStyle/>
          <a:p>
            <a:pPr defTabSz="457082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25" y="3209560"/>
            <a:ext cx="4684867" cy="288131"/>
          </a:xfrm>
          <a:prstGeom prst="rect">
            <a:avLst/>
          </a:prstGeom>
        </p:spPr>
        <p:txBody>
          <a:bodyPr vert="horz" lIns="51422" tIns="25715" rIns="51422" bIns="25715" rtlCol="0">
            <a:noAutofit/>
          </a:bodyPr>
          <a:lstStyle>
            <a:lvl1pPr marL="0" indent="0" algn="l" defTabSz="68557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427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35" y="2462028"/>
            <a:ext cx="4712557" cy="766763"/>
          </a:xfrm>
        </p:spPr>
        <p:txBody>
          <a:bodyPr lIns="46277" tIns="25715" rIns="46277" bIns="25715" rtlCol="0" anchor="b">
            <a:noAutofit/>
          </a:bodyPr>
          <a:lstStyle>
            <a:lvl1pPr marL="0" indent="0" algn="l" defTabSz="68557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68552" tIns="34283" rIns="68552" bIns="34283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63538293"/>
      </p:ext>
    </p:extLst>
  </p:cSld>
  <p:clrMapOvr>
    <a:masterClrMapping/>
  </p:clrMapOvr>
  <p:transition spd="slow">
    <p:wip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970" y="4742916"/>
            <a:ext cx="218151" cy="1545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73" tIns="30791" rIns="61573" bIns="30791" anchor="b">
            <a:spAutoFit/>
          </a:bodyPr>
          <a:lstStyle/>
          <a:p>
            <a:pPr algn="r" defTabSz="610594"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cs typeface="CiscoSans Thin"/>
              </a:rPr>
              <a:pPr algn="r" defTabSz="61059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741663"/>
            <a:ext cx="2658018" cy="154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73" tIns="30791" rIns="61573" bIns="30791" anchor="b">
            <a:spAutoFit/>
          </a:bodyPr>
          <a:lstStyle/>
          <a:p>
            <a:pPr defTabSz="61059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2014  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4591163"/>
      </p:ext>
    </p:extLst>
  </p:cSld>
  <p:clrMapOvr>
    <a:masterClrMapping/>
  </p:clrMapOvr>
  <p:transition spd="med"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58" tIns="34286" rIns="68558" bIns="34286" anchor="ctr"/>
          <a:lstStyle/>
          <a:p>
            <a:pPr defTabSz="457082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58" tIns="34286" rIns="68558" bIns="34286" anchor="ctr"/>
          <a:lstStyle/>
          <a:p>
            <a:pPr defTabSz="457082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0520861"/>
      </p:ext>
    </p:extLst>
  </p:cSld>
  <p:clrMapOvr>
    <a:masterClrMapping/>
  </p:clrMapOvr>
  <p:transition spd="med"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4662" y="1347790"/>
            <a:ext cx="8280057" cy="3073946"/>
          </a:xfrm>
          <a:prstGeom prst="rect">
            <a:avLst/>
          </a:prstGeom>
        </p:spPr>
        <p:txBody>
          <a:bodyPr lIns="68552" tIns="34283" rIns="68552" bIns="34283">
            <a:noAutofit/>
          </a:bodyPr>
          <a:lstStyle>
            <a:lvl1pPr marL="285620" marR="0" indent="-285620" algn="ctr" defTabSz="456986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2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55" tIns="34283" rIns="68555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5395910"/>
      </p:ext>
    </p:extLst>
  </p:cSld>
  <p:clrMapOvr>
    <a:masterClrMapping/>
  </p:clrMapOvr>
  <p:transition spd="med"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68552" tIns="34283" rIns="68552" bIns="34283">
            <a:noAutofit/>
          </a:bodyPr>
          <a:lstStyle>
            <a:lvl1pPr marL="280858" indent="-223733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773" indent="-21579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377" indent="-17137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809" indent="-17137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180" indent="-16820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2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55" tIns="34283" rIns="68555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0035821"/>
      </p:ext>
    </p:extLst>
  </p:cSld>
  <p:clrMapOvr>
    <a:masterClrMapping/>
  </p:clrMapOvr>
  <p:transition spd="med"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68552" tIns="34283" rIns="68552" bIns="34283">
            <a:noAutofit/>
          </a:bodyPr>
          <a:lstStyle>
            <a:lvl1pPr marL="57121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197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599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439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3985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2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55" tIns="34283" rIns="68555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9700816"/>
      </p:ext>
    </p:extLst>
  </p:cSld>
  <p:clrMapOvr>
    <a:masterClrMapping/>
  </p:clrMapOvr>
  <p:transition spd="med"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9670" y="895601"/>
            <a:ext cx="8398739" cy="3168210"/>
          </a:xfrm>
          <a:prstGeom prst="rect">
            <a:avLst/>
          </a:prstGeom>
        </p:spPr>
        <p:txBody>
          <a:bodyPr lIns="68552" tIns="34283" rIns="68552" bIns="34283">
            <a:noAutofit/>
          </a:bodyPr>
          <a:lstStyle>
            <a:lvl1pPr marL="57121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197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599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439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3985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961752522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9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7348" cy="5143500"/>
          </a:xfrm>
          <a:prstGeom prst="rect">
            <a:avLst/>
          </a:prstGeom>
        </p:spPr>
      </p:pic>
      <p:sp>
        <p:nvSpPr>
          <p:cNvPr id="14" name="Text Placeholder 2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00064" y="3476221"/>
            <a:ext cx="8139112" cy="521510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80944" tIns="0" rIns="68538" bIns="34289" numCol="1" anchor="b" anchorCtr="0" compatLnSpc="1">
            <a:prstTxWarp prst="textNoShape">
              <a:avLst/>
            </a:prstTxWarp>
            <a:spAutoFit/>
          </a:bodyPr>
          <a:lstStyle>
            <a:lvl1pPr marL="172684" indent="-179870">
              <a:lnSpc>
                <a:spcPts val="3680"/>
              </a:lnSpc>
              <a:spcBef>
                <a:spcPts val="0"/>
              </a:spcBef>
              <a:buNone/>
              <a:defRPr sz="32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  <p:pic>
        <p:nvPicPr>
          <p:cNvPr id="11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7"/>
          <p:cNvSpPr>
            <a:spLocks noChangeArrowheads="1"/>
          </p:cNvSpPr>
          <p:nvPr/>
        </p:nvSpPr>
        <p:spPr bwMode="ltGray">
          <a:xfrm>
            <a:off x="8513596" y="4742937"/>
            <a:ext cx="220553" cy="1545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44" tIns="30791" rIns="61544" bIns="30791" anchor="b">
            <a:spAutoFit/>
          </a:bodyPr>
          <a:lstStyle/>
          <a:p>
            <a:pPr algn="r" defTabSz="610309"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cs typeface="CiscoSans Thin"/>
              </a:rPr>
              <a:pPr algn="r" defTabSz="610309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cs typeface="CiscoSans Thin"/>
            </a:endParaRP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ltGray">
          <a:xfrm>
            <a:off x="5867508" y="4741682"/>
            <a:ext cx="2658018" cy="154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44" tIns="30791" rIns="61544" bIns="30791" anchor="b">
            <a:spAutoFit/>
          </a:bodyPr>
          <a:lstStyle/>
          <a:p>
            <a:pPr defTabSz="610309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2014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53090201"/>
      </p:ext>
    </p:extLst>
  </p:cSld>
  <p:clrMapOvr>
    <a:masterClrMapping/>
  </p:clrMapOvr>
  <p:transition spd="slow">
    <p:wip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68552" tIns="34283" rIns="68552" bIns="34283">
            <a:noAutofit/>
          </a:bodyPr>
          <a:lstStyle>
            <a:lvl1pPr marL="212350" indent="-392309">
              <a:lnSpc>
                <a:spcPts val="444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773" indent="-21579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377" indent="-17137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809" indent="-17137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180" indent="-16820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192190448"/>
      </p:ext>
    </p:extLst>
  </p:cSld>
  <p:clrMapOvr>
    <a:masterClrMapping/>
  </p:clrMapOvr>
  <p:transition spd="med"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68552" tIns="34283" rIns="68552" bIns="34283">
            <a:noAutofit/>
          </a:bodyPr>
          <a:lstStyle>
            <a:lvl1pPr marL="280858" indent="-223733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773" indent="-21579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377" indent="-17137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809" indent="-17137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180" indent="-16820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2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55" tIns="34283" rIns="68555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7165481"/>
      </p:ext>
    </p:extLst>
  </p:cSld>
  <p:clrMapOvr>
    <a:masterClrMapping/>
  </p:clrMapOvr>
  <p:transition spd="med"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76" y="1347788"/>
            <a:ext cx="3901123" cy="3083094"/>
          </a:xfrm>
          <a:prstGeom prst="rect">
            <a:avLst/>
          </a:prstGeom>
        </p:spPr>
        <p:txBody>
          <a:bodyPr lIns="68552" tIns="34283" rIns="68552" bIns="34283">
            <a:noAutofit/>
          </a:bodyPr>
          <a:lstStyle>
            <a:lvl1pPr marL="228495" indent="-1713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86" indent="-21579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370" indent="-17137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734" indent="-17137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107" indent="-17137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68552" tIns="34283" rIns="68552" bIns="34283">
            <a:noAutofit/>
          </a:bodyPr>
          <a:lstStyle>
            <a:lvl1pPr marL="228495" indent="-1713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86" indent="-21579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370" indent="-17137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734" indent="-17137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107" indent="-17137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2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55" tIns="34283" rIns="68555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3916470"/>
      </p:ext>
    </p:extLst>
  </p:cSld>
  <p:clrMapOvr>
    <a:masterClrMapping/>
  </p:clrMapOvr>
  <p:transition spd="med"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970" y="609608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930" y="302515"/>
            <a:ext cx="3715995" cy="826447"/>
          </a:xfrm>
          <a:prstGeom prst="rect">
            <a:avLst/>
          </a:prstGeom>
        </p:spPr>
        <p:txBody>
          <a:bodyPr lIns="46275" tIns="25715" rIns="46275" bIns="25715" rtlCol="0">
            <a:noAutofit/>
          </a:bodyPr>
          <a:lstStyle>
            <a:lvl1pPr algn="l" defTabSz="68555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905965" y="302506"/>
            <a:ext cx="3715995" cy="826446"/>
          </a:xfrm>
          <a:prstGeom prst="rect">
            <a:avLst/>
          </a:prstGeom>
        </p:spPr>
        <p:txBody>
          <a:bodyPr lIns="68552" tIns="34283" rIns="68552" bIns="34283" anchor="ctr" anchorCtr="0">
            <a:noAutofit/>
          </a:bodyPr>
          <a:lstStyle>
            <a:lvl1pPr marL="0" marR="0" indent="0" algn="l" defTabSz="68555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930" y="1347788"/>
            <a:ext cx="3715995" cy="3083094"/>
          </a:xfrm>
          <a:prstGeom prst="rect">
            <a:avLst/>
          </a:prstGeom>
        </p:spPr>
        <p:txBody>
          <a:bodyPr lIns="68552" tIns="34283" rIns="68552" bIns="34283">
            <a:noAutofit/>
          </a:bodyPr>
          <a:lstStyle>
            <a:lvl1pPr marL="228495" indent="-1713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86" indent="-21579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370" indent="-17137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734" indent="-17137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107" indent="-17137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905965" y="1347788"/>
            <a:ext cx="3715995" cy="3083094"/>
          </a:xfrm>
          <a:prstGeom prst="rect">
            <a:avLst/>
          </a:prstGeom>
        </p:spPr>
        <p:txBody>
          <a:bodyPr lIns="68552" tIns="34283" rIns="68552" bIns="34283">
            <a:noAutofit/>
          </a:bodyPr>
          <a:lstStyle>
            <a:lvl1pPr marL="228495" indent="-1713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86" indent="-21579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370" indent="-17137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734" indent="-17137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107" indent="-17137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2429293"/>
      </p:ext>
    </p:extLst>
  </p:cSld>
  <p:clrMapOvr>
    <a:masterClrMapping/>
  </p:clrMapOvr>
  <p:transition spd="med">
    <p:fade/>
  </p:transition>
  <p:hf hdr="0" ftr="0" dt="0"/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8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8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1973" y="228328"/>
            <a:ext cx="2337109" cy="770461"/>
          </a:xfrm>
          <a:prstGeom prst="rect">
            <a:avLst/>
          </a:prstGeom>
        </p:spPr>
        <p:txBody>
          <a:bodyPr lIns="68552" tIns="34283" rIns="68552" bIns="34283" anchor="b" anchorCtr="0">
            <a:noAutofit/>
          </a:bodyPr>
          <a:lstStyle>
            <a:lvl1pPr marL="0" marR="0" indent="0" algn="l" defTabSz="68555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77738" y="227848"/>
            <a:ext cx="2337109" cy="770461"/>
          </a:xfrm>
          <a:prstGeom prst="rect">
            <a:avLst/>
          </a:prstGeom>
        </p:spPr>
        <p:txBody>
          <a:bodyPr lIns="68552" tIns="34283" rIns="68552" bIns="34283" anchor="b" anchorCtr="0">
            <a:noAutofit/>
          </a:bodyPr>
          <a:lstStyle>
            <a:lvl1pPr marL="0" marR="0" indent="0" algn="l" defTabSz="68555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354823" y="220488"/>
            <a:ext cx="2337109" cy="770461"/>
          </a:xfrm>
          <a:prstGeom prst="rect">
            <a:avLst/>
          </a:prstGeom>
        </p:spPr>
        <p:txBody>
          <a:bodyPr lIns="68552" tIns="34283" rIns="68552" bIns="34283" anchor="b" anchorCtr="0">
            <a:noAutofit/>
          </a:bodyPr>
          <a:lstStyle>
            <a:lvl1pPr marL="0" marR="0" indent="0" algn="l" defTabSz="68555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1965" y="1201094"/>
            <a:ext cx="2337110" cy="3314904"/>
          </a:xfrm>
          <a:prstGeom prst="rect">
            <a:avLst/>
          </a:prstGeom>
        </p:spPr>
        <p:txBody>
          <a:bodyPr lIns="68552" tIns="34283" rIns="68552" bIns="34283">
            <a:noAutofit/>
          </a:bodyPr>
          <a:lstStyle>
            <a:lvl1pPr marL="233256" indent="-1713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805" indent="-17137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68552" tIns="34283" rIns="68552" bIns="34283">
            <a:noAutofit/>
          </a:bodyPr>
          <a:lstStyle>
            <a:lvl1pPr marL="233256" indent="-1713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805" indent="-17137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54814" y="1200321"/>
            <a:ext cx="2337110" cy="3314904"/>
          </a:xfrm>
          <a:prstGeom prst="rect">
            <a:avLst/>
          </a:prstGeom>
        </p:spPr>
        <p:txBody>
          <a:bodyPr lIns="68552" tIns="34283" rIns="68552" bIns="34283">
            <a:noAutofit/>
          </a:bodyPr>
          <a:lstStyle>
            <a:lvl1pPr marL="233256" indent="-1713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805" indent="-17137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60432515"/>
      </p:ext>
    </p:extLst>
  </p:cSld>
  <p:clrMapOvr>
    <a:masterClrMapping/>
  </p:clrMapOvr>
  <p:transition spd="med"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6" y="1330326"/>
            <a:ext cx="3712779" cy="31019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2" tIns="45701" rIns="91402" bIns="45701" anchor="ctr"/>
          <a:lstStyle/>
          <a:p>
            <a:pPr algn="ctr" defTabSz="457082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68552" tIns="34283" rIns="68552" bIns="34283">
            <a:noAutofit/>
          </a:bodyPr>
          <a:lstStyle>
            <a:lvl1pPr marL="85698" indent="-85698" algn="l" defTabSz="68555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698" indent="-85698" algn="l" defTabSz="68555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698" indent="-85698" algn="l" defTabSz="68555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698" indent="-85698" algn="l" defTabSz="68555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698" indent="-85698" algn="l" defTabSz="68555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148716" y="3552444"/>
            <a:ext cx="3506245" cy="253746"/>
          </a:xfrm>
          <a:prstGeom prst="rect">
            <a:avLst/>
          </a:prstGeom>
        </p:spPr>
        <p:txBody>
          <a:bodyPr lIns="68552" tIns="34283" rIns="68552" bIns="34283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76" y="1347788"/>
            <a:ext cx="3901123" cy="3083094"/>
          </a:xfrm>
          <a:prstGeom prst="rect">
            <a:avLst/>
          </a:prstGeom>
        </p:spPr>
        <p:txBody>
          <a:bodyPr lIns="68552" tIns="34283" rIns="68552" bIns="34283">
            <a:noAutofit/>
          </a:bodyPr>
          <a:lstStyle>
            <a:lvl1pPr marL="228495" indent="-1713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86" indent="-21579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370" indent="-17137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734" indent="-17137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107" indent="-17137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2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55" tIns="34283" rIns="68555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6480964"/>
      </p:ext>
    </p:extLst>
  </p:cSld>
  <p:clrMapOvr>
    <a:masterClrMapping/>
  </p:clrMapOvr>
  <p:transition spd="med"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2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55" tIns="34283" rIns="68555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5643936"/>
      </p:ext>
    </p:extLst>
  </p:cSld>
  <p:clrMapOvr>
    <a:masterClrMapping/>
  </p:clrMapOvr>
  <p:transition spd="med"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68552" tIns="34283" rIns="68552" bIns="34283" anchor="b" anchorCtr="0">
            <a:noAutofit/>
          </a:bodyPr>
          <a:lstStyle>
            <a:lvl1pPr marL="0" indent="0" algn="l" defTabSz="60342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6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556" indent="-399868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1194519"/>
      </p:ext>
    </p:extLst>
  </p:cSld>
  <p:clrMapOvr>
    <a:masterClrMapping/>
  </p:clrMapOvr>
  <p:transition spd="med"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8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4" y="1439070"/>
            <a:ext cx="3820348" cy="2265389"/>
          </a:xfrm>
        </p:spPr>
        <p:txBody>
          <a:bodyPr lIns="46277" tIns="25715" rIns="46277" bIns="25715" rtlCol="0" anchor="ctr">
            <a:noAutofit/>
          </a:bodyPr>
          <a:lstStyle>
            <a:lvl1pPr marL="0" indent="0" algn="l" defTabSz="68557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1" y="654518"/>
            <a:ext cx="3865880" cy="3840480"/>
          </a:xfrm>
          <a:prstGeom prst="rect">
            <a:avLst/>
          </a:prstGeom>
        </p:spPr>
        <p:txBody>
          <a:bodyPr lIns="68552" tIns="34283" rIns="68552" bIns="34283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486159907"/>
      </p:ext>
    </p:extLst>
  </p:cSld>
  <p:clrMapOvr>
    <a:masterClrMapping/>
  </p:clrMapOvr>
  <p:transition spd="slow">
    <p:wip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90"/>
            <a:ext cx="8345488" cy="2658728"/>
          </a:xfrm>
          <a:prstGeom prst="rect">
            <a:avLst/>
          </a:prstGeom>
        </p:spPr>
        <p:txBody>
          <a:bodyPr lIns="68552" tIns="34283" rIns="68552" bIns="34283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9" y="4148230"/>
            <a:ext cx="7180312" cy="326233"/>
          </a:xfrm>
          <a:prstGeom prst="rect">
            <a:avLst/>
          </a:prstGeom>
        </p:spPr>
        <p:txBody>
          <a:bodyPr wrap="square" lIns="68552" tIns="34283" rIns="68552" bIns="34283" anchor="b" anchorCtr="0">
            <a:noAutofit/>
          </a:bodyPr>
          <a:lstStyle>
            <a:lvl1pPr algn="l" defTabSz="60342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34132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55" tIns="34283" rIns="68555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8289913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5" y="4629179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68523" tIns="34283" rIns="68523" bIns="34283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38632681"/>
      </p:ext>
    </p:extLst>
  </p:cSld>
  <p:clrMapOvr>
    <a:masterClrMapping/>
  </p:clrMapOvr>
  <p:transition spd="slow">
    <p:wipe/>
  </p:transition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6"/>
            <a:ext cx="8345488" cy="2660650"/>
          </a:xfrm>
          <a:prstGeom prst="rect">
            <a:avLst/>
          </a:prstGeom>
        </p:spPr>
        <p:txBody>
          <a:bodyPr vert="horz" lIns="68552" tIns="34283" rIns="68552" bIns="34283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9" y="4148230"/>
            <a:ext cx="7180312" cy="326233"/>
          </a:xfrm>
          <a:prstGeom prst="rect">
            <a:avLst/>
          </a:prstGeom>
        </p:spPr>
        <p:txBody>
          <a:bodyPr wrap="square" lIns="68552" tIns="34283" rIns="68552" bIns="34283" anchor="b" anchorCtr="0">
            <a:noAutofit/>
          </a:bodyPr>
          <a:lstStyle>
            <a:lvl1pPr algn="l" defTabSz="60342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2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55" tIns="34283" rIns="68555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86536467"/>
      </p:ext>
    </p:extLst>
  </p:cSld>
  <p:clrMapOvr>
    <a:masterClrMapping/>
  </p:clrMapOvr>
  <p:transition spd="med"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8" y="1349456"/>
            <a:ext cx="4007001" cy="3040773"/>
          </a:xfrm>
          <a:prstGeom prst="rect">
            <a:avLst/>
          </a:prstGeom>
        </p:spPr>
        <p:txBody>
          <a:bodyPr lIns="68552" tIns="34283" rIns="68552" bIns="34283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84"/>
            <a:ext cx="4073346" cy="3039397"/>
          </a:xfrm>
          <a:prstGeom prst="rect">
            <a:avLst/>
          </a:prstGeom>
        </p:spPr>
        <p:txBody>
          <a:bodyPr vert="horz" lIns="68552" tIns="34283" rIns="68552" bIns="34283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2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55" tIns="34283" rIns="68555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6073126"/>
      </p:ext>
    </p:extLst>
  </p:cSld>
  <p:clrMapOvr>
    <a:masterClrMapping/>
  </p:clrMapOvr>
  <p:transition spd="med"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8" y="1349354"/>
            <a:ext cx="4003995" cy="3040875"/>
          </a:xfrm>
          <a:prstGeom prst="rect">
            <a:avLst/>
          </a:prstGeom>
        </p:spPr>
        <p:txBody>
          <a:bodyPr lIns="68552" tIns="34283" rIns="68552" bIns="34283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68552" tIns="34283" rIns="68552" bIns="34283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2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55" tIns="34283" rIns="68555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7133826"/>
      </p:ext>
    </p:extLst>
  </p:cSld>
  <p:clrMapOvr>
    <a:masterClrMapping/>
  </p:clrMapOvr>
  <p:transition spd="med"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 userDrawn="1"/>
        </p:nvSpPr>
        <p:spPr>
          <a:xfrm>
            <a:off x="6085117" y="1622395"/>
            <a:ext cx="2318564" cy="2318564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7" tIns="34289" rIns="68567" bIns="34289" rtlCol="0" anchor="ctr"/>
          <a:lstStyle/>
          <a:p>
            <a:pPr algn="ctr" defTabSz="45708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Oval 3"/>
          <p:cNvSpPr/>
          <p:nvPr userDrawn="1"/>
        </p:nvSpPr>
        <p:spPr>
          <a:xfrm>
            <a:off x="3423232" y="1622395"/>
            <a:ext cx="2318564" cy="2318564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7" tIns="34289" rIns="68567" bIns="34289" rtlCol="0" anchor="ctr"/>
          <a:lstStyle/>
          <a:p>
            <a:pPr algn="ctr" defTabSz="45708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764272" y="1622395"/>
            <a:ext cx="2318564" cy="2318564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7" tIns="34289" rIns="68567" bIns="34289" rtlCol="0" anchor="ctr"/>
          <a:lstStyle/>
          <a:p>
            <a:pPr algn="ctr" defTabSz="45708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777486" y="2800152"/>
            <a:ext cx="2292136" cy="603661"/>
          </a:xfrm>
          <a:prstGeom prst="rect">
            <a:avLst/>
          </a:prstGeom>
        </p:spPr>
        <p:txBody>
          <a:bodyPr lIns="68552" tIns="34283" rIns="68552" bIns="34283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436446" y="2798205"/>
            <a:ext cx="2292136" cy="603661"/>
          </a:xfrm>
          <a:prstGeom prst="rect">
            <a:avLst/>
          </a:prstGeom>
        </p:spPr>
        <p:txBody>
          <a:bodyPr lIns="68552" tIns="34283" rIns="68552" bIns="34283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098331" y="2798205"/>
            <a:ext cx="2292136" cy="603661"/>
          </a:xfrm>
          <a:prstGeom prst="rect">
            <a:avLst/>
          </a:prstGeom>
        </p:spPr>
        <p:txBody>
          <a:bodyPr lIns="68552" tIns="34283" rIns="68552" bIns="34283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 lIns="68567" tIns="34289" rIns="68567" bIns="34289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 lIns="68567" tIns="34289" rIns="68567" bIns="34289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 lIns="68567" tIns="34289" rIns="68567" bIns="34289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5094139"/>
      </p:ext>
    </p:extLst>
  </p:cSld>
  <p:clrMapOvr>
    <a:masterClrMapping/>
  </p:clrMapOvr>
  <p:transition spd="slow">
    <p:wip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 userDrawn="1"/>
        </p:nvSpPr>
        <p:spPr>
          <a:xfrm>
            <a:off x="774831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64" tIns="34289" rIns="68564" bIns="34289" anchor="ctr"/>
          <a:lstStyle/>
          <a:p>
            <a:pPr algn="ctr" defTabSz="685647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44" name="Oval 43"/>
          <p:cNvSpPr/>
          <p:nvPr userDrawn="1"/>
        </p:nvSpPr>
        <p:spPr>
          <a:xfrm>
            <a:off x="3422849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64" tIns="34289" rIns="68564" bIns="34289" anchor="ctr"/>
          <a:lstStyle/>
          <a:p>
            <a:pPr algn="ctr" defTabSz="685647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45" name="Oval 44"/>
          <p:cNvSpPr/>
          <p:nvPr userDrawn="1"/>
        </p:nvSpPr>
        <p:spPr>
          <a:xfrm>
            <a:off x="6087369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64" tIns="34289" rIns="68564" bIns="34289" anchor="ctr"/>
          <a:lstStyle/>
          <a:p>
            <a:pPr algn="ctr" defTabSz="685647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2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55" tIns="34283" rIns="68555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68555" tIns="34283" rIns="68555" bIns="34283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68555" tIns="34283" rIns="68555" bIns="34283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68555" tIns="34283" rIns="68555" bIns="34283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788799" y="3873148"/>
            <a:ext cx="2292136" cy="603661"/>
          </a:xfrm>
          <a:prstGeom prst="rect">
            <a:avLst/>
          </a:prstGeom>
        </p:spPr>
        <p:txBody>
          <a:bodyPr lIns="68552" tIns="34283" rIns="68552" bIns="34283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436818" y="3871201"/>
            <a:ext cx="2292136" cy="603661"/>
          </a:xfrm>
          <a:prstGeom prst="rect">
            <a:avLst/>
          </a:prstGeom>
        </p:spPr>
        <p:txBody>
          <a:bodyPr lIns="68552" tIns="34283" rIns="68552" bIns="34283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101337" y="3871201"/>
            <a:ext cx="2292136" cy="603661"/>
          </a:xfrm>
          <a:prstGeom prst="rect">
            <a:avLst/>
          </a:prstGeom>
        </p:spPr>
        <p:txBody>
          <a:bodyPr lIns="68552" tIns="34283" rIns="68552" bIns="34283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325529847"/>
      </p:ext>
    </p:extLst>
  </p:cSld>
  <p:clrMapOvr>
    <a:masterClrMapping/>
  </p:clrMapOvr>
  <p:transition spd="slow">
    <p:wip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5" y="462916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68552" tIns="34283" rIns="68552" bIns="34283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00064" y="3484021"/>
            <a:ext cx="8139112" cy="505908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80982" tIns="0" rIns="68567" bIns="34289" numCol="1" anchor="ctr" anchorCtr="0" compatLnSpc="1">
            <a:prstTxWarp prst="textNoShape">
              <a:avLst/>
            </a:prstTxWarp>
            <a:spAutoFit/>
          </a:bodyPr>
          <a:lstStyle>
            <a:lvl1pPr marL="172760" indent="0">
              <a:lnSpc>
                <a:spcPts val="3680"/>
              </a:lnSpc>
              <a:spcBef>
                <a:spcPts val="0"/>
              </a:spcBef>
              <a:buNone/>
              <a:defRPr sz="24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058546757"/>
      </p:ext>
    </p:extLst>
  </p:cSld>
  <p:clrMapOvr>
    <a:masterClrMapping/>
  </p:clrMapOvr>
  <p:transition spd="slow">
    <p:wip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4" y="301047"/>
            <a:ext cx="8563172" cy="2542175"/>
          </a:xfrm>
          <a:prstGeom prst="rect">
            <a:avLst/>
          </a:prstGeom>
        </p:spPr>
        <p:txBody>
          <a:bodyPr vert="horz" lIns="68552" tIns="34283" rIns="68552" bIns="34283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6" y="3054527"/>
            <a:ext cx="8364236" cy="537119"/>
          </a:xfrm>
          <a:prstGeom prst="rect">
            <a:avLst/>
          </a:prstGeom>
        </p:spPr>
        <p:txBody>
          <a:bodyPr vert="horz" wrap="square" lIns="68567" tIns="34289" rIns="68567" bIns="34289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095248936"/>
      </p:ext>
    </p:extLst>
  </p:cSld>
  <p:clrMapOvr>
    <a:masterClrMapping/>
  </p:clrMapOvr>
  <p:transition spd="slow">
    <p:wip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5" y="462916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68552" tIns="34283" rIns="68552" bIns="34283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56962592"/>
      </p:ext>
    </p:extLst>
  </p:cSld>
  <p:clrMapOvr>
    <a:masterClrMapping/>
  </p:clrMapOvr>
  <p:transition spd="slow">
    <p:wipe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3"/>
            <a:ext cx="8480388" cy="4266646"/>
          </a:xfrm>
          <a:prstGeom prst="rect">
            <a:avLst/>
          </a:prstGeom>
        </p:spPr>
        <p:txBody>
          <a:bodyPr vert="horz" lIns="68555" tIns="34283" rIns="68555" bIns="34283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14998433"/>
      </p:ext>
    </p:extLst>
  </p:cSld>
  <p:clrMapOvr>
    <a:masterClrMapping/>
  </p:clrMapOvr>
  <p:transition spd="slow">
    <p:wipe/>
  </p:transition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2" y="596901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9" rIns="68564" bIns="34289" anchor="ctr"/>
          <a:lstStyle/>
          <a:p>
            <a:pPr algn="ctr" defTabSz="457082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1" y="3595689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9" rIns="68564" bIns="34289" anchor="ctr"/>
          <a:lstStyle/>
          <a:p>
            <a:pPr algn="ctr" defTabSz="457082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40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68555" tIns="34283" rIns="68555" bIns="34283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065873" y="3655079"/>
            <a:ext cx="5074070" cy="628650"/>
          </a:xfrm>
        </p:spPr>
        <p:txBody>
          <a:bodyPr anchor="ctr"/>
          <a:lstStyle>
            <a:lvl1pPr>
              <a:defRPr sz="2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74409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525" y="3793227"/>
            <a:ext cx="8296421" cy="288131"/>
          </a:xfrm>
          <a:prstGeom prst="rect">
            <a:avLst/>
          </a:prstGeom>
        </p:spPr>
        <p:txBody>
          <a:bodyPr lIns="68523" tIns="34283" rIns="68523" bIns="34283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0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6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08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525" y="4033224"/>
            <a:ext cx="8296421" cy="288131"/>
          </a:xfrm>
          <a:prstGeom prst="rect">
            <a:avLst/>
          </a:prstGeom>
        </p:spPr>
        <p:txBody>
          <a:bodyPr lIns="68523" tIns="34283" rIns="68523" bIns="34283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525" y="4273221"/>
            <a:ext cx="8296421" cy="288131"/>
          </a:xfrm>
          <a:prstGeom prst="rect">
            <a:avLst/>
          </a:prstGeom>
        </p:spPr>
        <p:txBody>
          <a:bodyPr lIns="68523" tIns="34283" rIns="68523" bIns="34283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321" y="3211463"/>
            <a:ext cx="8302625" cy="299001"/>
          </a:xfrm>
          <a:prstGeom prst="rect">
            <a:avLst/>
          </a:prstGeom>
        </p:spPr>
        <p:txBody>
          <a:bodyPr lIns="68523" tIns="34283" rIns="68523" bIns="34283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564" indent="0">
              <a:buNone/>
              <a:defRPr/>
            </a:lvl2pPr>
            <a:lvl3pPr marL="427097" indent="0">
              <a:buNone/>
              <a:defRPr/>
            </a:lvl3pPr>
            <a:lvl4pPr marL="516317" indent="0">
              <a:buNone/>
              <a:defRPr/>
            </a:lvl4pPr>
            <a:lvl5pPr marL="600786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7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92560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3"/>
            <a:ext cx="8480388" cy="4266646"/>
          </a:xfrm>
          <a:prstGeom prst="rect">
            <a:avLst/>
          </a:prstGeom>
        </p:spPr>
        <p:txBody>
          <a:bodyPr vert="horz" lIns="68526" tIns="34283" rIns="68526" bIns="34283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88183788"/>
      </p:ext>
    </p:extLst>
  </p:cSld>
  <p:clrMapOvr>
    <a:masterClrMapping/>
  </p:clrMapOvr>
  <p:transition spd="slow">
    <p:wipe/>
  </p:transition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810" y="233373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9" rIns="68564" bIns="34289" anchor="ctr"/>
          <a:lstStyle/>
          <a:p>
            <a:pPr algn="ctr" defTabSz="457082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51424" tIns="25715" rIns="51424" bIns="25715" rtlCol="0" anchor="ctr" anchorCtr="0">
            <a:normAutofit/>
          </a:bodyPr>
          <a:lstStyle>
            <a:lvl1pPr marL="0" indent="0" algn="ctr" defTabSz="68560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0945" y="2480703"/>
            <a:ext cx="6729865" cy="1614419"/>
          </a:xfrm>
        </p:spPr>
        <p:txBody>
          <a:bodyPr>
            <a:noAutofit/>
          </a:bodyPr>
          <a:lstStyle>
            <a:lvl1pPr marL="0" marR="0" indent="0" algn="l" defTabSz="68560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2343033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609"/>
            <a:ext cx="3630612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9" rIns="68564" bIns="34289" anchor="ctr"/>
          <a:lstStyle/>
          <a:p>
            <a:pPr algn="ctr" defTabSz="457082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5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68555" tIns="34283" rIns="68555" bIns="34283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7670" y="546744"/>
            <a:ext cx="4349918" cy="813985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01621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73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1" tIns="34286" rIns="68561" bIns="34286" anchor="ctr"/>
          <a:lstStyle/>
          <a:p>
            <a:pPr algn="ctr" defTabSz="457082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73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1" tIns="34286" rIns="68561" bIns="34286" anchor="ctr"/>
          <a:lstStyle/>
          <a:p>
            <a:pPr algn="ctr" defTabSz="457082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40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1" tIns="34286" rIns="68561" bIns="34286" anchor="ctr"/>
          <a:lstStyle/>
          <a:p>
            <a:pPr algn="ctr" defTabSz="457082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73" y="2271723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1" tIns="34286" rIns="68561" bIns="34286" anchor="ctr"/>
          <a:lstStyle/>
          <a:p>
            <a:pPr algn="ctr" defTabSz="457082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7" y="2271723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1" tIns="34286" rIns="68561" bIns="34286" anchor="ctr"/>
          <a:lstStyle/>
          <a:p>
            <a:pPr algn="ctr" defTabSz="457082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40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1" tIns="34286" rIns="68561" bIns="34286" anchor="ctr"/>
          <a:lstStyle/>
          <a:p>
            <a:pPr algn="ctr" defTabSz="457082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40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1" tIns="34286" rIns="68561" bIns="34286" anchor="ctr"/>
          <a:lstStyle/>
          <a:p>
            <a:pPr algn="ctr" defTabSz="457082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6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22" tIns="25715" rIns="51422" bIns="25715" rtlCol="0" anchor="ctr" anchorCtr="0">
            <a:normAutofit/>
          </a:bodyPr>
          <a:lstStyle>
            <a:lvl1pPr marL="0" indent="0" algn="ctr" defTabSz="68557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22" tIns="25715" rIns="51422" bIns="25715" rtlCol="0" anchor="ctr" anchorCtr="0">
            <a:normAutofit/>
          </a:bodyPr>
          <a:lstStyle>
            <a:lvl1pPr marL="0" indent="0" algn="ctr" defTabSz="68557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22" tIns="25715" rIns="51422" bIns="25715" rtlCol="0" anchor="ctr" anchorCtr="0">
            <a:normAutofit/>
          </a:bodyPr>
          <a:lstStyle>
            <a:lvl1pPr marL="0" indent="0" algn="ctr" defTabSz="68557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28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22" tIns="25715" rIns="51422" bIns="25715" rtlCol="0" anchor="ctr" anchorCtr="0">
            <a:normAutofit/>
          </a:bodyPr>
          <a:lstStyle>
            <a:lvl1pPr marL="0" indent="0" algn="ctr" defTabSz="68557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6" y="2271728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22" tIns="25715" rIns="51422" bIns="25715" rtlCol="0" anchor="ctr" anchorCtr="0">
            <a:normAutofit/>
          </a:bodyPr>
          <a:lstStyle>
            <a:lvl1pPr marL="0" indent="0" algn="ctr" defTabSz="68557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22" tIns="25715" rIns="51422" bIns="25715" rtlCol="0" anchor="ctr" anchorCtr="0">
            <a:normAutofit/>
          </a:bodyPr>
          <a:lstStyle>
            <a:lvl1pPr marL="0" indent="0" algn="ctr" defTabSz="68557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22" tIns="25715" rIns="51422" bIns="25715" rtlCol="0" anchor="ctr" anchorCtr="0">
            <a:normAutofit/>
          </a:bodyPr>
          <a:lstStyle>
            <a:lvl1pPr marL="0" indent="0" algn="ctr" defTabSz="68557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673245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31267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48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51422" tIns="25715" rIns="51422" bIns="25715" rtlCol="0" anchor="ctr">
            <a:normAutofit/>
          </a:bodyPr>
          <a:lstStyle>
            <a:lvl1pPr marL="0" indent="0" algn="ctr" defTabSz="68557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011165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51422" tIns="25715" rIns="51422" bIns="25715" rtlCol="0" anchor="ctr">
            <a:normAutofit/>
          </a:bodyPr>
          <a:lstStyle>
            <a:lvl1pPr marL="0" indent="0" algn="ctr" defTabSz="68557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203041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098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240294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441" y="1216"/>
            <a:ext cx="1440" cy="1214"/>
          </a:xfrm>
          <a:prstGeom prst="rect">
            <a:avLst/>
          </a:prstGeom>
          <a:noFill/>
        </p:spPr>
      </p:pic>
      <p:pic>
        <p:nvPicPr>
          <p:cNvPr id="17643" name="Picture 23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82607" y="2669644"/>
            <a:ext cx="6422194" cy="523220"/>
          </a:xfrm>
          <a:prstGeom prst="rect">
            <a:avLst/>
          </a:prstGeom>
          <a:ln>
            <a:noFill/>
          </a:ln>
        </p:spPr>
        <p:txBody>
          <a:bodyPr anchor="b"/>
          <a:lstStyle>
            <a:lvl1pPr algn="l">
              <a:defRPr sz="3400" b="0" baseline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82607" y="3231472"/>
            <a:ext cx="6422194" cy="311624"/>
          </a:xfrm>
          <a:ln>
            <a:noFill/>
          </a:ln>
        </p:spPr>
        <p:txBody>
          <a:bodyPr wrap="square">
            <a:spAutoFit/>
          </a:bodyPr>
          <a:lstStyle>
            <a:lvl1pPr algn="l">
              <a:defRPr sz="2000" baseline="0">
                <a:latin typeface="+mn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US" altLang="ja-JP" noProof="0" smtClean="0"/>
              <a:t>Click to edit Master subtitle style</a:t>
            </a:r>
            <a:endParaRPr lang="en-US" altLang="ja-JP" noProof="0" dirty="0" smtClean="0"/>
          </a:p>
        </p:txBody>
      </p:sp>
      <p:grpSp>
        <p:nvGrpSpPr>
          <p:cNvPr id="3" name="McK Title Elements" hidden="1"/>
          <p:cNvGrpSpPr/>
          <p:nvPr userDrawn="1"/>
        </p:nvGrpSpPr>
        <p:grpSpPr bwMode="auto">
          <a:xfrm>
            <a:off x="482607" y="4095874"/>
            <a:ext cx="4935538" cy="490970"/>
            <a:chOff x="2640013" y="4927383"/>
            <a:chExt cx="4935538" cy="490971"/>
          </a:xfrm>
        </p:grpSpPr>
        <p:sp>
          <p:nvSpPr>
            <p:cNvPr id="18" name="McK Document type"/>
            <p:cNvSpPr txBox="1">
              <a:spLocks noChangeArrowheads="1"/>
            </p:cNvSpPr>
            <p:nvPr userDrawn="1"/>
          </p:nvSpPr>
          <p:spPr bwMode="auto">
            <a:xfrm>
              <a:off x="2640013" y="4927383"/>
              <a:ext cx="4935538" cy="2192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271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676767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9" name="McK Date"/>
            <p:cNvSpPr txBox="1">
              <a:spLocks noChangeArrowheads="1"/>
            </p:cNvSpPr>
            <p:nvPr userDrawn="1"/>
          </p:nvSpPr>
          <p:spPr bwMode="auto">
            <a:xfrm>
              <a:off x="2640013" y="5199063"/>
              <a:ext cx="4935538" cy="2192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271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676767"/>
                  </a:solidFill>
                  <a:latin typeface="Arial"/>
                </a:rPr>
                <a:t>Date</a:t>
              </a:r>
            </a:p>
          </p:txBody>
        </p:sp>
      </p:grpSp>
      <p:pic>
        <p:nvPicPr>
          <p:cNvPr id="15" name="Picture 8" descr="logo_black.ai"/>
          <p:cNvPicPr>
            <a:picLocks noChangeAspect="1"/>
          </p:cNvPicPr>
          <p:nvPr userDrawn="1"/>
        </p:nvPicPr>
        <p:blipFill>
          <a:blip r:embed="rId4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55" y="320677"/>
            <a:ext cx="9493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91415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92" y="1192"/>
            <a:ext cx="1190" cy="1190"/>
          </a:xfrm>
          <a:prstGeom prst="rect">
            <a:avLst/>
          </a:prstGeom>
          <a:noFill/>
        </p:spPr>
      </p:pic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</p:spTree>
    <p:extLst>
      <p:ext uri="{BB962C8B-B14F-4D97-AF65-F5344CB8AC3E}">
        <p14:creationId xmlns:p14="http://schemas.microsoft.com/office/powerpoint/2010/main" val="4099433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9" y="1589"/>
            <a:ext cx="1587" cy="1587"/>
          </a:xfrm>
          <a:prstGeom prst="rect">
            <a:avLst/>
          </a:prstGeom>
          <a:noFill/>
        </p:spPr>
      </p:pic>
      <p:pic>
        <p:nvPicPr>
          <p:cNvPr id="34818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-1588"/>
            <a:ext cx="9144000" cy="51435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 descr="pref_1-line_logo+tagline-rt-white-CMYK.ai"/>
          <p:cNvPicPr>
            <a:picLocks noChangeAspect="1"/>
          </p:cNvPicPr>
          <p:nvPr userDrawn="1"/>
        </p:nvPicPr>
        <p:blipFill>
          <a:blip r:embed="rId4">
            <a:duotone>
              <a:prstClr val="black"/>
              <a:schemeClr val="accent3">
                <a:tint val="45000"/>
                <a:satMod val="400000"/>
              </a:schemeClr>
            </a:duotone>
            <a:lum bright="-100000" contrast="-100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91745" y="1643634"/>
            <a:ext cx="8760510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992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2" y="596901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5" tIns="34289" rIns="68535" bIns="34289" anchor="ctr"/>
          <a:lstStyle/>
          <a:p>
            <a:pPr algn="ctr" defTabSz="685324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1" y="3595689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5" tIns="34289" rIns="68535" bIns="34289" anchor="ctr"/>
          <a:lstStyle/>
          <a:p>
            <a:pPr algn="ctr" defTabSz="685324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40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68526" tIns="34283" rIns="68526" bIns="34283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065873" y="3655079"/>
            <a:ext cx="5074070" cy="628650"/>
          </a:xfrm>
        </p:spPr>
        <p:txBody>
          <a:bodyPr anchor="ctr"/>
          <a:lstStyle>
            <a:lvl1pPr>
              <a:defRPr sz="2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2163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3488677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513046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12813" y="228600"/>
            <a:ext cx="7435849" cy="338554"/>
          </a:xfrm>
        </p:spPr>
        <p:txBody>
          <a:bodyPr/>
          <a:lstStyle/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812812" y="1200154"/>
            <a:ext cx="3549649" cy="33944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200"/>
            </a:lvl3pPr>
            <a:lvl4pPr>
              <a:defRPr sz="900"/>
            </a:lvl4pPr>
            <a:lvl5pPr>
              <a:defRPr sz="9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79958" y="1200154"/>
            <a:ext cx="3549649" cy="33944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200"/>
            </a:lvl3pPr>
            <a:lvl4pPr>
              <a:defRPr sz="900"/>
            </a:lvl4pPr>
            <a:lvl5pPr>
              <a:defRPr sz="9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812813" y="889907"/>
            <a:ext cx="7435849" cy="285750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buFontTx/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Subtitle Goes Here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812808" y="4837033"/>
            <a:ext cx="7461250" cy="173124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algn="l" defTabSz="603562">
              <a:lnSpc>
                <a:spcPct val="100000"/>
              </a:lnSpc>
              <a:spcBef>
                <a:spcPct val="50000"/>
              </a:spcBef>
              <a:buNone/>
              <a:defRPr sz="1100"/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 smtClean="0"/>
              <a:t>Source: Placeholder for Notes Is 14 Points</a:t>
            </a:r>
          </a:p>
        </p:txBody>
      </p:sp>
    </p:spTree>
    <p:extLst>
      <p:ext uri="{BB962C8B-B14F-4D97-AF65-F5344CB8AC3E}">
        <p14:creationId xmlns:p14="http://schemas.microsoft.com/office/powerpoint/2010/main" val="241888601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8541011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1670845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3466716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347000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 Slid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9715" y="253750"/>
            <a:ext cx="8588861" cy="332399"/>
          </a:xfrm>
        </p:spPr>
        <p:txBody>
          <a:bodyPr/>
          <a:lstStyle>
            <a:lvl1pPr algn="l" defTabSz="914157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2700" b="0" kern="1200" spc="0" baseline="0" dirty="0">
                <a:gradFill flip="none" rotWithShape="1">
                  <a:gsLst>
                    <a:gs pos="99000">
                      <a:schemeClr val="accent4"/>
                    </a:gs>
                    <a:gs pos="41000">
                      <a:srgbClr val="01BBBB"/>
                    </a:gs>
                    <a:gs pos="0">
                      <a:schemeClr val="accent1"/>
                    </a:gs>
                  </a:gsLst>
                  <a:lin ang="4800000" scaled="0"/>
                  <a:tileRect/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228600" y="870966"/>
            <a:ext cx="8610600" cy="342900"/>
          </a:xfrm>
          <a:prstGeom prst="rect">
            <a:avLst/>
          </a:prstGeom>
        </p:spPr>
        <p:txBody>
          <a:bodyPr lIns="51438" tIns="25721" rIns="51438" bIns="25721">
            <a:noAutofit/>
          </a:bodyPr>
          <a:lstStyle>
            <a:lvl1pPr marL="0" indent="0">
              <a:buNone/>
              <a:defRPr sz="2300" spc="-50" baseline="0"/>
            </a:lvl1pPr>
          </a:lstStyle>
          <a:p>
            <a:pPr lvl="0"/>
            <a:r>
              <a:rPr lang="en-US" dirty="0" smtClean="0"/>
              <a:t>Slide Subtitl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4766738"/>
            <a:ext cx="9144000" cy="1608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3" tIns="34292" rIns="68583" bIns="34292" rtlCol="0" anchor="ctr"/>
          <a:lstStyle/>
          <a:p>
            <a:pPr algn="ctr" defTabSz="457133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6899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6689" y="145949"/>
            <a:ext cx="6470650" cy="219291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400" b="0" kern="0" dirty="0">
                <a:latin typeface="+mj-lt"/>
                <a:ea typeface="+mj-ea"/>
              </a:defRPr>
            </a:lvl1pPr>
          </a:lstStyle>
          <a:p>
            <a:pPr lvl="0">
              <a:tabLst>
                <a:tab pos="303391" algn="l"/>
              </a:tabLst>
            </a:pPr>
            <a:r>
              <a:rPr lang="en-US" dirty="0" smtClean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2209415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73" y="1347788"/>
            <a:ext cx="3901123" cy="3083094"/>
          </a:xfrm>
          <a:prstGeom prst="rect">
            <a:avLst/>
          </a:prstGeom>
        </p:spPr>
        <p:txBody>
          <a:bodyPr lIns="68562" tIns="34283" rIns="68562" bIns="34283">
            <a:noAutofit/>
          </a:bodyPr>
          <a:lstStyle>
            <a:lvl1pPr marL="228531" indent="-171399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58" indent="-21583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460" indent="-171399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854" indent="-171399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251" indent="-171399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68562" tIns="34283" rIns="68562" bIns="34283">
            <a:noAutofit/>
          </a:bodyPr>
          <a:lstStyle>
            <a:lvl1pPr marL="228531" indent="-171399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58" indent="-21583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460" indent="-171399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854" indent="-171399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251" indent="-171399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03371"/>
            <a:ext cx="8345488" cy="40774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65" tIns="34283" rIns="68565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6715142"/>
      </p:ext>
    </p:extLst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829" y="233392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5" tIns="34289" rIns="68535" bIns="34289" anchor="ctr"/>
          <a:lstStyle/>
          <a:p>
            <a:pPr algn="ctr" defTabSz="685324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51405" tIns="25715" rIns="51405" bIns="25715" rtlCol="0" anchor="ctr" anchorCtr="0">
            <a:normAutofit/>
          </a:bodyPr>
          <a:lstStyle>
            <a:lvl1pPr marL="0" indent="0" algn="ctr" defTabSz="685284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0964" y="2480722"/>
            <a:ext cx="6729865" cy="1614419"/>
          </a:xfrm>
        </p:spPr>
        <p:txBody>
          <a:bodyPr>
            <a:noAutofit/>
          </a:bodyPr>
          <a:lstStyle>
            <a:lvl1pPr marL="0" marR="0" indent="0" algn="l" defTabSz="685284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333006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3746662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9870849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4" y="1347788"/>
            <a:ext cx="8277344" cy="3168210"/>
          </a:xfrm>
          <a:prstGeom prst="rect">
            <a:avLst/>
          </a:prstGeom>
        </p:spPr>
        <p:txBody>
          <a:bodyPr lIns="68576" tIns="34289" rIns="68576" bIns="34289">
            <a:noAutofit/>
          </a:bodyPr>
          <a:lstStyle>
            <a:lvl1pPr marL="280633" indent="-223556">
              <a:lnSpc>
                <a:spcPct val="95000"/>
              </a:lnSpc>
              <a:spcBef>
                <a:spcPts val="1109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362" indent="-215627">
              <a:lnSpc>
                <a:spcPct val="95000"/>
              </a:lnSpc>
              <a:spcBef>
                <a:spcPts val="449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6774" indent="-171237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079" indent="-171237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1315" indent="-16806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03364"/>
            <a:ext cx="8345488" cy="40775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79" tIns="34289" rIns="68579" bIns="3428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461031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uck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572" y="-5997"/>
            <a:ext cx="9153144" cy="5155499"/>
          </a:xfrm>
          <a:prstGeom prst="rect">
            <a:avLst/>
          </a:prstGeom>
        </p:spPr>
      </p:pic>
      <p:pic>
        <p:nvPicPr>
          <p:cNvPr id="15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6050" y="320677"/>
            <a:ext cx="948131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9" y="3793201"/>
            <a:ext cx="8296421" cy="288131"/>
          </a:xfrm>
          <a:prstGeom prst="rect">
            <a:avLst/>
          </a:prstGeom>
        </p:spPr>
        <p:txBody>
          <a:bodyPr lIns="68562" tIns="34283" rIns="68562" bIns="34283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4D4D4D"/>
                </a:solidFill>
                <a:latin typeface="+mn-lt"/>
                <a:cs typeface="CiscoSans"/>
              </a:defRPr>
            </a:lvl1pPr>
            <a:lvl2pPr marL="342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1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8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9" y="4078554"/>
            <a:ext cx="8296421" cy="288131"/>
          </a:xfrm>
          <a:prstGeom prst="rect">
            <a:avLst/>
          </a:prstGeom>
        </p:spPr>
        <p:txBody>
          <a:bodyPr lIns="68562" tIns="34283" rIns="68562" bIns="34283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9" y="4363907"/>
            <a:ext cx="8296421" cy="288131"/>
          </a:xfrm>
          <a:prstGeom prst="rect">
            <a:avLst/>
          </a:prstGeom>
        </p:spPr>
        <p:txBody>
          <a:bodyPr lIns="68562" tIns="34283" rIns="68562" bIns="34283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5" y="3211466"/>
            <a:ext cx="8302625" cy="407741"/>
          </a:xfrm>
          <a:prstGeom prst="rect">
            <a:avLst/>
          </a:prstGeom>
        </p:spPr>
        <p:txBody>
          <a:bodyPr lIns="68562" tIns="34283" rIns="68562" bIns="34283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759" indent="0">
              <a:buNone/>
              <a:defRPr/>
            </a:lvl2pPr>
            <a:lvl3pPr marL="427370" indent="0">
              <a:buNone/>
              <a:defRPr/>
            </a:lvl3pPr>
            <a:lvl4pPr marL="516655" indent="0">
              <a:buNone/>
              <a:defRPr/>
            </a:lvl4pPr>
            <a:lvl5pPr marL="601176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7" y="1844410"/>
            <a:ext cx="8340152" cy="1440299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75807"/>
      </p:ext>
    </p:extLst>
  </p:cSld>
  <p:clrMapOvr>
    <a:masterClrMapping/>
  </p:clrMapOvr>
  <p:transition spd="slow">
    <p:wipe/>
  </p:transition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ject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93" y="1192"/>
            <a:ext cx="1191" cy="119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9709" y="1004812"/>
            <a:ext cx="8551441" cy="1300106"/>
          </a:xfrm>
          <a:prstGeom prst="rect">
            <a:avLst/>
          </a:prstGeom>
        </p:spPr>
        <p:txBody>
          <a:bodyPr lIns="68565" tIns="34283" rIns="68565" bIns="3428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595025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7" y="3793199"/>
            <a:ext cx="8296421" cy="288131"/>
          </a:xfrm>
          <a:prstGeom prst="rect">
            <a:avLst/>
          </a:prstGeom>
        </p:spPr>
        <p:txBody>
          <a:bodyPr lIns="68565" tIns="34283" rIns="68565" bIns="34283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7" y="4033196"/>
            <a:ext cx="8296421" cy="288131"/>
          </a:xfrm>
          <a:prstGeom prst="rect">
            <a:avLst/>
          </a:prstGeom>
        </p:spPr>
        <p:txBody>
          <a:bodyPr lIns="68565" tIns="34283" rIns="68565" bIns="34283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7" y="4273193"/>
            <a:ext cx="8296421" cy="288131"/>
          </a:xfrm>
          <a:prstGeom prst="rect">
            <a:avLst/>
          </a:prstGeom>
        </p:spPr>
        <p:txBody>
          <a:bodyPr lIns="68565" tIns="34283" rIns="68565" bIns="34283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3" y="3211463"/>
            <a:ext cx="8302625" cy="299001"/>
          </a:xfrm>
          <a:prstGeom prst="rect">
            <a:avLst/>
          </a:prstGeom>
        </p:spPr>
        <p:txBody>
          <a:bodyPr lIns="68565" tIns="34283" rIns="68565" bIns="34283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46969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pPr defTabSz="457189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pPr defTabSz="457189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16" y="3209551"/>
            <a:ext cx="4684867" cy="288131"/>
          </a:xfrm>
          <a:prstGeom prst="rect">
            <a:avLst/>
          </a:prstGeom>
        </p:spPr>
        <p:txBody>
          <a:bodyPr vert="horz" lIns="51431" tIns="25716" rIns="51431" bIns="25716" rtlCol="0">
            <a:noAutofit/>
          </a:bodyPr>
          <a:lstStyle>
            <a:lvl1pPr marL="0" indent="0" algn="l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428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26" y="2462028"/>
            <a:ext cx="4712557" cy="766763"/>
          </a:xfrm>
        </p:spPr>
        <p:txBody>
          <a:bodyPr lIns="46286" tIns="25716" rIns="46286" bIns="25716" rtlCol="0" anchor="b">
            <a:noAutofit/>
          </a:bodyPr>
          <a:lstStyle>
            <a:lvl1pPr marL="0" indent="0" algn="l" defTabSz="68573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68565" tIns="34283" rIns="68565" bIns="34283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75817620"/>
      </p:ext>
    </p:extLst>
  </p:cSld>
  <p:clrMapOvr>
    <a:masterClrMapping/>
  </p:clrMapOvr>
  <p:transition spd="slow">
    <p:wipe/>
  </p:transition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970" y="4742907"/>
            <a:ext cx="218151" cy="1545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cs typeface="CiscoSans Thin"/>
              </a:rPr>
              <a:pPr algn="r" defTabSz="610729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741654"/>
            <a:ext cx="2658018" cy="154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29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2014  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40776233"/>
      </p:ext>
    </p:extLst>
  </p:cSld>
  <p:clrMapOvr>
    <a:masterClrMapping/>
  </p:clrMapOvr>
  <p:transition spd="med">
    <p:fade/>
  </p:transition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pPr defTabSz="457189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pPr defTabSz="457189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3855639"/>
      </p:ext>
    </p:extLst>
  </p:cSld>
  <p:clrMapOvr>
    <a:masterClrMapping/>
  </p:clrMapOvr>
  <p:transition spd="med">
    <p:fade/>
  </p:transition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4662" y="1347789"/>
            <a:ext cx="8280057" cy="3073946"/>
          </a:xfrm>
          <a:prstGeom prst="rect">
            <a:avLst/>
          </a:prstGeom>
        </p:spPr>
        <p:txBody>
          <a:bodyPr lIns="68565" tIns="34283" rIns="68565" bIns="34283">
            <a:noAutofit/>
          </a:bodyPr>
          <a:lstStyle>
            <a:lvl1pPr marL="285683" marR="0" indent="-285683" algn="ctr" defTabSz="45709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68" tIns="34284" rIns="68568" bIns="3428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994888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609"/>
            <a:ext cx="3630612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5" tIns="34289" rIns="68535" bIns="34289" anchor="ctr"/>
          <a:lstStyle/>
          <a:p>
            <a:pPr algn="ctr" defTabSz="685324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5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68526" tIns="34283" rIns="68526" bIns="34283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7670" y="546763"/>
            <a:ext cx="4349918" cy="813985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04994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68565" tIns="34283" rIns="68565" bIns="34283">
            <a:noAutofit/>
          </a:bodyPr>
          <a:lstStyle>
            <a:lvl1pPr marL="280921" indent="-223787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68" tIns="34284" rIns="68568" bIns="3428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9829566"/>
      </p:ext>
    </p:extLst>
  </p:cSld>
  <p:clrMapOvr>
    <a:masterClrMapping/>
  </p:clrMapOvr>
  <p:transition spd="med">
    <p:fade/>
  </p:transition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68565" tIns="34283" rIns="68565" bIns="34283">
            <a:noAutofit/>
          </a:bodyPr>
          <a:lstStyle>
            <a:lvl1pPr marL="57134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33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28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01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187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68" tIns="34284" rIns="68568" bIns="3428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4923706"/>
      </p:ext>
    </p:extLst>
  </p:cSld>
  <p:clrMapOvr>
    <a:masterClrMapping/>
  </p:clrMapOvr>
  <p:transition spd="med">
    <p:fade/>
  </p:transition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9661" y="895601"/>
            <a:ext cx="8398739" cy="3168210"/>
          </a:xfrm>
          <a:prstGeom prst="rect">
            <a:avLst/>
          </a:prstGeom>
        </p:spPr>
        <p:txBody>
          <a:bodyPr lIns="68565" tIns="34283" rIns="68565" bIns="34283">
            <a:noAutofit/>
          </a:bodyPr>
          <a:lstStyle>
            <a:lvl1pPr marL="57134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33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28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01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187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796603131"/>
      </p:ext>
    </p:extLst>
  </p:cSld>
  <p:clrMapOvr>
    <a:masterClrMapping/>
  </p:clrMapOvr>
  <p:transition spd="med">
    <p:fade/>
  </p:transition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68565" tIns="34283" rIns="68565" bIns="34283">
            <a:noAutofit/>
          </a:bodyPr>
          <a:lstStyle>
            <a:lvl1pPr marL="212395" indent="-392390">
              <a:lnSpc>
                <a:spcPts val="444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070255227"/>
      </p:ext>
    </p:extLst>
  </p:cSld>
  <p:clrMapOvr>
    <a:masterClrMapping/>
  </p:clrMapOvr>
  <p:transition spd="med">
    <p:fade/>
  </p:transition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68565" tIns="34283" rIns="68565" bIns="34283">
            <a:noAutofit/>
          </a:bodyPr>
          <a:lstStyle>
            <a:lvl1pPr marL="280921" indent="-223787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82" indent="-215849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39" indent="-171411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12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23" indent="-16823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68" tIns="34284" rIns="68568" bIns="3428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5365495"/>
      </p:ext>
    </p:extLst>
  </p:cSld>
  <p:clrMapOvr>
    <a:masterClrMapping/>
  </p:clrMapOvr>
  <p:transition spd="med">
    <p:fade/>
  </p:transition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7" y="1347788"/>
            <a:ext cx="3901123" cy="3083094"/>
          </a:xfrm>
          <a:prstGeom prst="rect">
            <a:avLst/>
          </a:prstGeom>
        </p:spPr>
        <p:txBody>
          <a:bodyPr lIns="68565" tIns="34283" rIns="68565" bIns="34283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68565" tIns="34283" rIns="68565" bIns="34283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68" tIns="34284" rIns="68568" bIns="3428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4053229"/>
      </p:ext>
    </p:extLst>
  </p:cSld>
  <p:clrMapOvr>
    <a:masterClrMapping/>
  </p:clrMapOvr>
  <p:transition spd="med">
    <p:fade/>
  </p:transition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970" y="609601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929" y="302506"/>
            <a:ext cx="3715995" cy="826447"/>
          </a:xfrm>
          <a:prstGeom prst="rect">
            <a:avLst/>
          </a:prstGeom>
        </p:spPr>
        <p:txBody>
          <a:bodyPr lIns="46284" tIns="25715" rIns="46284" bIns="25715" rtlCol="0">
            <a:noAutofit/>
          </a:bodyPr>
          <a:lstStyle>
            <a:lvl1pPr algn="l" defTabSz="685703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905965" y="302506"/>
            <a:ext cx="3715995" cy="826446"/>
          </a:xfrm>
          <a:prstGeom prst="rect">
            <a:avLst/>
          </a:prstGeom>
        </p:spPr>
        <p:txBody>
          <a:bodyPr lIns="68565" tIns="34283" rIns="68565" bIns="34283" anchor="ctr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929" y="1347788"/>
            <a:ext cx="3715995" cy="3083094"/>
          </a:xfrm>
          <a:prstGeom prst="rect">
            <a:avLst/>
          </a:prstGeom>
        </p:spPr>
        <p:txBody>
          <a:bodyPr lIns="68565" tIns="34283" rIns="68565" bIns="34283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905965" y="1347788"/>
            <a:ext cx="3715995" cy="3083094"/>
          </a:xfrm>
          <a:prstGeom prst="rect">
            <a:avLst/>
          </a:prstGeom>
        </p:spPr>
        <p:txBody>
          <a:bodyPr lIns="68565" tIns="34283" rIns="68565" bIns="34283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2449225"/>
      </p:ext>
    </p:extLst>
  </p:cSld>
  <p:clrMapOvr>
    <a:masterClrMapping/>
  </p:clrMapOvr>
  <p:transition spd="med">
    <p:fade/>
  </p:transition>
  <p:hf hdr="0" ftr="0" dt="0"/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1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1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1964" y="228319"/>
            <a:ext cx="2337109" cy="770461"/>
          </a:xfrm>
          <a:prstGeom prst="rect">
            <a:avLst/>
          </a:prstGeom>
        </p:spPr>
        <p:txBody>
          <a:bodyPr lIns="68565" tIns="34283" rIns="68565" bIns="34283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77729" y="227839"/>
            <a:ext cx="2337109" cy="770461"/>
          </a:xfrm>
          <a:prstGeom prst="rect">
            <a:avLst/>
          </a:prstGeom>
        </p:spPr>
        <p:txBody>
          <a:bodyPr lIns="68565" tIns="34283" rIns="68565" bIns="34283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354814" y="220479"/>
            <a:ext cx="2337109" cy="770461"/>
          </a:xfrm>
          <a:prstGeom prst="rect">
            <a:avLst/>
          </a:prstGeom>
        </p:spPr>
        <p:txBody>
          <a:bodyPr lIns="68565" tIns="34283" rIns="68565" bIns="34283" anchor="b" anchorCtr="0">
            <a:noAutofit/>
          </a:bodyPr>
          <a:lstStyle>
            <a:lvl1pPr marL="0" marR="0" indent="0" algn="l" defTabSz="685703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1964" y="1201094"/>
            <a:ext cx="2337110" cy="3314904"/>
          </a:xfrm>
          <a:prstGeom prst="rect">
            <a:avLst/>
          </a:prstGeom>
        </p:spPr>
        <p:txBody>
          <a:bodyPr lIns="68565" tIns="34283" rIns="68565" bIns="34283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68565" tIns="34283" rIns="68565" bIns="34283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54813" y="1200321"/>
            <a:ext cx="2337110" cy="3314904"/>
          </a:xfrm>
          <a:prstGeom prst="rect">
            <a:avLst/>
          </a:prstGeom>
        </p:spPr>
        <p:txBody>
          <a:bodyPr lIns="68565" tIns="34283" rIns="68565" bIns="34283">
            <a:noAutofit/>
          </a:bodyPr>
          <a:lstStyle>
            <a:lvl1pPr marL="233310" indent="-171411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00" indent="-171411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234142888"/>
      </p:ext>
    </p:extLst>
  </p:cSld>
  <p:clrMapOvr>
    <a:masterClrMapping/>
  </p:clrMapOvr>
  <p:transition spd="med">
    <p:fade/>
  </p:transition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6" y="1330326"/>
            <a:ext cx="3712779" cy="31019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defTabSz="457189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68565" tIns="34283" rIns="68565" bIns="34283">
            <a:noAutofit/>
          </a:bodyPr>
          <a:lstStyle>
            <a:lvl1pPr marL="85716" indent="-85716" algn="l" defTabSz="685703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6" indent="-85716" algn="l" defTabSz="685703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148707" y="3552444"/>
            <a:ext cx="3506245" cy="253746"/>
          </a:xfrm>
          <a:prstGeom prst="rect">
            <a:avLst/>
          </a:prstGeom>
        </p:spPr>
        <p:txBody>
          <a:bodyPr lIns="68565" tIns="34283" rIns="68565" bIns="34283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7" y="1347788"/>
            <a:ext cx="3901123" cy="3083094"/>
          </a:xfrm>
          <a:prstGeom prst="rect">
            <a:avLst/>
          </a:prstGeom>
        </p:spPr>
        <p:txBody>
          <a:bodyPr lIns="68565" tIns="34283" rIns="68565" bIns="34283">
            <a:noAutofit/>
          </a:bodyPr>
          <a:lstStyle>
            <a:lvl1pPr marL="228549" indent="-171411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094" indent="-215849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05" indent="-171411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14" indent="-171411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23" indent="-171411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68" tIns="34284" rIns="68568" bIns="3428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33824"/>
      </p:ext>
    </p:extLst>
  </p:cSld>
  <p:clrMapOvr>
    <a:masterClrMapping/>
  </p:clrMapOvr>
  <p:transition spd="med">
    <p:fade/>
  </p:transition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68" tIns="34284" rIns="68568" bIns="3428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8479132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92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2" tIns="34286" rIns="68532" bIns="34286" anchor="ctr"/>
          <a:lstStyle/>
          <a:p>
            <a:pPr algn="ctr" defTabSz="685324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92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2" tIns="34286" rIns="68532" bIns="34286" anchor="ctr"/>
          <a:lstStyle/>
          <a:p>
            <a:pPr algn="ctr" defTabSz="685324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40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2" tIns="34286" rIns="68532" bIns="34286" anchor="ctr"/>
          <a:lstStyle/>
          <a:p>
            <a:pPr algn="ctr" defTabSz="685324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92" y="2271742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2" tIns="34286" rIns="68532" bIns="34286" anchor="ctr"/>
          <a:lstStyle/>
          <a:p>
            <a:pPr algn="ctr" defTabSz="685324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7" y="2271742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2" tIns="34286" rIns="68532" bIns="34286" anchor="ctr"/>
          <a:lstStyle/>
          <a:p>
            <a:pPr algn="ctr" defTabSz="685324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40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2" tIns="34286" rIns="68532" bIns="34286" anchor="ctr"/>
          <a:lstStyle/>
          <a:p>
            <a:pPr algn="ctr" defTabSz="685324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40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2" tIns="34286" rIns="68532" bIns="34286" anchor="ctr"/>
          <a:lstStyle/>
          <a:p>
            <a:pPr algn="ctr" defTabSz="685324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6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03" tIns="25715" rIns="51403" bIns="25715" rtlCol="0" anchor="ctr" anchorCtr="0">
            <a:normAutofit/>
          </a:bodyPr>
          <a:lstStyle>
            <a:lvl1pPr marL="0" indent="0" algn="ctr" defTabSz="685255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03" tIns="25715" rIns="51403" bIns="25715" rtlCol="0" anchor="ctr" anchorCtr="0">
            <a:normAutofit/>
          </a:bodyPr>
          <a:lstStyle>
            <a:lvl1pPr marL="0" indent="0" algn="ctr" defTabSz="685255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03" tIns="25715" rIns="51403" bIns="25715" rtlCol="0" anchor="ctr" anchorCtr="0">
            <a:normAutofit/>
          </a:bodyPr>
          <a:lstStyle>
            <a:lvl1pPr marL="0" indent="0" algn="ctr" defTabSz="685255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47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03" tIns="25715" rIns="51403" bIns="25715" rtlCol="0" anchor="ctr" anchorCtr="0">
            <a:normAutofit/>
          </a:bodyPr>
          <a:lstStyle>
            <a:lvl1pPr marL="0" indent="0" algn="ctr" defTabSz="685255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6" y="2271747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03" tIns="25715" rIns="51403" bIns="25715" rtlCol="0" anchor="ctr" anchorCtr="0">
            <a:normAutofit/>
          </a:bodyPr>
          <a:lstStyle>
            <a:lvl1pPr marL="0" indent="0" algn="ctr" defTabSz="685255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03" tIns="25715" rIns="51403" bIns="25715" rtlCol="0" anchor="ctr" anchorCtr="0">
            <a:normAutofit/>
          </a:bodyPr>
          <a:lstStyle>
            <a:lvl1pPr marL="0" indent="0" algn="ctr" defTabSz="685255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03" tIns="25715" rIns="51403" bIns="25715" rtlCol="0" anchor="ctr" anchorCtr="0">
            <a:normAutofit/>
          </a:bodyPr>
          <a:lstStyle>
            <a:lvl1pPr marL="0" indent="0" algn="ctr" defTabSz="685255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206393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68565" tIns="34283" rIns="68565" bIns="34283" anchor="b" anchorCtr="0">
            <a:noAutofit/>
          </a:bodyPr>
          <a:lstStyle>
            <a:lvl1pPr marL="0" indent="0" algn="l" defTabSz="603560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2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596" indent="-399958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101807"/>
      </p:ext>
    </p:extLst>
  </p:cSld>
  <p:clrMapOvr>
    <a:masterClrMapping/>
  </p:clrMapOvr>
  <p:transition spd="med">
    <p:fade/>
  </p:transition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1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4" y="1439061"/>
            <a:ext cx="3820348" cy="2265389"/>
          </a:xfrm>
        </p:spPr>
        <p:txBody>
          <a:bodyPr lIns="46286" tIns="25716" rIns="46286" bIns="25716" rtlCol="0" anchor="ctr">
            <a:noAutofit/>
          </a:bodyPr>
          <a:lstStyle>
            <a:lvl1pPr marL="0" indent="0" algn="l" defTabSz="685731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1" y="654518"/>
            <a:ext cx="3865880" cy="3840480"/>
          </a:xfrm>
          <a:prstGeom prst="rect">
            <a:avLst/>
          </a:prstGeom>
        </p:spPr>
        <p:txBody>
          <a:bodyPr lIns="68565" tIns="34283" rIns="68565" bIns="34283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861722691"/>
      </p:ext>
    </p:extLst>
  </p:cSld>
  <p:clrMapOvr>
    <a:masterClrMapping/>
  </p:clrMapOvr>
  <p:transition spd="slow">
    <p:wipe/>
  </p:transition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9"/>
            <a:ext cx="8345488" cy="2658728"/>
          </a:xfrm>
          <a:prstGeom prst="rect">
            <a:avLst/>
          </a:prstGeom>
        </p:spPr>
        <p:txBody>
          <a:bodyPr lIns="68565" tIns="34283" rIns="68565" bIns="34283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68565" tIns="34283" rIns="68565" bIns="34283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68" tIns="34284" rIns="68568" bIns="3428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6405180"/>
      </p:ext>
    </p:extLst>
  </p:cSld>
  <p:clrMapOvr>
    <a:masterClrMapping/>
  </p:clrMapOvr>
  <p:transition spd="med">
    <p:fade/>
  </p:transition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6"/>
            <a:ext cx="8345488" cy="2660650"/>
          </a:xfrm>
          <a:prstGeom prst="rect">
            <a:avLst/>
          </a:prstGeom>
        </p:spPr>
        <p:txBody>
          <a:bodyPr vert="horz" lIns="68565" tIns="34283" rIns="68565" bIns="34283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8" y="4148221"/>
            <a:ext cx="7180312" cy="326233"/>
          </a:xfrm>
          <a:prstGeom prst="rect">
            <a:avLst/>
          </a:prstGeom>
        </p:spPr>
        <p:txBody>
          <a:bodyPr wrap="square" lIns="68565" tIns="34283" rIns="68565" bIns="34283" anchor="b" anchorCtr="0">
            <a:noAutofit/>
          </a:bodyPr>
          <a:lstStyle>
            <a:lvl1pPr algn="l" defTabSz="60356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68" tIns="34284" rIns="68568" bIns="3428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0351166"/>
      </p:ext>
    </p:extLst>
  </p:cSld>
  <p:clrMapOvr>
    <a:masterClrMapping/>
  </p:clrMapOvr>
  <p:transition spd="med">
    <p:fade/>
  </p:transition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1349456"/>
            <a:ext cx="4007001" cy="3040773"/>
          </a:xfrm>
          <a:prstGeom prst="rect">
            <a:avLst/>
          </a:prstGeom>
        </p:spPr>
        <p:txBody>
          <a:bodyPr lIns="68565" tIns="34283" rIns="68565" bIns="34283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5"/>
            <a:ext cx="4073346" cy="3039397"/>
          </a:xfrm>
          <a:prstGeom prst="rect">
            <a:avLst/>
          </a:prstGeom>
        </p:spPr>
        <p:txBody>
          <a:bodyPr vert="horz" lIns="68565" tIns="34283" rIns="68565" bIns="34283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68" tIns="34284" rIns="68568" bIns="3428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1921377"/>
      </p:ext>
    </p:extLst>
  </p:cSld>
  <p:clrMapOvr>
    <a:masterClrMapping/>
  </p:clrMapOvr>
  <p:transition spd="med">
    <p:fade/>
  </p:transition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1349354"/>
            <a:ext cx="4003995" cy="3040875"/>
          </a:xfrm>
          <a:prstGeom prst="rect">
            <a:avLst/>
          </a:prstGeom>
        </p:spPr>
        <p:txBody>
          <a:bodyPr lIns="68565" tIns="34283" rIns="68565" bIns="34283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68565" tIns="34283" rIns="68565" bIns="34283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68" tIns="34284" rIns="68568" bIns="3428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4674247"/>
      </p:ext>
    </p:extLst>
  </p:cSld>
  <p:clrMapOvr>
    <a:masterClrMapping/>
  </p:clrMapOvr>
  <p:transition spd="med">
    <p:fade/>
  </p:transition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 userDrawn="1"/>
        </p:nvSpPr>
        <p:spPr>
          <a:xfrm>
            <a:off x="6085117" y="1622395"/>
            <a:ext cx="2318564" cy="2318564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457189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Oval 3"/>
          <p:cNvSpPr/>
          <p:nvPr userDrawn="1"/>
        </p:nvSpPr>
        <p:spPr>
          <a:xfrm>
            <a:off x="3423231" y="1622395"/>
            <a:ext cx="2318564" cy="2318564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457189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764272" y="1622395"/>
            <a:ext cx="2318564" cy="2318564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457189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777486" y="2800143"/>
            <a:ext cx="2292136" cy="603661"/>
          </a:xfrm>
          <a:prstGeom prst="rect">
            <a:avLst/>
          </a:prstGeom>
        </p:spPr>
        <p:txBody>
          <a:bodyPr lIns="68565" tIns="34283" rIns="68565" bIns="34283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436445" y="2798196"/>
            <a:ext cx="2292136" cy="603661"/>
          </a:xfrm>
          <a:prstGeom prst="rect">
            <a:avLst/>
          </a:prstGeom>
        </p:spPr>
        <p:txBody>
          <a:bodyPr lIns="68565" tIns="34283" rIns="68565" bIns="34283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098331" y="2798196"/>
            <a:ext cx="2292136" cy="603661"/>
          </a:xfrm>
          <a:prstGeom prst="rect">
            <a:avLst/>
          </a:prstGeom>
        </p:spPr>
        <p:txBody>
          <a:bodyPr lIns="68565" tIns="34283" rIns="68565" bIns="34283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 lIns="68580" tIns="34290" rIns="68580" bIns="3429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 lIns="68580" tIns="34290" rIns="68580" bIns="3429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 lIns="68580" tIns="34290" rIns="68580" bIns="34290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9967511"/>
      </p:ext>
    </p:extLst>
  </p:cSld>
  <p:clrMapOvr>
    <a:masterClrMapping/>
  </p:clrMapOvr>
  <p:transition spd="slow">
    <p:wipe/>
  </p:transition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 userDrawn="1"/>
        </p:nvSpPr>
        <p:spPr>
          <a:xfrm>
            <a:off x="774822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685800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44" name="Oval 43"/>
          <p:cNvSpPr/>
          <p:nvPr userDrawn="1"/>
        </p:nvSpPr>
        <p:spPr>
          <a:xfrm>
            <a:off x="3422843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685800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45" name="Oval 44"/>
          <p:cNvSpPr/>
          <p:nvPr userDrawn="1"/>
        </p:nvSpPr>
        <p:spPr>
          <a:xfrm>
            <a:off x="6087360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685800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68" tIns="34284" rIns="68568" bIns="3428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68568" tIns="34284" rIns="68568" bIns="34284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68568" tIns="34284" rIns="68568" bIns="34284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68568" tIns="34284" rIns="68568" bIns="34284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788798" y="3873139"/>
            <a:ext cx="2292136" cy="603661"/>
          </a:xfrm>
          <a:prstGeom prst="rect">
            <a:avLst/>
          </a:prstGeom>
        </p:spPr>
        <p:txBody>
          <a:bodyPr lIns="68565" tIns="34283" rIns="68565" bIns="34283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436818" y="3871192"/>
            <a:ext cx="2292136" cy="603661"/>
          </a:xfrm>
          <a:prstGeom prst="rect">
            <a:avLst/>
          </a:prstGeom>
        </p:spPr>
        <p:txBody>
          <a:bodyPr lIns="68565" tIns="34283" rIns="68565" bIns="34283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101336" y="3871192"/>
            <a:ext cx="2292136" cy="603661"/>
          </a:xfrm>
          <a:prstGeom prst="rect">
            <a:avLst/>
          </a:prstGeom>
        </p:spPr>
        <p:txBody>
          <a:bodyPr lIns="68565" tIns="34283" rIns="68565" bIns="34283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111164048"/>
      </p:ext>
    </p:extLst>
  </p:cSld>
  <p:clrMapOvr>
    <a:masterClrMapping/>
  </p:clrMapOvr>
  <p:transition spd="slow">
    <p:wipe/>
  </p:transition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4" y="4629151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68565" tIns="34283" rIns="68565" bIns="34283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00064" y="3484021"/>
            <a:ext cx="8139112" cy="505908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81000" tIns="0" rIns="68580" bIns="34290" numCol="1" anchor="ctr" anchorCtr="0" compatLnSpc="1">
            <a:prstTxWarp prst="textNoShape">
              <a:avLst/>
            </a:prstTxWarp>
            <a:spAutoFit/>
          </a:bodyPr>
          <a:lstStyle>
            <a:lvl1pPr marL="172796" indent="0">
              <a:lnSpc>
                <a:spcPts val="3680"/>
              </a:lnSpc>
              <a:spcBef>
                <a:spcPts val="0"/>
              </a:spcBef>
              <a:buNone/>
              <a:defRPr sz="24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825194070"/>
      </p:ext>
    </p:extLst>
  </p:cSld>
  <p:clrMapOvr>
    <a:masterClrMapping/>
  </p:clrMapOvr>
  <p:transition spd="slow">
    <p:wipe/>
  </p:transition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4" y="301038"/>
            <a:ext cx="8563172" cy="2542175"/>
          </a:xfrm>
          <a:prstGeom prst="rect">
            <a:avLst/>
          </a:prstGeom>
        </p:spPr>
        <p:txBody>
          <a:bodyPr vert="horz" lIns="68565" tIns="34283" rIns="68565" bIns="34283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6" y="3054518"/>
            <a:ext cx="8364236" cy="537119"/>
          </a:xfrm>
          <a:prstGeom prst="rect">
            <a:avLst/>
          </a:prstGeom>
        </p:spPr>
        <p:txBody>
          <a:bodyPr vert="horz" wrap="square" lIns="68580" tIns="34290" rIns="68580" bIns="34290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828433274"/>
      </p:ext>
    </p:extLst>
  </p:cSld>
  <p:clrMapOvr>
    <a:masterClrMapping/>
  </p:clrMapOvr>
  <p:transition spd="slow">
    <p:wip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75974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4" y="4629151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68565" tIns="34283" rIns="68565" bIns="34283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27230348"/>
      </p:ext>
    </p:extLst>
  </p:cSld>
  <p:clrMapOvr>
    <a:masterClrMapping/>
  </p:clrMapOvr>
  <p:transition spd="slow">
    <p:wipe/>
  </p:transition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2"/>
            <a:ext cx="8480388" cy="4266646"/>
          </a:xfrm>
          <a:prstGeom prst="rect">
            <a:avLst/>
          </a:prstGeom>
        </p:spPr>
        <p:txBody>
          <a:bodyPr vert="horz" lIns="68568" tIns="34284" rIns="68568" bIns="34284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22648010"/>
      </p:ext>
    </p:extLst>
  </p:cSld>
  <p:clrMapOvr>
    <a:masterClrMapping/>
  </p:clrMapOvr>
  <p:transition spd="slow">
    <p:wipe/>
  </p:transition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1" y="596901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1" y="3595689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9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68568" tIns="34284" rIns="68568" bIns="34284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065872" y="3655079"/>
            <a:ext cx="5074070" cy="628650"/>
          </a:xfrm>
        </p:spPr>
        <p:txBody>
          <a:bodyPr anchor="ctr"/>
          <a:lstStyle>
            <a:lvl1pPr>
              <a:defRPr sz="2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54852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801" y="233364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51433" tIns="25717" rIns="51433" bIns="25717" rtlCol="0" anchor="ctr" anchorCtr="0">
            <a:normAutofit/>
          </a:bodyPr>
          <a:lstStyle>
            <a:lvl1pPr marL="0" indent="0" algn="ctr" defTabSz="685760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0936" y="2480694"/>
            <a:ext cx="6729865" cy="1614419"/>
          </a:xfrm>
        </p:spPr>
        <p:txBody>
          <a:bodyPr>
            <a:noAutofit/>
          </a:bodyPr>
          <a:lstStyle>
            <a:lvl1pPr marL="0" marR="0" indent="0" algn="l" defTabSz="68576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219779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608"/>
            <a:ext cx="3630612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189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5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68568" tIns="34284" rIns="68568" bIns="34284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7670" y="546735"/>
            <a:ext cx="4349918" cy="813985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8842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4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64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9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4" y="2271714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6" y="2271714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9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9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189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6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31" tIns="25716" rIns="51431" bIns="25716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31" tIns="25716" rIns="51431" bIns="25716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31" tIns="25716" rIns="51431" bIns="25716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19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31" tIns="25716" rIns="51431" bIns="25716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5" y="2271719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31" tIns="25716" rIns="51431" bIns="25716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31" tIns="25716" rIns="51431" bIns="25716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51431" tIns="25716" rIns="51431" bIns="25716" rtlCol="0" anchor="ctr" anchorCtr="0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971170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70730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39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51431" tIns="25716" rIns="51431" bIns="25716" rtlCol="0" anchor="ctr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272347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51431" tIns="25716" rIns="51431" bIns="25716" rtlCol="0" anchor="ctr">
            <a:normAutofit/>
          </a:bodyPr>
          <a:lstStyle>
            <a:lvl1pPr marL="0" indent="0" algn="ctr" defTabSz="685731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153038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089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24499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67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51403" tIns="25715" rIns="51403" bIns="25715" rtlCol="0" anchor="ctr">
            <a:normAutofit/>
          </a:bodyPr>
          <a:lstStyle>
            <a:lvl1pPr marL="0" indent="0" algn="ctr" defTabSz="685255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431246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pic>
        <p:nvPicPr>
          <p:cNvPr id="9" name="Picture Placeholder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-6431" y="-15240"/>
            <a:ext cx="9150431" cy="5158740"/>
          </a:xfrm>
          <a:prstGeom prst="rect">
            <a:avLst/>
          </a:prstGeom>
        </p:spPr>
      </p:pic>
      <p:pic>
        <p:nvPicPr>
          <p:cNvPr id="16" name="Picture 8" descr="logo_black.ai"/>
          <p:cNvPicPr>
            <a:picLocks noChangeAspect="1"/>
          </p:cNvPicPr>
          <p:nvPr userDrawn="1"/>
        </p:nvPicPr>
        <p:blipFill>
          <a:blip r:embed="rId4">
            <a:alphaModFix amt="8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901" y="325747"/>
            <a:ext cx="920743" cy="60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78551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63904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bg1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154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6" y="0"/>
            <a:ext cx="9141291" cy="5143500"/>
          </a:xfrm>
          <a:prstGeom prst="rect">
            <a:avLst/>
          </a:prstGeom>
        </p:spPr>
      </p:pic>
      <p:pic>
        <p:nvPicPr>
          <p:cNvPr id="16" name="Picture 8" descr="logo_black.ai"/>
          <p:cNvPicPr>
            <a:picLocks noChangeAspect="1"/>
          </p:cNvPicPr>
          <p:nvPr userDrawn="1"/>
        </p:nvPicPr>
        <p:blipFill>
          <a:blip r:embed="rId4">
            <a:alphaModFix amt="8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901" y="325747"/>
            <a:ext cx="920743" cy="60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chemeClr val="bg1">
                    <a:lumMod val="50000"/>
                  </a:schemeClr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78551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63904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chemeClr val="tx1">
                    <a:lumMod val="50000"/>
                  </a:schemeClr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  <p:pic>
        <p:nvPicPr>
          <p:cNvPr id="17" name="Picture 16" descr="logo_black.ai"/>
          <p:cNvPicPr>
            <a:picLocks noChangeAspect="1"/>
          </p:cNvPicPr>
          <p:nvPr userDrawn="1"/>
        </p:nvPicPr>
        <p:blipFill>
          <a:blip r:embed="rId4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972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7754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171977"/>
            <a:ext cx="3901123" cy="325890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>
                  <a:lumMod val="50000"/>
                </a:schemeClr>
              </a:buClr>
              <a:buSzPct val="80000"/>
              <a:buFont typeface="Wingdings" panose="05000000000000000000" pitchFamily="2" charset="2"/>
              <a:buChar char="§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>
                  <a:lumMod val="50000"/>
                </a:schemeClr>
              </a:buClr>
              <a:buSzPct val="80000"/>
              <a:buFont typeface="Arial" panose="020B0604020202020204" pitchFamily="34" charset="0"/>
              <a:buChar char="−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>
                  <a:lumMod val="50000"/>
                </a:schemeClr>
              </a:buClr>
              <a:buSzPct val="80000"/>
              <a:buFont typeface="Arial"/>
              <a:buChar char="•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>
                  <a:lumMod val="50000"/>
                </a:schemeClr>
              </a:buClr>
              <a:buSzPct val="80000"/>
              <a:buFont typeface="Arial"/>
              <a:buChar char="•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>
                  <a:lumMod val="50000"/>
                </a:schemeClr>
              </a:buClr>
              <a:buSzPct val="80000"/>
              <a:buFont typeface="Arial"/>
              <a:buChar char="•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17289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 sz="2400" b="0"/>
            </a:lvl1pPr>
          </a:lstStyle>
          <a:p>
            <a:pPr lvl="0"/>
            <a:r>
              <a:rPr lang="en-GB" dirty="0" smtClean="0"/>
              <a:t>Click to edit 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153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516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0560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116" y="1989513"/>
            <a:ext cx="4389768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D364588-C89B-434D-8A0B-2FA48AD4AE8C}" type="datetimeFigureOut">
              <a:rPr lang="en-US" smtClean="0">
                <a:solidFill>
                  <a:srgbClr val="333333"/>
                </a:solidFill>
                <a:ea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1/24/17</a:t>
            </a:fld>
            <a:endParaRPr lang="en-US">
              <a:solidFill>
                <a:srgbClr val="333333"/>
              </a:solidFill>
              <a:ea typeface="ＭＳ Ｐゴシック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333333"/>
              </a:solidFill>
              <a:ea typeface="ＭＳ Ｐゴシック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929CD0-2B9E-4D11-9967-5DE04E06D746}" type="slidenum">
              <a:rPr lang="en-US" smtClean="0">
                <a:solidFill>
                  <a:srgbClr val="333333"/>
                </a:solidFill>
                <a:ea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333333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5007481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pic>
        <p:nvPicPr>
          <p:cNvPr id="9" name="Picture Placeholder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-6431" y="-15240"/>
            <a:ext cx="9150431" cy="5158740"/>
          </a:xfrm>
          <a:prstGeom prst="rect">
            <a:avLst/>
          </a:prstGeom>
        </p:spPr>
      </p:pic>
      <p:pic>
        <p:nvPicPr>
          <p:cNvPr id="16" name="Picture 8" descr="logo_black.ai"/>
          <p:cNvPicPr>
            <a:picLocks noChangeAspect="1"/>
          </p:cNvPicPr>
          <p:nvPr userDrawn="1"/>
        </p:nvPicPr>
        <p:blipFill>
          <a:blip r:embed="rId4">
            <a:alphaModFix amt="8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901" y="325747"/>
            <a:ext cx="920743" cy="60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78551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63904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bg1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089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6" y="0"/>
            <a:ext cx="9141291" cy="5143500"/>
          </a:xfrm>
          <a:prstGeom prst="rect">
            <a:avLst/>
          </a:prstGeom>
        </p:spPr>
      </p:pic>
      <p:pic>
        <p:nvPicPr>
          <p:cNvPr id="16" name="Picture 8" descr="logo_black.ai"/>
          <p:cNvPicPr>
            <a:picLocks noChangeAspect="1"/>
          </p:cNvPicPr>
          <p:nvPr userDrawn="1"/>
        </p:nvPicPr>
        <p:blipFill>
          <a:blip r:embed="rId4">
            <a:alphaModFix amt="8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901" y="325747"/>
            <a:ext cx="920743" cy="60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chemeClr val="bg1">
                    <a:lumMod val="50000"/>
                  </a:schemeClr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78551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63904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chemeClr val="tx1">
                    <a:lumMod val="50000"/>
                  </a:schemeClr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  <p:pic>
        <p:nvPicPr>
          <p:cNvPr id="17" name="Picture 16" descr="logo_black.ai"/>
          <p:cNvPicPr>
            <a:picLocks noChangeAspect="1"/>
          </p:cNvPicPr>
          <p:nvPr userDrawn="1"/>
        </p:nvPicPr>
        <p:blipFill>
          <a:blip r:embed="rId4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731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195769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51403" tIns="25715" rIns="51403" bIns="25715" rtlCol="0" anchor="ctr">
            <a:normAutofit/>
          </a:bodyPr>
          <a:lstStyle>
            <a:lvl1pPr marL="0" indent="0" algn="ctr" defTabSz="685255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931275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171977"/>
            <a:ext cx="3901123" cy="325890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>
                  <a:lumMod val="50000"/>
                </a:schemeClr>
              </a:buClr>
              <a:buSzPct val="80000"/>
              <a:buFont typeface="Wingdings" panose="05000000000000000000" pitchFamily="2" charset="2"/>
              <a:buChar char="§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>
                  <a:lumMod val="50000"/>
                </a:schemeClr>
              </a:buClr>
              <a:buSzPct val="80000"/>
              <a:buFont typeface="Arial" panose="020B0604020202020204" pitchFamily="34" charset="0"/>
              <a:buChar char="−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>
                  <a:lumMod val="50000"/>
                </a:schemeClr>
              </a:buClr>
              <a:buSzPct val="80000"/>
              <a:buFont typeface="Arial"/>
              <a:buChar char="•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>
                  <a:lumMod val="50000"/>
                </a:schemeClr>
              </a:buClr>
              <a:buSzPct val="80000"/>
              <a:buFont typeface="Arial"/>
              <a:buChar char="•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>
                  <a:lumMod val="50000"/>
                </a:schemeClr>
              </a:buClr>
              <a:buSzPct val="80000"/>
              <a:buFont typeface="Arial"/>
              <a:buChar char="•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17289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 sz="2400" b="0"/>
            </a:lvl1pPr>
          </a:lstStyle>
          <a:p>
            <a:pPr lvl="0"/>
            <a:r>
              <a:rPr lang="en-GB" dirty="0" smtClean="0"/>
              <a:t>Click to edit 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3085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6476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464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116" y="1989513"/>
            <a:ext cx="4389768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D364588-C89B-434D-8A0B-2FA48AD4AE8C}" type="datetimeFigureOut">
              <a:rPr lang="en-US" smtClean="0">
                <a:solidFill>
                  <a:srgbClr val="333333"/>
                </a:solidFill>
                <a:ea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1/24/17</a:t>
            </a:fld>
            <a:endParaRPr lang="en-US">
              <a:solidFill>
                <a:srgbClr val="333333"/>
              </a:solidFill>
              <a:ea typeface="ＭＳ Ｐゴシック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333333"/>
              </a:solidFill>
              <a:ea typeface="ＭＳ Ｐゴシック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929CD0-2B9E-4D11-9967-5DE04E06D746}" type="slidenum">
              <a:rPr lang="en-US" smtClean="0">
                <a:solidFill>
                  <a:srgbClr val="333333"/>
                </a:solidFill>
                <a:ea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333333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5479599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pic>
        <p:nvPicPr>
          <p:cNvPr id="9" name="Picture Placeholder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-6431" y="-15240"/>
            <a:ext cx="9150431" cy="5158740"/>
          </a:xfrm>
          <a:prstGeom prst="rect">
            <a:avLst/>
          </a:prstGeom>
        </p:spPr>
      </p:pic>
      <p:pic>
        <p:nvPicPr>
          <p:cNvPr id="16" name="Picture 8" descr="logo_black.ai"/>
          <p:cNvPicPr>
            <a:picLocks noChangeAspect="1"/>
          </p:cNvPicPr>
          <p:nvPr userDrawn="1"/>
        </p:nvPicPr>
        <p:blipFill>
          <a:blip r:embed="rId4">
            <a:alphaModFix amt="8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901" y="325747"/>
            <a:ext cx="920743" cy="60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78551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63904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bg1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726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6" y="0"/>
            <a:ext cx="9141291" cy="5143500"/>
          </a:xfrm>
          <a:prstGeom prst="rect">
            <a:avLst/>
          </a:prstGeom>
        </p:spPr>
      </p:pic>
      <p:pic>
        <p:nvPicPr>
          <p:cNvPr id="16" name="Picture 8" descr="logo_black.ai"/>
          <p:cNvPicPr>
            <a:picLocks noChangeAspect="1"/>
          </p:cNvPicPr>
          <p:nvPr userDrawn="1"/>
        </p:nvPicPr>
        <p:blipFill>
          <a:blip r:embed="rId4">
            <a:alphaModFix amt="8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901" y="325747"/>
            <a:ext cx="920743" cy="60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chemeClr val="bg1">
                    <a:lumMod val="50000"/>
                  </a:schemeClr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78551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63904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chemeClr val="tx1">
                    <a:lumMod val="50000"/>
                  </a:schemeClr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  <p:pic>
        <p:nvPicPr>
          <p:cNvPr id="17" name="Picture 16" descr="logo_black.ai"/>
          <p:cNvPicPr>
            <a:picLocks noChangeAspect="1"/>
          </p:cNvPicPr>
          <p:nvPr userDrawn="1"/>
        </p:nvPicPr>
        <p:blipFill>
          <a:blip r:embed="rId4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625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993672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171977"/>
            <a:ext cx="3901123" cy="325890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>
                  <a:lumMod val="50000"/>
                </a:schemeClr>
              </a:buClr>
              <a:buSzPct val="80000"/>
              <a:buFont typeface="Wingdings" panose="05000000000000000000" pitchFamily="2" charset="2"/>
              <a:buChar char="§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>
                  <a:lumMod val="50000"/>
                </a:schemeClr>
              </a:buClr>
              <a:buSzPct val="80000"/>
              <a:buFont typeface="Arial" panose="020B0604020202020204" pitchFamily="34" charset="0"/>
              <a:buChar char="−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>
                  <a:lumMod val="50000"/>
                </a:schemeClr>
              </a:buClr>
              <a:buSzPct val="80000"/>
              <a:buFont typeface="Arial"/>
              <a:buChar char="•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>
                  <a:lumMod val="50000"/>
                </a:schemeClr>
              </a:buClr>
              <a:buSzPct val="80000"/>
              <a:buFont typeface="Arial"/>
              <a:buChar char="•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>
                  <a:lumMod val="50000"/>
                </a:schemeClr>
              </a:buClr>
              <a:buSzPct val="80000"/>
              <a:buFont typeface="Arial"/>
              <a:buChar char="•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17289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 sz="2400" b="0"/>
            </a:lvl1pPr>
          </a:lstStyle>
          <a:p>
            <a:pPr lvl="0"/>
            <a:r>
              <a:rPr lang="en-GB" dirty="0" smtClean="0"/>
              <a:t>Click to edit 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982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517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6789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115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6656310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116" y="1989513"/>
            <a:ext cx="4389768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D364588-C89B-434D-8A0B-2FA48AD4AE8C}" type="datetimeFigureOut">
              <a:rPr lang="en-US" smtClean="0">
                <a:solidFill>
                  <a:srgbClr val="333333"/>
                </a:solidFill>
                <a:ea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1/24/17</a:t>
            </a:fld>
            <a:endParaRPr lang="en-US">
              <a:solidFill>
                <a:srgbClr val="333333"/>
              </a:solidFill>
              <a:ea typeface="ＭＳ Ｐゴシック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333333"/>
              </a:solidFill>
              <a:ea typeface="ＭＳ Ｐゴシック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929CD0-2B9E-4D11-9967-5DE04E06D746}" type="slidenum">
              <a:rPr lang="en-US" smtClean="0">
                <a:solidFill>
                  <a:srgbClr val="333333"/>
                </a:solidFill>
                <a:ea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333333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8268619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pic>
        <p:nvPicPr>
          <p:cNvPr id="9" name="Picture Placeholder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-6431" y="-15240"/>
            <a:ext cx="9150431" cy="5158740"/>
          </a:xfrm>
          <a:prstGeom prst="rect">
            <a:avLst/>
          </a:prstGeom>
        </p:spPr>
      </p:pic>
      <p:pic>
        <p:nvPicPr>
          <p:cNvPr id="16" name="Picture 8" descr="logo_black.ai"/>
          <p:cNvPicPr>
            <a:picLocks noChangeAspect="1"/>
          </p:cNvPicPr>
          <p:nvPr userDrawn="1"/>
        </p:nvPicPr>
        <p:blipFill>
          <a:blip r:embed="rId4">
            <a:alphaModFix amt="8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901" y="325747"/>
            <a:ext cx="920743" cy="60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78551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63904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bg1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9594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6" y="0"/>
            <a:ext cx="9141291" cy="5143500"/>
          </a:xfrm>
          <a:prstGeom prst="rect">
            <a:avLst/>
          </a:prstGeom>
        </p:spPr>
      </p:pic>
      <p:pic>
        <p:nvPicPr>
          <p:cNvPr id="16" name="Picture 8" descr="logo_black.ai"/>
          <p:cNvPicPr>
            <a:picLocks noChangeAspect="1"/>
          </p:cNvPicPr>
          <p:nvPr userDrawn="1"/>
        </p:nvPicPr>
        <p:blipFill>
          <a:blip r:embed="rId4">
            <a:alphaModFix amt="8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901" y="325747"/>
            <a:ext cx="920743" cy="60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chemeClr val="bg1">
                    <a:lumMod val="50000"/>
                  </a:schemeClr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78551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63904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chemeClr val="tx1">
                    <a:lumMod val="50000"/>
                  </a:schemeClr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  <p:pic>
        <p:nvPicPr>
          <p:cNvPr id="17" name="Picture 16" descr="logo_black.ai"/>
          <p:cNvPicPr>
            <a:picLocks noChangeAspect="1"/>
          </p:cNvPicPr>
          <p:nvPr userDrawn="1"/>
        </p:nvPicPr>
        <p:blipFill>
          <a:blip r:embed="rId4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406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133769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171977"/>
            <a:ext cx="3901123" cy="325890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>
                  <a:lumMod val="50000"/>
                </a:schemeClr>
              </a:buClr>
              <a:buSzPct val="80000"/>
              <a:buFont typeface="Wingdings" panose="05000000000000000000" pitchFamily="2" charset="2"/>
              <a:buChar char="§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>
                  <a:lumMod val="50000"/>
                </a:schemeClr>
              </a:buClr>
              <a:buSzPct val="80000"/>
              <a:buFont typeface="Arial" panose="020B0604020202020204" pitchFamily="34" charset="0"/>
              <a:buChar char="−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>
                  <a:lumMod val="50000"/>
                </a:schemeClr>
              </a:buClr>
              <a:buSzPct val="80000"/>
              <a:buFont typeface="Arial"/>
              <a:buChar char="•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>
                  <a:lumMod val="50000"/>
                </a:schemeClr>
              </a:buClr>
              <a:buSzPct val="80000"/>
              <a:buFont typeface="Arial"/>
              <a:buChar char="•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>
                  <a:lumMod val="50000"/>
                </a:schemeClr>
              </a:buClr>
              <a:buSzPct val="80000"/>
              <a:buFont typeface="Arial"/>
              <a:buChar char="•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17289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 sz="2400" b="0"/>
            </a:lvl1pPr>
          </a:lstStyle>
          <a:p>
            <a:pPr lvl="0"/>
            <a:r>
              <a:rPr lang="en-GB" dirty="0" smtClean="0"/>
              <a:t>Click to edit 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54718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9745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1743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116" y="1989513"/>
            <a:ext cx="4389768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D364588-C89B-434D-8A0B-2FA48AD4AE8C}" type="datetimeFigureOut">
              <a:rPr lang="en-US" smtClean="0">
                <a:solidFill>
                  <a:srgbClr val="333333"/>
                </a:solidFill>
                <a:ea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1/24/17</a:t>
            </a:fld>
            <a:endParaRPr lang="en-US">
              <a:solidFill>
                <a:srgbClr val="333333"/>
              </a:solidFill>
              <a:ea typeface="ＭＳ Ｐゴシック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333333"/>
              </a:solidFill>
              <a:ea typeface="ＭＳ Ｐゴシック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929CD0-2B9E-4D11-9967-5DE04E06D746}" type="slidenum">
              <a:rPr lang="en-US" smtClean="0">
                <a:solidFill>
                  <a:srgbClr val="333333"/>
                </a:solidFill>
                <a:ea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333333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874061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pic>
        <p:nvPicPr>
          <p:cNvPr id="9" name="Picture Placeholder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-6431" y="-15240"/>
            <a:ext cx="9150431" cy="5158740"/>
          </a:xfrm>
          <a:prstGeom prst="rect">
            <a:avLst/>
          </a:prstGeom>
        </p:spPr>
      </p:pic>
      <p:pic>
        <p:nvPicPr>
          <p:cNvPr id="16" name="Picture 8" descr="logo_black.ai"/>
          <p:cNvPicPr>
            <a:picLocks noChangeAspect="1"/>
          </p:cNvPicPr>
          <p:nvPr userDrawn="1"/>
        </p:nvPicPr>
        <p:blipFill>
          <a:blip r:embed="rId4">
            <a:alphaModFix amt="8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901" y="325747"/>
            <a:ext cx="920743" cy="60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78551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63904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bg1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6004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6" y="0"/>
            <a:ext cx="9141291" cy="5143500"/>
          </a:xfrm>
          <a:prstGeom prst="rect">
            <a:avLst/>
          </a:prstGeom>
        </p:spPr>
      </p:pic>
      <p:pic>
        <p:nvPicPr>
          <p:cNvPr id="16" name="Picture 8" descr="logo_black.ai"/>
          <p:cNvPicPr>
            <a:picLocks noChangeAspect="1"/>
          </p:cNvPicPr>
          <p:nvPr userDrawn="1"/>
        </p:nvPicPr>
        <p:blipFill>
          <a:blip r:embed="rId4">
            <a:alphaModFix amt="8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901" y="325747"/>
            <a:ext cx="920743" cy="60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chemeClr val="bg1">
                    <a:lumMod val="50000"/>
                  </a:schemeClr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78551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63904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chemeClr val="tx1">
                    <a:lumMod val="50000"/>
                  </a:schemeClr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  <p:pic>
        <p:nvPicPr>
          <p:cNvPr id="17" name="Picture 16" descr="logo_black.ai"/>
          <p:cNvPicPr>
            <a:picLocks noChangeAspect="1"/>
          </p:cNvPicPr>
          <p:nvPr userDrawn="1"/>
        </p:nvPicPr>
        <p:blipFill>
          <a:blip r:embed="rId4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579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16" y="-2569"/>
            <a:ext cx="9150431" cy="5148643"/>
          </a:xfrm>
          <a:prstGeom prst="rect">
            <a:avLst/>
          </a:prstGeom>
        </p:spPr>
      </p:pic>
      <p:pic>
        <p:nvPicPr>
          <p:cNvPr id="17" name="Picture 16" descr="pref_1-line_logo+tagline-rt-white-CMYK.ai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  <a:lum bright="-100000" contrast="-100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745" y="1643634"/>
            <a:ext cx="8760510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508714"/>
      </p:ext>
    </p:extLst>
  </p:cSld>
  <p:clrMapOvr>
    <a:masterClrMapping/>
  </p:clrMapOvr>
  <p:transition spd="slow">
    <p:wipe/>
  </p:transition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286758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171977"/>
            <a:ext cx="3901123" cy="325890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>
                  <a:lumMod val="50000"/>
                </a:schemeClr>
              </a:buClr>
              <a:buSzPct val="80000"/>
              <a:buFont typeface="Wingdings" panose="05000000000000000000" pitchFamily="2" charset="2"/>
              <a:buChar char="§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>
                  <a:lumMod val="50000"/>
                </a:schemeClr>
              </a:buClr>
              <a:buSzPct val="80000"/>
              <a:buFont typeface="Arial" panose="020B0604020202020204" pitchFamily="34" charset="0"/>
              <a:buChar char="−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>
                  <a:lumMod val="50000"/>
                </a:schemeClr>
              </a:buClr>
              <a:buSzPct val="80000"/>
              <a:buFont typeface="Arial"/>
              <a:buChar char="•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>
                  <a:lumMod val="50000"/>
                </a:schemeClr>
              </a:buClr>
              <a:buSzPct val="80000"/>
              <a:buFont typeface="Arial"/>
              <a:buChar char="•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>
                  <a:lumMod val="50000"/>
                </a:schemeClr>
              </a:buClr>
              <a:buSzPct val="80000"/>
              <a:buFont typeface="Arial"/>
              <a:buChar char="•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17289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 sz="2400" b="0"/>
            </a:lvl1pPr>
          </a:lstStyle>
          <a:p>
            <a:pPr lvl="0"/>
            <a:r>
              <a:rPr lang="en-GB" dirty="0" smtClean="0"/>
              <a:t>Click to edit 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9936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43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6033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5928130"/>
      </p:ext>
    </p:extLst>
  </p:cSld>
  <p:clrMapOvr>
    <a:masterClrMapping/>
  </p:clrMapOvr>
  <p:transition spd="med">
    <p:fade/>
  </p:transition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116" y="1989513"/>
            <a:ext cx="4389768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D364588-C89B-434D-8A0B-2FA48AD4AE8C}" type="datetimeFigureOut">
              <a:rPr lang="en-US" smtClean="0">
                <a:solidFill>
                  <a:srgbClr val="333333"/>
                </a:solidFill>
                <a:ea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1/24/17</a:t>
            </a:fld>
            <a:endParaRPr lang="en-US">
              <a:solidFill>
                <a:srgbClr val="333333"/>
              </a:solidFill>
              <a:ea typeface="ＭＳ Ｐゴシック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333333"/>
              </a:solidFill>
              <a:ea typeface="ＭＳ Ｐゴシック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929CD0-2B9E-4D11-9967-5DE04E06D746}" type="slidenum">
              <a:rPr lang="en-US" smtClean="0">
                <a:solidFill>
                  <a:srgbClr val="333333"/>
                </a:solidFill>
                <a:ea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333333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6711440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pic>
        <p:nvPicPr>
          <p:cNvPr id="9" name="Picture Placeholder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-6431" y="-15240"/>
            <a:ext cx="9150431" cy="5158740"/>
          </a:xfrm>
          <a:prstGeom prst="rect">
            <a:avLst/>
          </a:prstGeom>
        </p:spPr>
      </p:pic>
      <p:pic>
        <p:nvPicPr>
          <p:cNvPr id="16" name="Picture 8" descr="logo_black.ai"/>
          <p:cNvPicPr>
            <a:picLocks noChangeAspect="1"/>
          </p:cNvPicPr>
          <p:nvPr userDrawn="1"/>
        </p:nvPicPr>
        <p:blipFill>
          <a:blip r:embed="rId4">
            <a:alphaModFix amt="8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901" y="325747"/>
            <a:ext cx="920743" cy="60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78551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63904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bg1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6807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6" y="0"/>
            <a:ext cx="9141291" cy="5143500"/>
          </a:xfrm>
          <a:prstGeom prst="rect">
            <a:avLst/>
          </a:prstGeom>
        </p:spPr>
      </p:pic>
      <p:pic>
        <p:nvPicPr>
          <p:cNvPr id="16" name="Picture 8" descr="logo_black.ai"/>
          <p:cNvPicPr>
            <a:picLocks noChangeAspect="1"/>
          </p:cNvPicPr>
          <p:nvPr userDrawn="1"/>
        </p:nvPicPr>
        <p:blipFill>
          <a:blip r:embed="rId4">
            <a:alphaModFix amt="8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901" y="325747"/>
            <a:ext cx="920743" cy="60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chemeClr val="bg1">
                    <a:lumMod val="50000"/>
                  </a:schemeClr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78551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63904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chemeClr val="tx1">
                    <a:lumMod val="50000"/>
                  </a:schemeClr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  <p:pic>
        <p:nvPicPr>
          <p:cNvPr id="17" name="Picture 16" descr="logo_black.ai"/>
          <p:cNvPicPr>
            <a:picLocks noChangeAspect="1"/>
          </p:cNvPicPr>
          <p:nvPr userDrawn="1"/>
        </p:nvPicPr>
        <p:blipFill>
          <a:blip r:embed="rId4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554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28884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171977"/>
            <a:ext cx="3901123" cy="325890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>
                  <a:lumMod val="50000"/>
                </a:schemeClr>
              </a:buClr>
              <a:buSzPct val="80000"/>
              <a:buFont typeface="Wingdings" panose="05000000000000000000" pitchFamily="2" charset="2"/>
              <a:buChar char="§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>
                  <a:lumMod val="50000"/>
                </a:schemeClr>
              </a:buClr>
              <a:buSzPct val="80000"/>
              <a:buFont typeface="Arial" panose="020B0604020202020204" pitchFamily="34" charset="0"/>
              <a:buChar char="−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>
                  <a:lumMod val="50000"/>
                </a:schemeClr>
              </a:buClr>
              <a:buSzPct val="80000"/>
              <a:buFont typeface="Arial"/>
              <a:buChar char="•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>
                  <a:lumMod val="50000"/>
                </a:schemeClr>
              </a:buClr>
              <a:buSzPct val="80000"/>
              <a:buFont typeface="Arial"/>
              <a:buChar char="•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>
                  <a:lumMod val="50000"/>
                </a:schemeClr>
              </a:buClr>
              <a:buSzPct val="80000"/>
              <a:buFont typeface="Arial"/>
              <a:buChar char="•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17289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 sz="2400" b="0"/>
            </a:lvl1pPr>
          </a:lstStyle>
          <a:p>
            <a:pPr lvl="0"/>
            <a:r>
              <a:rPr lang="en-GB" dirty="0" smtClean="0"/>
              <a:t>Click to edit 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2533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32" tIns="34286" rIns="68532" bIns="34286" anchor="ctr"/>
          <a:lstStyle/>
          <a:p>
            <a:pPr defTabSz="685324"/>
            <a:endParaRPr lang="en-US">
              <a:solidFill>
                <a:srgbClr val="676767"/>
              </a:solidFill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32" tIns="34286" rIns="68532" bIns="34286" anchor="ctr"/>
          <a:lstStyle/>
          <a:p>
            <a:pPr defTabSz="685324"/>
            <a:endParaRPr lang="en-US">
              <a:solidFill>
                <a:srgbClr val="676767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44" y="3209579"/>
            <a:ext cx="4684867" cy="288131"/>
          </a:xfrm>
          <a:prstGeom prst="rect">
            <a:avLst/>
          </a:prstGeom>
        </p:spPr>
        <p:txBody>
          <a:bodyPr vert="horz" lIns="51403" tIns="25715" rIns="51403" bIns="25715" rtlCol="0">
            <a:noAutofit/>
          </a:bodyPr>
          <a:lstStyle>
            <a:lvl1pPr marL="0" indent="0" algn="l" defTabSz="685255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426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2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8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5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7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3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09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51" y="2462028"/>
            <a:ext cx="4712557" cy="766763"/>
          </a:xfrm>
        </p:spPr>
        <p:txBody>
          <a:bodyPr lIns="46258" tIns="25715" rIns="46258" bIns="25715" rtlCol="0" anchor="b">
            <a:noAutofit/>
          </a:bodyPr>
          <a:lstStyle>
            <a:lvl1pPr marL="0" indent="0" algn="l" defTabSz="685255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68523" tIns="34283" rIns="68523" bIns="34283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48469923"/>
      </p:ext>
    </p:extLst>
  </p:cSld>
  <p:clrMapOvr>
    <a:masterClrMapping/>
  </p:clrMapOvr>
  <p:transition spd="slow">
    <p:wip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Multi_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59117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Title Goes Her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1499" y="1200179"/>
            <a:ext cx="8659976" cy="3394075"/>
          </a:xfrm>
          <a:prstGeom prst="rect">
            <a:avLst/>
          </a:prstGeom>
        </p:spPr>
        <p:txBody>
          <a:bodyPr lIns="91376" tIns="45688" rIns="91376" bIns="45688">
            <a:noAutofit/>
          </a:bodyPr>
          <a:lstStyle>
            <a:lvl1pPr marL="285532" marR="0" indent="-285532" algn="l" defTabSz="4568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marL="0" marR="0" lvl="0" indent="0" algn="l" defTabSz="45683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 dirty="0" smtClean="0"/>
              <a:t>This slide will allow you to add one of the following:</a:t>
            </a:r>
            <a:br>
              <a:rPr lang="en-GB" dirty="0" smtClean="0"/>
            </a:br>
            <a:r>
              <a:rPr lang="en-GB" dirty="0" smtClean="0"/>
              <a:t>Table, Charts, Smart Art, Pictures, Clip Art and Media</a:t>
            </a:r>
            <a:br>
              <a:rPr lang="en-GB" dirty="0" smtClean="0"/>
            </a:br>
            <a:r>
              <a:rPr lang="en-GB" dirty="0" smtClean="0"/>
              <a:t>Click icon to add content</a:t>
            </a: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50" tIns="30794" rIns="61550" bIns="30794" anchor="b">
            <a:spAutoFit/>
          </a:bodyPr>
          <a:lstStyle/>
          <a:p>
            <a:pPr algn="r" defTabSz="610380"/>
            <a:r>
              <a:rPr lang="en-US" sz="600" dirty="0">
                <a:solidFill>
                  <a:srgbClr val="FFFFFF"/>
                </a:solidFill>
                <a:cs typeface="Arial" panose="020B0604020202020204" pitchFamily="34" charset="0"/>
              </a:rPr>
              <a:t>Cisco Confidential</a:t>
            </a:r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660755" y="4742905"/>
            <a:ext cx="220614" cy="1545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50" tIns="30794" rIns="61550" bIns="30794" anchor="b">
            <a:spAutoFit/>
          </a:bodyPr>
          <a:lstStyle/>
          <a:p>
            <a:pPr algn="r" defTabSz="610380"/>
            <a:fld id="{DFCF27A5-1A5B-48D3-A060-2758FFBB1ADD}" type="slidenum">
              <a:rPr lang="en-US" sz="600">
                <a:solidFill>
                  <a:srgbClr val="FFFFFF"/>
                </a:solidFill>
                <a:cs typeface="Arial" panose="020B0604020202020204" pitchFamily="34" charset="0"/>
              </a:rPr>
              <a:pPr algn="r" defTabSz="610380"/>
              <a:t>‹#›</a:t>
            </a:fld>
            <a:endParaRPr lang="en-US" sz="6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292072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50" tIns="30794" rIns="61550" bIns="30794" anchor="b" anchorCtr="0">
            <a:spAutoFit/>
          </a:bodyPr>
          <a:lstStyle/>
          <a:p>
            <a:pPr defTabSz="610380"/>
            <a:r>
              <a:rPr lang="en-US" sz="600" dirty="0" smtClean="0">
                <a:solidFill>
                  <a:srgbClr val="FFFFFF"/>
                </a:solidFill>
                <a:cs typeface="Arial" panose="020B0604020202020204" pitchFamily="34" charset="0"/>
              </a:rPr>
              <a:t>©2014 Cisco and/or its affiliates. All rights reserved.</a:t>
            </a:r>
            <a:endParaRPr lang="en-US" sz="6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80914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5823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744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5605068"/>
      </p:ext>
    </p:extLst>
  </p:cSld>
  <p:clrMapOvr>
    <a:masterClrMapping/>
  </p:clrMapOvr>
  <p:transition spd="med">
    <p:fade/>
  </p:transition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pic>
        <p:nvPicPr>
          <p:cNvPr id="9" name="Picture Placeholder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-6431" y="-15240"/>
            <a:ext cx="9150431" cy="5158740"/>
          </a:xfrm>
          <a:prstGeom prst="rect">
            <a:avLst/>
          </a:prstGeom>
        </p:spPr>
      </p:pic>
      <p:pic>
        <p:nvPicPr>
          <p:cNvPr id="16" name="Picture 8" descr="logo_black.ai"/>
          <p:cNvPicPr>
            <a:picLocks noChangeAspect="1"/>
          </p:cNvPicPr>
          <p:nvPr userDrawn="1"/>
        </p:nvPicPr>
        <p:blipFill>
          <a:blip r:embed="rId4">
            <a:alphaModFix amt="8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901" y="325747"/>
            <a:ext cx="920743" cy="60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78551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63904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bg1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471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6" y="0"/>
            <a:ext cx="9141291" cy="5143500"/>
          </a:xfrm>
          <a:prstGeom prst="rect">
            <a:avLst/>
          </a:prstGeom>
        </p:spPr>
      </p:pic>
      <p:pic>
        <p:nvPicPr>
          <p:cNvPr id="16" name="Picture 8" descr="logo_black.ai"/>
          <p:cNvPicPr>
            <a:picLocks noChangeAspect="1"/>
          </p:cNvPicPr>
          <p:nvPr userDrawn="1"/>
        </p:nvPicPr>
        <p:blipFill>
          <a:blip r:embed="rId4">
            <a:alphaModFix amt="8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901" y="325747"/>
            <a:ext cx="920743" cy="60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chemeClr val="bg1">
                    <a:lumMod val="50000"/>
                  </a:schemeClr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78551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63904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chemeClr val="tx1">
                    <a:lumMod val="50000"/>
                  </a:schemeClr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  <p:pic>
        <p:nvPicPr>
          <p:cNvPr id="17" name="Picture 16" descr="logo_black.ai"/>
          <p:cNvPicPr>
            <a:picLocks noChangeAspect="1"/>
          </p:cNvPicPr>
          <p:nvPr userDrawn="1"/>
        </p:nvPicPr>
        <p:blipFill>
          <a:blip r:embed="rId4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315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40574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171977"/>
            <a:ext cx="3901123" cy="325890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>
                  <a:lumMod val="50000"/>
                </a:schemeClr>
              </a:buClr>
              <a:buSzPct val="80000"/>
              <a:buFont typeface="Wingdings" panose="05000000000000000000" pitchFamily="2" charset="2"/>
              <a:buChar char="§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>
                  <a:lumMod val="50000"/>
                </a:schemeClr>
              </a:buClr>
              <a:buSzPct val="80000"/>
              <a:buFont typeface="Arial" panose="020B0604020202020204" pitchFamily="34" charset="0"/>
              <a:buChar char="−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>
                  <a:lumMod val="50000"/>
                </a:schemeClr>
              </a:buClr>
              <a:buSzPct val="80000"/>
              <a:buFont typeface="Arial"/>
              <a:buChar char="•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>
                  <a:lumMod val="50000"/>
                </a:schemeClr>
              </a:buClr>
              <a:buSzPct val="80000"/>
              <a:buFont typeface="Arial"/>
              <a:buChar char="•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>
                  <a:lumMod val="50000"/>
                </a:schemeClr>
              </a:buClr>
              <a:buSzPct val="80000"/>
              <a:buFont typeface="Arial"/>
              <a:buChar char="•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17289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 sz="2400" b="0"/>
            </a:lvl1pPr>
          </a:lstStyle>
          <a:p>
            <a:pPr lvl="0"/>
            <a:r>
              <a:rPr lang="en-GB" dirty="0" smtClean="0"/>
              <a:t>Click to edit 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6956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0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815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0657243"/>
      </p:ext>
    </p:extLst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ullet_Title onl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59742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sp>
        <p:nvSpPr>
          <p:cNvPr id="4" name="Rectangle 5"/>
          <p:cNvSpPr>
            <a:spLocks noChangeArrowheads="1"/>
          </p:cNvSpPr>
          <p:nvPr userDrawn="1"/>
        </p:nvSpPr>
        <p:spPr bwMode="ltGray">
          <a:xfrm>
            <a:off x="7813257" y="4745973"/>
            <a:ext cx="762394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61" tIns="30797" rIns="61561" bIns="30797" anchor="b">
            <a:spAutoFit/>
          </a:bodyPr>
          <a:lstStyle/>
          <a:p>
            <a:pPr algn="r" defTabSz="610471"/>
            <a:r>
              <a:rPr lang="en-US" sz="600" dirty="0">
                <a:solidFill>
                  <a:srgbClr val="FFFFFF"/>
                </a:solidFill>
                <a:cs typeface="CiscoSans Thin"/>
              </a:rPr>
              <a:t>Cisco Confidential</a:t>
            </a:r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8660817" y="4742920"/>
            <a:ext cx="220577" cy="1545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61" tIns="30797" rIns="61561" bIns="30797" anchor="b">
            <a:spAutoFit/>
          </a:bodyPr>
          <a:lstStyle/>
          <a:p>
            <a:pPr algn="r" defTabSz="610471"/>
            <a:fld id="{DFCF27A5-1A5B-48D3-A060-2758FFBB1ADD}" type="slidenum">
              <a:rPr lang="en-US" sz="600">
                <a:solidFill>
                  <a:srgbClr val="FFFFFF"/>
                </a:solidFill>
                <a:cs typeface="CiscoSans Thin"/>
              </a:rPr>
              <a:pPr algn="r" defTabSz="610471"/>
              <a:t>‹#›</a:t>
            </a:fld>
            <a:endParaRPr lang="en-US" sz="600" dirty="0">
              <a:solidFill>
                <a:srgbClr val="FFFFFF"/>
              </a:solidFill>
              <a:cs typeface="CiscoSans Thin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ltGray">
          <a:xfrm>
            <a:off x="292068" y="4747273"/>
            <a:ext cx="3420515" cy="154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61" tIns="30797" rIns="61561" bIns="30797" anchor="b" anchorCtr="0">
            <a:spAutoFit/>
          </a:bodyPr>
          <a:lstStyle/>
          <a:p>
            <a:pPr defTabSz="610471"/>
            <a:r>
              <a:rPr lang="en-US" sz="600" dirty="0" smtClean="0">
                <a:solidFill>
                  <a:srgbClr val="FFFFFF"/>
                </a:solidFill>
                <a:cs typeface="CiscoSans Thin"/>
              </a:rPr>
              <a:t>© 2014  Cisco and/or its affiliates. All rights reserved.</a:t>
            </a:r>
            <a:endParaRPr lang="en-US" sz="600" dirty="0">
              <a:solidFill>
                <a:srgbClr val="FFFFFF"/>
              </a:solidFill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3055805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116" y="1989513"/>
            <a:ext cx="4389768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D364588-C89B-434D-8A0B-2FA48AD4AE8C}" type="datetimeFigureOut">
              <a:rPr lang="en-US" smtClean="0">
                <a:solidFill>
                  <a:srgbClr val="333333"/>
                </a:solidFill>
                <a:ea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1/24/17</a:t>
            </a:fld>
            <a:endParaRPr lang="en-US">
              <a:solidFill>
                <a:srgbClr val="333333"/>
              </a:solidFill>
              <a:ea typeface="ＭＳ Ｐゴシック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333333"/>
              </a:solidFill>
              <a:ea typeface="ＭＳ Ｐゴシック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929CD0-2B9E-4D11-9967-5DE04E06D746}" type="slidenum">
              <a:rPr lang="en-US" smtClean="0">
                <a:solidFill>
                  <a:srgbClr val="333333"/>
                </a:solidFill>
                <a:ea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333333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3684320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pic>
        <p:nvPicPr>
          <p:cNvPr id="9" name="Picture Placeholder 3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-6431" y="-15240"/>
            <a:ext cx="9150431" cy="5158740"/>
          </a:xfrm>
          <a:prstGeom prst="rect">
            <a:avLst/>
          </a:prstGeom>
        </p:spPr>
      </p:pic>
      <p:pic>
        <p:nvPicPr>
          <p:cNvPr id="16" name="Picture 8" descr="logo_black.ai"/>
          <p:cNvPicPr>
            <a:picLocks noChangeAspect="1"/>
          </p:cNvPicPr>
          <p:nvPr userDrawn="1"/>
        </p:nvPicPr>
        <p:blipFill>
          <a:blip r:embed="rId4">
            <a:alphaModFix amt="8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901" y="325747"/>
            <a:ext cx="920743" cy="60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chemeClr val="bg1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78551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63904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bg1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611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6" y="0"/>
            <a:ext cx="9141291" cy="5143500"/>
          </a:xfrm>
          <a:prstGeom prst="rect">
            <a:avLst/>
          </a:prstGeom>
        </p:spPr>
      </p:pic>
      <p:pic>
        <p:nvPicPr>
          <p:cNvPr id="16" name="Picture 8" descr="logo_black.ai"/>
          <p:cNvPicPr>
            <a:picLocks noChangeAspect="1"/>
          </p:cNvPicPr>
          <p:nvPr userDrawn="1"/>
        </p:nvPicPr>
        <p:blipFill>
          <a:blip r:embed="rId4">
            <a:alphaModFix amt="8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901" y="325747"/>
            <a:ext cx="920743" cy="60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chemeClr val="bg1">
                    <a:lumMod val="50000"/>
                  </a:schemeClr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78551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63904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chemeClr val="tx1">
                    <a:lumMod val="50000"/>
                  </a:schemeClr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  <p:pic>
        <p:nvPicPr>
          <p:cNvPr id="17" name="Picture 16" descr="logo_black.ai"/>
          <p:cNvPicPr>
            <a:picLocks noChangeAspect="1"/>
          </p:cNvPicPr>
          <p:nvPr userDrawn="1"/>
        </p:nvPicPr>
        <p:blipFill>
          <a:blip r:embed="rId4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806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211920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171977"/>
            <a:ext cx="3901123" cy="325890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>
                  <a:lumMod val="50000"/>
                </a:schemeClr>
              </a:buClr>
              <a:buSzPct val="80000"/>
              <a:buFont typeface="Wingdings" panose="05000000000000000000" pitchFamily="2" charset="2"/>
              <a:buChar char="§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>
                  <a:lumMod val="50000"/>
                </a:schemeClr>
              </a:buClr>
              <a:buSzPct val="80000"/>
              <a:buFont typeface="Arial" panose="020B0604020202020204" pitchFamily="34" charset="0"/>
              <a:buChar char="−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>
                  <a:lumMod val="50000"/>
                </a:schemeClr>
              </a:buClr>
              <a:buSzPct val="80000"/>
              <a:buFont typeface="Arial"/>
              <a:buChar char="•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>
                  <a:lumMod val="50000"/>
                </a:schemeClr>
              </a:buClr>
              <a:buSzPct val="80000"/>
              <a:buFont typeface="Arial"/>
              <a:buChar char="•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>
                  <a:lumMod val="50000"/>
                </a:schemeClr>
              </a:buClr>
              <a:buSzPct val="80000"/>
              <a:buFont typeface="Arial"/>
              <a:buChar char="•"/>
              <a:defRPr sz="1800" b="0" i="0">
                <a:solidFill>
                  <a:schemeClr val="tx1">
                    <a:lumMod val="50000"/>
                  </a:schemeClr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17289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 sz="2400" b="0"/>
            </a:lvl1pPr>
          </a:lstStyle>
          <a:p>
            <a:pPr lvl="0"/>
            <a:r>
              <a:rPr lang="en-GB" dirty="0" smtClean="0"/>
              <a:t>Click to edit Master title</a:t>
            </a:r>
            <a:br>
              <a:rPr lang="en-GB" dirty="0" smtClean="0"/>
            </a:br>
            <a:r>
              <a:rPr lang="en-GB" dirty="0" smtClean="0"/>
              <a:t>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5807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6661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157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388164"/>
      </p:ext>
    </p:extLst>
  </p:cSld>
  <p:clrMapOvr>
    <a:masterClrMapping/>
  </p:clrMapOvr>
  <p:transition spd="med">
    <p:fade/>
  </p:transition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116" y="1989513"/>
            <a:ext cx="4389768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D364588-C89B-434D-8A0B-2FA48AD4AE8C}" type="datetimeFigureOut">
              <a:rPr lang="en-US" smtClean="0">
                <a:solidFill>
                  <a:srgbClr val="333333"/>
                </a:solidFill>
                <a:ea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1/24/17</a:t>
            </a:fld>
            <a:endParaRPr lang="en-US">
              <a:solidFill>
                <a:srgbClr val="333333"/>
              </a:solidFill>
              <a:ea typeface="ＭＳ Ｐゴシック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333333"/>
              </a:solidFill>
              <a:ea typeface="ＭＳ Ｐゴシック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16929CD0-2B9E-4D11-9967-5DE04E06D746}" type="slidenum">
              <a:rPr lang="en-US" smtClean="0">
                <a:solidFill>
                  <a:srgbClr val="333333"/>
                </a:solidFill>
                <a:ea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333333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7669450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92" y="1192"/>
            <a:ext cx="1190" cy="1190"/>
          </a:xfrm>
          <a:prstGeom prst="rect">
            <a:avLst/>
          </a:prstGeom>
          <a:noFill/>
        </p:spPr>
      </p:pic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58783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Placeholder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517" y="0"/>
            <a:ext cx="9141291" cy="51435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8" descr="logo_black.ai"/>
          <p:cNvPicPr>
            <a:picLocks noChangeAspect="1"/>
          </p:cNvPicPr>
          <p:nvPr userDrawn="1"/>
        </p:nvPicPr>
        <p:blipFill>
          <a:blip r:embed="rId3">
            <a:alphaModFix amt="82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82" y="320677"/>
            <a:ext cx="949325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527" y="3793230"/>
            <a:ext cx="8296421" cy="288131"/>
          </a:xfrm>
          <a:prstGeom prst="rect">
            <a:avLst/>
          </a:prstGeom>
        </p:spPr>
        <p:txBody>
          <a:bodyPr lIns="68510" tIns="34274" rIns="68510" bIns="34274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4D4D4D"/>
                </a:solidFill>
                <a:latin typeface="+mn-lt"/>
                <a:cs typeface="CiscoSans"/>
              </a:defRPr>
            </a:lvl1pPr>
            <a:lvl2pPr marL="3425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0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6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2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2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77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0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527" y="4078583"/>
            <a:ext cx="8296421" cy="288131"/>
          </a:xfrm>
          <a:prstGeom prst="rect">
            <a:avLst/>
          </a:prstGeom>
        </p:spPr>
        <p:txBody>
          <a:bodyPr lIns="68510" tIns="34274" rIns="68510" bIns="34274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527" y="4363936"/>
            <a:ext cx="8296421" cy="288131"/>
          </a:xfrm>
          <a:prstGeom prst="rect">
            <a:avLst/>
          </a:prstGeom>
        </p:spPr>
        <p:txBody>
          <a:bodyPr lIns="68510" tIns="34274" rIns="68510" bIns="34274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321" y="3211463"/>
            <a:ext cx="8302625" cy="299001"/>
          </a:xfrm>
          <a:prstGeom prst="rect">
            <a:avLst/>
          </a:prstGeom>
        </p:spPr>
        <p:txBody>
          <a:bodyPr lIns="68510" tIns="34274" rIns="68510" bIns="34274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502" indent="0">
              <a:buNone/>
              <a:defRPr/>
            </a:lvl2pPr>
            <a:lvl3pPr marL="427010" indent="0">
              <a:buNone/>
              <a:defRPr/>
            </a:lvl3pPr>
            <a:lvl4pPr marL="516213" indent="0">
              <a:buNone/>
              <a:defRPr/>
            </a:lvl4pPr>
            <a:lvl5pPr marL="600664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7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055633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gue">
    <p:bg>
      <p:bgPr>
        <a:gradFill rotWithShape="0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5708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50" tIns="30791" rIns="61550" bIns="30791" anchor="b">
            <a:spAutoFit/>
          </a:bodyPr>
          <a:lstStyle/>
          <a:p>
            <a:pPr algn="r" defTabSz="610384"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cs typeface="CiscoSans Thin"/>
              </a:rPr>
              <a:pPr algn="r" defTabSz="61038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50" tIns="30791" rIns="61550" bIns="30791" anchor="b">
            <a:spAutoFit/>
          </a:bodyPr>
          <a:lstStyle/>
          <a:p>
            <a:pPr defTabSz="61038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5122827"/>
      </p:ext>
    </p:extLst>
  </p:cSld>
  <p:clrMapOvr>
    <a:masterClrMapping/>
  </p:clrMapOvr>
  <p:transition spd="slow">
    <p:wipe/>
  </p:transition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6"/>
            <a:ext cx="83454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2402461"/>
      </p:ext>
    </p:extLst>
  </p:cSld>
  <p:clrMapOvr>
    <a:masterClrMapping/>
  </p:clrMapOvr>
  <p:transition spd="med">
    <p:fade/>
  </p:transition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">
    <p:bg>
      <p:bgPr>
        <a:gradFill rotWithShape="1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76638" y="1646240"/>
            <a:ext cx="19907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776783"/>
      </p:ext>
    </p:extLst>
  </p:cSld>
  <p:clrMapOvr>
    <a:masterClrMapping/>
  </p:clrMapOvr>
  <p:transition spd="slow">
    <p:wipe/>
  </p:transition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92" y="1192"/>
            <a:ext cx="1190" cy="1190"/>
          </a:xfrm>
          <a:prstGeom prst="rect">
            <a:avLst/>
          </a:prstGeom>
          <a:noFill/>
        </p:spPr>
      </p:pic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17539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gue">
    <p:bg>
      <p:bgPr>
        <a:gradFill rotWithShape="0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5708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3" tIns="30791" rIns="61583" bIns="30791" anchor="b">
            <a:spAutoFit/>
          </a:bodyPr>
          <a:lstStyle/>
          <a:p>
            <a:pPr algn="r" defTabSz="610714"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cs typeface="CiscoSans Thin"/>
              </a:rPr>
              <a:pPr algn="r" defTabSz="61071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3" tIns="30791" rIns="61583" bIns="30791" anchor="b">
            <a:spAutoFit/>
          </a:bodyPr>
          <a:lstStyle/>
          <a:p>
            <a:pPr defTabSz="61071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84313497"/>
      </p:ext>
    </p:extLst>
  </p:cSld>
  <p:clrMapOvr>
    <a:masterClrMapping/>
  </p:clrMapOvr>
  <p:transition spd="slow">
    <p:wipe/>
  </p:transition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5"/>
            <a:ext cx="83454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1597400"/>
      </p:ext>
    </p:extLst>
  </p:cSld>
  <p:clrMapOvr>
    <a:masterClrMapping/>
  </p:clrMapOvr>
  <p:transition spd="med">
    <p:fade/>
  </p:transition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">
    <p:bg>
      <p:bgPr>
        <a:gradFill rotWithShape="1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76638" y="1646240"/>
            <a:ext cx="19907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41789756"/>
      </p:ext>
    </p:extLst>
  </p:cSld>
  <p:clrMapOvr>
    <a:masterClrMapping/>
  </p:clrMapOvr>
  <p:transition spd="slow">
    <p:wipe/>
  </p:transition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92" y="1192"/>
            <a:ext cx="1190" cy="1190"/>
          </a:xfrm>
          <a:prstGeom prst="rect">
            <a:avLst/>
          </a:prstGeom>
          <a:noFill/>
        </p:spPr>
      </p:pic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</p:spTree>
    <p:extLst>
      <p:ext uri="{BB962C8B-B14F-4D97-AF65-F5344CB8AC3E}">
        <p14:creationId xmlns:p14="http://schemas.microsoft.com/office/powerpoint/2010/main" val="103480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6"/>
            <a:ext cx="83454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7634035"/>
      </p:ext>
    </p:extLst>
  </p:cSld>
  <p:clrMapOvr>
    <a:masterClrMapping/>
  </p:clrMapOvr>
  <p:transition spd="med">
    <p:fade/>
  </p:transition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">
    <p:bg>
      <p:bgPr>
        <a:gradFill rotWithShape="1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76638" y="1646240"/>
            <a:ext cx="19907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0641099"/>
      </p:ext>
    </p:extLst>
  </p:cSld>
  <p:clrMapOvr>
    <a:masterClrMapping/>
  </p:clrMapOvr>
  <p:transition spd="slow">
    <p:wip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525" y="3793228"/>
            <a:ext cx="8296421" cy="288131"/>
          </a:xfrm>
          <a:prstGeom prst="rect">
            <a:avLst/>
          </a:prstGeom>
        </p:spPr>
        <p:txBody>
          <a:bodyPr lIns="91358" tIns="45679" rIns="91358" bIns="45679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7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3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0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07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525" y="4033225"/>
            <a:ext cx="8296421" cy="288131"/>
          </a:xfrm>
          <a:prstGeom prst="rect">
            <a:avLst/>
          </a:prstGeom>
        </p:spPr>
        <p:txBody>
          <a:bodyPr lIns="91358" tIns="45679" rIns="91358" bIns="45679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525" y="4273222"/>
            <a:ext cx="8296421" cy="288131"/>
          </a:xfrm>
          <a:prstGeom prst="rect">
            <a:avLst/>
          </a:prstGeom>
        </p:spPr>
        <p:txBody>
          <a:bodyPr lIns="91358" tIns="45679" rIns="91358" bIns="45679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321" y="3211463"/>
            <a:ext cx="8302625" cy="299001"/>
          </a:xfrm>
          <a:prstGeom prst="rect">
            <a:avLst/>
          </a:prstGeom>
        </p:spPr>
        <p:txBody>
          <a:bodyPr lIns="91358" tIns="45679" rIns="91358" bIns="45679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552" indent="0">
              <a:buNone/>
              <a:defRPr/>
            </a:lvl2pPr>
            <a:lvl3pPr marL="427079" indent="0">
              <a:buNone/>
              <a:defRPr/>
            </a:lvl3pPr>
            <a:lvl4pPr marL="516296" indent="0">
              <a:buNone/>
              <a:defRPr/>
            </a:lvl4pPr>
            <a:lvl5pPr marL="60076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7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779275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412" y="324000"/>
            <a:ext cx="941172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04"/>
            <a:ext cx="8296421" cy="288131"/>
          </a:xfrm>
          <a:prstGeom prst="rect">
            <a:avLst/>
          </a:prstGeom>
        </p:spPr>
        <p:txBody>
          <a:bodyPr lIns="91396" tIns="45698" rIns="91396" bIns="45698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0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8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201"/>
            <a:ext cx="8296421" cy="288131"/>
          </a:xfrm>
          <a:prstGeom prst="rect">
            <a:avLst/>
          </a:prstGeom>
        </p:spPr>
        <p:txBody>
          <a:bodyPr lIns="91396" tIns="45698" rIns="91396" bIns="45698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8"/>
            <a:ext cx="8296421" cy="288131"/>
          </a:xfrm>
          <a:prstGeom prst="rect">
            <a:avLst/>
          </a:prstGeom>
        </p:spPr>
        <p:txBody>
          <a:bodyPr lIns="91396" tIns="45698" rIns="91396" bIns="45698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396" tIns="45698" rIns="91396" bIns="45698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09" indent="0">
              <a:buNone/>
              <a:defRPr/>
            </a:lvl2pPr>
            <a:lvl3pPr marL="427293" indent="0">
              <a:buNone/>
              <a:defRPr/>
            </a:lvl3pPr>
            <a:lvl4pPr marL="516568" indent="0">
              <a:buNone/>
              <a:defRPr/>
            </a:lvl4pPr>
            <a:lvl5pPr marL="60107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4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116189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475" name="Picture 3" descr="\\.PSF\.Mac\Volumes\16GB_1\EN_Title_Analytics_Comp1 copy1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84592" y="0"/>
            <a:ext cx="6959409" cy="5143500"/>
          </a:xfrm>
          <a:prstGeom prst="rect">
            <a:avLst/>
          </a:prstGeom>
          <a:noFill/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412" y="324000"/>
            <a:ext cx="941172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04"/>
            <a:ext cx="8296421" cy="288131"/>
          </a:xfrm>
          <a:prstGeom prst="rect">
            <a:avLst/>
          </a:prstGeom>
        </p:spPr>
        <p:txBody>
          <a:bodyPr lIns="91396" tIns="45698" rIns="91396" bIns="45698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0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8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201"/>
            <a:ext cx="8296421" cy="288131"/>
          </a:xfrm>
          <a:prstGeom prst="rect">
            <a:avLst/>
          </a:prstGeom>
        </p:spPr>
        <p:txBody>
          <a:bodyPr lIns="91396" tIns="45698" rIns="91396" bIns="45698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8"/>
            <a:ext cx="8296421" cy="288131"/>
          </a:xfrm>
          <a:prstGeom prst="rect">
            <a:avLst/>
          </a:prstGeom>
        </p:spPr>
        <p:txBody>
          <a:bodyPr lIns="91396" tIns="45698" rIns="91396" bIns="45698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396" tIns="45698" rIns="91396" bIns="45698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09" indent="0">
              <a:buNone/>
              <a:defRPr/>
            </a:lvl2pPr>
            <a:lvl3pPr marL="427293" indent="0">
              <a:buNone/>
              <a:defRPr/>
            </a:lvl3pPr>
            <a:lvl4pPr marL="516568" indent="0">
              <a:buNone/>
              <a:defRPr/>
            </a:lvl4pPr>
            <a:lvl5pPr marL="60107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5756725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4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904776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ucks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572" y="-5997"/>
            <a:ext cx="9153144" cy="5155499"/>
          </a:xfrm>
          <a:prstGeom prst="rect">
            <a:avLst/>
          </a:prstGeom>
        </p:spPr>
      </p:pic>
      <p:pic>
        <p:nvPicPr>
          <p:cNvPr id="15" name="Picture 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26053" y="320677"/>
            <a:ext cx="948131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04"/>
            <a:ext cx="8296421" cy="288131"/>
          </a:xfrm>
          <a:prstGeom prst="rect">
            <a:avLst/>
          </a:prstGeom>
        </p:spPr>
        <p:txBody>
          <a:bodyPr lIns="91396" tIns="45698" rIns="91396" bIns="45698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4D4D4D"/>
                </a:solidFill>
                <a:latin typeface="+mn-lt"/>
                <a:cs typeface="CiscoSans"/>
              </a:defRPr>
            </a:lvl1pPr>
            <a:lvl2pPr marL="342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0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8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6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4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78557"/>
            <a:ext cx="8296421" cy="288131"/>
          </a:xfrm>
          <a:prstGeom prst="rect">
            <a:avLst/>
          </a:prstGeom>
        </p:spPr>
        <p:txBody>
          <a:bodyPr lIns="91396" tIns="45698" rIns="91396" bIns="45698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63910"/>
            <a:ext cx="8296421" cy="288131"/>
          </a:xfrm>
          <a:prstGeom prst="rect">
            <a:avLst/>
          </a:prstGeom>
        </p:spPr>
        <p:txBody>
          <a:bodyPr lIns="91396" tIns="45698" rIns="91396" bIns="45698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396" tIns="45698" rIns="91396" bIns="45698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709" indent="0">
              <a:buNone/>
              <a:defRPr/>
            </a:lvl2pPr>
            <a:lvl3pPr marL="427293" indent="0">
              <a:buNone/>
              <a:defRPr/>
            </a:lvl3pPr>
            <a:lvl4pPr marL="516568" indent="0">
              <a:buNone/>
              <a:defRPr/>
            </a:lvl4pPr>
            <a:lvl5pPr marL="60107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421613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56" tIns="34279" rIns="68556" bIns="34279" anchor="ctr"/>
          <a:lstStyle/>
          <a:p>
            <a:pPr defTabSz="457086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676767"/>
              </a:solidFill>
              <a:ea typeface="ＭＳ Ｐゴシック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56" tIns="34279" rIns="68556" bIns="34279" anchor="ctr"/>
          <a:lstStyle/>
          <a:p>
            <a:pPr defTabSz="457086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676767"/>
              </a:solidFill>
              <a:ea typeface="ＭＳ Ｐゴシック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21" y="3209556"/>
            <a:ext cx="4684867" cy="288131"/>
          </a:xfrm>
          <a:prstGeom prst="rect">
            <a:avLst/>
          </a:prstGeom>
        </p:spPr>
        <p:txBody>
          <a:bodyPr vert="horz" lIns="68556" tIns="34279" rIns="68556" bIns="34279" rtlCol="0">
            <a:noAutofit/>
          </a:bodyPr>
          <a:lstStyle>
            <a:lvl1pPr marL="0" indent="0" algn="l" defTabSz="6855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427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1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5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3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31" y="2462028"/>
            <a:ext cx="4712557" cy="766763"/>
          </a:xfrm>
        </p:spPr>
        <p:txBody>
          <a:bodyPr lIns="61697" tIns="34279" rIns="61697" bIns="34279" rtlCol="0" anchor="b">
            <a:noAutofit/>
          </a:bodyPr>
          <a:lstStyle>
            <a:lvl1pPr marL="0" indent="0" algn="l" defTabSz="685577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7" y="1438276"/>
            <a:ext cx="2676525" cy="2166938"/>
          </a:xfrm>
          <a:prstGeom prst="rect">
            <a:avLst/>
          </a:prstGeom>
        </p:spPr>
        <p:txBody>
          <a:bodyPr lIns="91396" tIns="45698" rIns="91396" bIns="45698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2954576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3562" y="4930927"/>
            <a:ext cx="220560" cy="15449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68" tIns="30783" rIns="61568" bIns="30783" anchor="b">
            <a:spAutoFit/>
          </a:bodyPr>
          <a:lstStyle/>
          <a:p>
            <a:pPr algn="r" defTabSz="610592"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pPr algn="r" defTabSz="610592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9" y="4930902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68" tIns="30783" rIns="61568" bIns="30783" anchor="b">
            <a:spAutoFit/>
          </a:bodyPr>
          <a:lstStyle/>
          <a:p>
            <a:pPr defTabSz="610592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t>2016  </a:t>
            </a:r>
            <a:r>
              <a:rPr lang="en-US" sz="600" dirty="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email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6" y="4821174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193261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 descr="\\.PSF\.Mac\Volumes\16GB_1\EN_Title_Analytics_Comp1 copy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1875099"/>
          </a:xfrm>
          <a:prstGeom prst="rect">
            <a:avLst/>
          </a:prstGeom>
          <a:noFill/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2009218"/>
            <a:ext cx="7598042" cy="256994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92596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53" tIns="34277" rIns="68553" bIns="34277" anchor="ctr"/>
          <a:lstStyle/>
          <a:p>
            <a:pPr defTabSz="457086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676767"/>
              </a:solidFill>
              <a:ea typeface="ＭＳ Ｐゴシック" charset="0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53" tIns="34277" rIns="68553" bIns="34277" anchor="ctr"/>
          <a:lstStyle/>
          <a:p>
            <a:pPr defTabSz="457086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676767"/>
              </a:solidFill>
              <a:ea typeface="ＭＳ Ｐゴシック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33250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307263" y="1347790"/>
            <a:ext cx="8646188" cy="3073946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285618" marR="0" indent="-285618" algn="ctr" defTabSz="45699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102897" y="192026"/>
            <a:ext cx="8920493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49626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07263" y="1347788"/>
            <a:ext cx="8475993" cy="3168210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280856" indent="-223738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769" indent="-21580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372" indent="-17137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807" indent="-17137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180" indent="-168198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102897" y="19202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670296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08690" y="1351026"/>
            <a:ext cx="8700496" cy="3168210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57119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1968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5999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434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3982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102897" y="192026"/>
            <a:ext cx="8700496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42802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28" tIns="34286" rIns="68528" bIns="34286" anchor="ctr"/>
          <a:lstStyle/>
          <a:p>
            <a:pPr defTabSz="456833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28" tIns="34286" rIns="68528" bIns="34286" anchor="ctr"/>
          <a:lstStyle/>
          <a:p>
            <a:pPr defTabSz="456833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44" y="3209580"/>
            <a:ext cx="4684867" cy="288131"/>
          </a:xfrm>
          <a:prstGeom prst="rect">
            <a:avLst/>
          </a:prstGeom>
        </p:spPr>
        <p:txBody>
          <a:bodyPr vert="horz" lIns="68528" tIns="34286" rIns="68528" bIns="34286" rtlCol="0">
            <a:noAutofit/>
          </a:bodyPr>
          <a:lstStyle>
            <a:lvl1pPr marL="0" indent="0" algn="l" defTabSz="68522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42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0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6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08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51" y="2462028"/>
            <a:ext cx="4712557" cy="766763"/>
          </a:xfrm>
        </p:spPr>
        <p:txBody>
          <a:bodyPr lIns="61669" tIns="34286" rIns="61669" bIns="34286" rtlCol="0" anchor="b">
            <a:noAutofit/>
          </a:bodyPr>
          <a:lstStyle>
            <a:lvl1pPr marL="0" indent="0" algn="l" defTabSz="685227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4" y="1438276"/>
            <a:ext cx="2676525" cy="2166938"/>
          </a:xfrm>
          <a:prstGeom prst="rect">
            <a:avLst/>
          </a:prstGeom>
        </p:spPr>
        <p:txBody>
          <a:bodyPr lIns="91358" tIns="45679" rIns="91358" bIns="45679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17871847"/>
      </p:ext>
    </p:extLst>
  </p:cSld>
  <p:clrMapOvr>
    <a:masterClrMapping/>
  </p:clrMapOvr>
  <p:transition spd="slow">
    <p:wipe/>
  </p:transition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08690" y="895601"/>
            <a:ext cx="8398739" cy="3168210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57119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1968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5999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434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3982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11059112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08690" y="876359"/>
            <a:ext cx="8494702" cy="3168210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212346" indent="-392301">
              <a:lnSpc>
                <a:spcPts val="444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769" indent="-21580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372" indent="-17137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807" indent="-17137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180" indent="-168198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49281889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08692" y="1347788"/>
            <a:ext cx="8277344" cy="3168210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280856" indent="-223738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769" indent="-21580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372" indent="-17137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807" indent="-17137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180" indent="-168198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100584" y="192030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431571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4954662"/>
            <a:ext cx="9144000" cy="188840"/>
            <a:chOff x="0" y="6606214"/>
            <a:chExt cx="12188825" cy="251787"/>
          </a:xfrm>
        </p:grpSpPr>
        <p:pic>
          <p:nvPicPr>
            <p:cNvPr id="5" name="Picture 1" descr="\\.PSF\.Mac\Volumes\16GB_1\EN_Title_Analytics_Comp1 copy.png"/>
            <p:cNvPicPr>
              <a:picLocks noChangeAspect="1" noChangeArrowheads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6609145"/>
              <a:ext cx="12188825" cy="248856"/>
            </a:xfrm>
            <a:prstGeom prst="rect">
              <a:avLst/>
            </a:prstGeom>
            <a:noFill/>
          </p:spPr>
        </p:pic>
        <p:pic>
          <p:nvPicPr>
            <p:cNvPr id="7" name="Picture 2" descr="C:\Users\spius\Pictures\cisco logo blue gradient.png"/>
            <p:cNvPicPr>
              <a:picLocks noChangeAspect="1" noChangeArrowheads="1"/>
            </p:cNvPicPr>
            <p:nvPr userDrawn="1"/>
          </p:nvPicPr>
          <p:blipFill>
            <a:blip r:embed="rId3" cstate="email">
              <a:lum bright="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51703" b="9348"/>
            <a:stretch>
              <a:fillRect/>
            </a:stretch>
          </p:blipFill>
          <p:spPr bwMode="auto">
            <a:xfrm>
              <a:off x="632070" y="6606214"/>
              <a:ext cx="574933" cy="13771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08692" y="1200150"/>
            <a:ext cx="8277344" cy="3168210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280856" indent="-223738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769" indent="-21580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7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372" indent="-17137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807" indent="-171373">
              <a:buClr>
                <a:schemeClr val="tx1"/>
              </a:buClr>
              <a:buSzPct val="80000"/>
              <a:buFont typeface="Arial"/>
              <a:buChar char="•"/>
              <a:defRPr sz="13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180" indent="-168198">
              <a:buClr>
                <a:schemeClr val="tx1"/>
              </a:buClr>
              <a:buSzPct val="80000"/>
              <a:buFont typeface="Arial"/>
              <a:buChar char="•"/>
              <a:defRPr sz="11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100584" y="192030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5867509" y="4933950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lIns="61568" tIns="30783" rIns="61568" bIns="30783" anchor="b">
            <a:spAutoFit/>
          </a:bodyPr>
          <a:lstStyle/>
          <a:p>
            <a:pPr defTabSz="610592">
              <a:defRPr/>
            </a:pPr>
            <a:r>
              <a:rPr lang="en-US" sz="6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charset="0"/>
                <a:cs typeface="CiscoSans Thin"/>
              </a:rPr>
              <a:t>© </a:t>
            </a:r>
            <a:r>
              <a:rPr lang="en-US" sz="6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charset="0"/>
                <a:cs typeface="CiscoSans Thin"/>
              </a:rPr>
              <a:t>2016  </a:t>
            </a:r>
            <a:r>
              <a:rPr lang="en-US" sz="6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charset="0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999494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/>
          <p:cNvGrpSpPr/>
          <p:nvPr userDrawn="1"/>
        </p:nvGrpSpPr>
        <p:grpSpPr>
          <a:xfrm>
            <a:off x="0" y="4954662"/>
            <a:ext cx="9144000" cy="188840"/>
            <a:chOff x="0" y="6606214"/>
            <a:chExt cx="12188825" cy="251787"/>
          </a:xfrm>
        </p:grpSpPr>
        <p:pic>
          <p:nvPicPr>
            <p:cNvPr id="5" name="Picture 1" descr="\\.PSF\.Mac\Volumes\16GB_1\EN_Title_Analytics_Comp1 copy.png"/>
            <p:cNvPicPr>
              <a:picLocks noChangeAspect="1" noChangeArrowheads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6609145"/>
              <a:ext cx="12188825" cy="248856"/>
            </a:xfrm>
            <a:prstGeom prst="rect">
              <a:avLst/>
            </a:prstGeom>
            <a:noFill/>
          </p:spPr>
        </p:pic>
        <p:pic>
          <p:nvPicPr>
            <p:cNvPr id="7" name="Picture 2" descr="C:\Users\spius\Pictures\cisco logo blue gradient.png"/>
            <p:cNvPicPr>
              <a:picLocks noChangeAspect="1" noChangeArrowheads="1"/>
            </p:cNvPicPr>
            <p:nvPr userDrawn="1"/>
          </p:nvPicPr>
          <p:blipFill>
            <a:blip r:embed="rId3" cstate="email">
              <a:lum bright="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51703" b="9348"/>
            <a:stretch>
              <a:fillRect/>
            </a:stretch>
          </p:blipFill>
          <p:spPr bwMode="auto">
            <a:xfrm>
              <a:off x="632070" y="6606214"/>
              <a:ext cx="574933" cy="13771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100584" y="192030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9" y="4933950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lIns="61568" tIns="30783" rIns="61568" bIns="30783" anchor="b">
            <a:spAutoFit/>
          </a:bodyPr>
          <a:lstStyle/>
          <a:p>
            <a:pPr defTabSz="610592">
              <a:defRPr/>
            </a:pPr>
            <a:r>
              <a:rPr lang="en-US" sz="6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charset="0"/>
                <a:cs typeface="CiscoSans Thin"/>
              </a:rPr>
              <a:t>© </a:t>
            </a:r>
            <a:r>
              <a:rPr lang="en-US" sz="6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charset="0"/>
                <a:cs typeface="CiscoSans Thin"/>
              </a:rPr>
              <a:t>2016  </a:t>
            </a:r>
            <a:r>
              <a:rPr lang="en-US" sz="6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charset="0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686612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08692" y="1200212"/>
            <a:ext cx="3901123" cy="3083094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228501" indent="-171373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91" indent="-21580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364" indent="-17137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736" indent="-17137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104" indent="-17137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5" y="1200212"/>
            <a:ext cx="4218460" cy="3083094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228501" indent="-171373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91" indent="-21580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364" indent="-17137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736" indent="-17137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104" indent="-17137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102897" y="19202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96409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08692" y="1052635"/>
            <a:ext cx="3901123" cy="3083094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228501" indent="-171373">
              <a:lnSpc>
                <a:spcPct val="90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91" indent="-21580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364" indent="-171373">
              <a:lnSpc>
                <a:spcPct val="90000"/>
              </a:lnSpc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736" indent="-171373">
              <a:lnSpc>
                <a:spcPct val="90000"/>
              </a:lnSpc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104" indent="-171373">
              <a:lnSpc>
                <a:spcPct val="90000"/>
              </a:lnSpc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5" y="1052635"/>
            <a:ext cx="4218460" cy="3083094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228501" indent="-171373">
              <a:lnSpc>
                <a:spcPct val="90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91" indent="-215801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364" indent="-171373">
              <a:lnSpc>
                <a:spcPct val="90000"/>
              </a:lnSpc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736" indent="-171373">
              <a:lnSpc>
                <a:spcPct val="90000"/>
              </a:lnSpc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104" indent="-171373">
              <a:lnSpc>
                <a:spcPct val="90000"/>
              </a:lnSpc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102897" y="19202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4954662"/>
            <a:ext cx="9144000" cy="188840"/>
            <a:chOff x="0" y="6606214"/>
            <a:chExt cx="12188825" cy="251787"/>
          </a:xfrm>
        </p:grpSpPr>
        <p:pic>
          <p:nvPicPr>
            <p:cNvPr id="9" name="Picture 1" descr="\\.PSF\.Mac\Volumes\16GB_1\EN_Title_Analytics_Comp1 copy.png"/>
            <p:cNvPicPr>
              <a:picLocks noChangeAspect="1" noChangeArrowheads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6609145"/>
              <a:ext cx="12188825" cy="248856"/>
            </a:xfrm>
            <a:prstGeom prst="rect">
              <a:avLst/>
            </a:prstGeom>
            <a:noFill/>
          </p:spPr>
        </p:pic>
        <p:pic>
          <p:nvPicPr>
            <p:cNvPr id="10" name="Picture 2" descr="C:\Users\spius\Pictures\cisco logo blue gradient.png"/>
            <p:cNvPicPr>
              <a:picLocks noChangeAspect="1" noChangeArrowheads="1"/>
            </p:cNvPicPr>
            <p:nvPr userDrawn="1"/>
          </p:nvPicPr>
          <p:blipFill>
            <a:blip r:embed="rId3" cstate="email">
              <a:lum bright="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51703" b="9348"/>
            <a:stretch>
              <a:fillRect/>
            </a:stretch>
          </p:blipFill>
          <p:spPr bwMode="auto">
            <a:xfrm>
              <a:off x="632070" y="6606214"/>
              <a:ext cx="574933" cy="13771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3443278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970" y="609606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928" y="302510"/>
            <a:ext cx="3715995" cy="826447"/>
          </a:xfrm>
          <a:prstGeom prst="rect">
            <a:avLst/>
          </a:prstGeom>
        </p:spPr>
        <p:txBody>
          <a:bodyPr lIns="61694" tIns="34277" rIns="61694" bIns="34277" rtlCol="0">
            <a:noAutofit/>
          </a:bodyPr>
          <a:lstStyle>
            <a:lvl1pPr algn="l" defTabSz="685549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905964" y="302506"/>
            <a:ext cx="3715995" cy="826446"/>
          </a:xfrm>
          <a:prstGeom prst="rect">
            <a:avLst/>
          </a:prstGeom>
        </p:spPr>
        <p:txBody>
          <a:bodyPr lIns="91396" tIns="45698" rIns="91396" bIns="45698" anchor="ctr" anchorCtr="0">
            <a:noAutofit/>
          </a:bodyPr>
          <a:lstStyle>
            <a:lvl1pPr marL="0" marR="0" indent="0" algn="l" defTabSz="68554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928" y="1347788"/>
            <a:ext cx="3715995" cy="3083094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228501" indent="-171373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91" indent="-21580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364" indent="-17137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736" indent="-17137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104" indent="-171373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905964" y="1347788"/>
            <a:ext cx="3715995" cy="3083094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228501" indent="-171373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91" indent="-21580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364" indent="-17137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736" indent="-17137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104" indent="-171373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239774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860815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860815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1964" y="228324"/>
            <a:ext cx="2337109" cy="770461"/>
          </a:xfrm>
          <a:prstGeom prst="rect">
            <a:avLst/>
          </a:prstGeom>
        </p:spPr>
        <p:txBody>
          <a:bodyPr lIns="91396" tIns="45698" rIns="91396" bIns="45698" anchor="b" anchorCtr="0">
            <a:noAutofit/>
          </a:bodyPr>
          <a:lstStyle>
            <a:lvl1pPr marL="0" marR="0" indent="0" algn="l" defTabSz="68554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77728" y="227844"/>
            <a:ext cx="2337109" cy="770461"/>
          </a:xfrm>
          <a:prstGeom prst="rect">
            <a:avLst/>
          </a:prstGeom>
        </p:spPr>
        <p:txBody>
          <a:bodyPr lIns="91396" tIns="45698" rIns="91396" bIns="45698" anchor="b" anchorCtr="0">
            <a:noAutofit/>
          </a:bodyPr>
          <a:lstStyle>
            <a:lvl1pPr marL="0" marR="0" indent="0" algn="l" defTabSz="68554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354813" y="220484"/>
            <a:ext cx="2337109" cy="770461"/>
          </a:xfrm>
          <a:prstGeom prst="rect">
            <a:avLst/>
          </a:prstGeom>
        </p:spPr>
        <p:txBody>
          <a:bodyPr lIns="91396" tIns="45698" rIns="91396" bIns="45698" anchor="b" anchorCtr="0">
            <a:noAutofit/>
          </a:bodyPr>
          <a:lstStyle>
            <a:lvl1pPr marL="0" marR="0" indent="0" algn="l" defTabSz="68554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1963" y="1201094"/>
            <a:ext cx="2337110" cy="3314904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233262" indent="-171373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802" indent="-171373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77729" y="1200321"/>
            <a:ext cx="2337110" cy="3314904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233262" indent="-171373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802" indent="-171373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54812" y="1200321"/>
            <a:ext cx="2337110" cy="3314904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233262" indent="-171373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802" indent="-171373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40688511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81" y="1330326"/>
            <a:ext cx="3712779" cy="31019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6" tIns="45698" rIns="91396" bIns="45698" anchor="ctr"/>
          <a:lstStyle/>
          <a:p>
            <a:pPr algn="ctr" defTabSz="457086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85700" indent="-85700" algn="l" defTabSz="685549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700" indent="-85700" algn="l" defTabSz="685549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00" indent="-85700" algn="l" defTabSz="685549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00" indent="-85700" algn="l" defTabSz="685549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00" indent="-85700" algn="l" defTabSz="685549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148706" y="3552444"/>
            <a:ext cx="3506245" cy="253746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72" y="1347788"/>
            <a:ext cx="3901123" cy="3083094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228501" indent="-171373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91" indent="-21580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364" indent="-17137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736" indent="-17137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104" indent="-171373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102897" y="30861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09466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3531" y="4742917"/>
            <a:ext cx="220590" cy="154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40" tIns="30791" rIns="61540" bIns="30791" anchor="b">
            <a:spAutoFit/>
          </a:bodyPr>
          <a:lstStyle/>
          <a:p>
            <a:pPr algn="r" defTabSz="610284"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pPr algn="r" defTabSz="61028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ea typeface="ＭＳ Ｐゴシック" charset="0"/>
              <a:cs typeface="CiscoSans Thin"/>
            </a:endParaRP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8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00627915"/>
      </p:ext>
    </p:extLst>
  </p:cSld>
  <p:clrMapOvr>
    <a:masterClrMapping/>
  </p:clrMapOvr>
  <p:transition spd="med">
    <p:fade/>
  </p:transition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100584" y="192030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>
            <a:lvl1pPr>
              <a:defRPr sz="270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23210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396" tIns="45698" rIns="91396" bIns="45698" anchor="b" anchorCtr="0">
            <a:noAutofit/>
          </a:bodyPr>
          <a:lstStyle>
            <a:lvl1pPr marL="0" indent="0" algn="l" defTabSz="60342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6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553" indent="-399869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722328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6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4" y="1439066"/>
            <a:ext cx="3820348" cy="2265389"/>
          </a:xfrm>
        </p:spPr>
        <p:txBody>
          <a:bodyPr lIns="61697" tIns="34279" rIns="61697" bIns="34279" rtlCol="0" anchor="ctr">
            <a:noAutofit/>
          </a:bodyPr>
          <a:lstStyle>
            <a:lvl1pPr marL="0" indent="0" algn="l" defTabSz="685577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396" tIns="45698" rIns="91396" bIns="45698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343629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08692" y="267464"/>
            <a:ext cx="3820348" cy="2265389"/>
          </a:xfrm>
        </p:spPr>
        <p:txBody>
          <a:bodyPr lIns="61697" tIns="34279" rIns="61697" bIns="34279" rtlCol="0" anchor="t">
            <a:noAutofit/>
          </a:bodyPr>
          <a:lstStyle>
            <a:lvl1pPr marL="0" indent="0" algn="l" defTabSz="685577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32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rot="5400000">
            <a:off x="2915159" y="2571978"/>
            <a:ext cx="4588991" cy="62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 descr="\\.PSF\.Mac\Volumes\16GB_1\EN_Title_Analytics_Comp1 copy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00996" y="283170"/>
            <a:ext cx="3560142" cy="4595560"/>
          </a:xfrm>
          <a:prstGeom prst="rect">
            <a:avLst/>
          </a:prstGeom>
          <a:noFill/>
          <a:effectLst>
            <a:innerShdw blurRad="63500" dist="50800" dir="18900000">
              <a:prstClr val="black">
                <a:alpha val="50000"/>
              </a:prstClr>
            </a:innerShdw>
          </a:effectLst>
        </p:spPr>
      </p:pic>
    </p:spTree>
    <p:extLst>
      <p:ext uri="{BB962C8B-B14F-4D97-AF65-F5344CB8AC3E}">
        <p14:creationId xmlns:p14="http://schemas.microsoft.com/office/powerpoint/2010/main" val="245787827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90"/>
            <a:ext cx="8345488" cy="2658728"/>
          </a:xfrm>
          <a:prstGeom prst="rect">
            <a:avLst/>
          </a:prstGeom>
        </p:spPr>
        <p:txBody>
          <a:bodyPr lIns="91396" tIns="45698" rIns="91396" bIns="45698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6"/>
            <a:ext cx="7180312" cy="326233"/>
          </a:xfrm>
          <a:prstGeom prst="rect">
            <a:avLst/>
          </a:prstGeom>
        </p:spPr>
        <p:txBody>
          <a:bodyPr wrap="square" lIns="91396" tIns="45698" rIns="91396" bIns="45698" anchor="b" anchorCtr="0">
            <a:noAutofit/>
          </a:bodyPr>
          <a:lstStyle>
            <a:lvl1pPr algn="l" defTabSz="60342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341319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79382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6"/>
            <a:ext cx="8345488" cy="2660650"/>
          </a:xfrm>
          <a:prstGeom prst="rect">
            <a:avLst/>
          </a:prstGeom>
        </p:spPr>
        <p:txBody>
          <a:bodyPr vert="horz" lIns="91396" tIns="45698" rIns="91396" bIns="45698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6"/>
            <a:ext cx="7180312" cy="326233"/>
          </a:xfrm>
          <a:prstGeom prst="rect">
            <a:avLst/>
          </a:prstGeom>
        </p:spPr>
        <p:txBody>
          <a:bodyPr wrap="square" lIns="91396" tIns="45698" rIns="91396" bIns="45698" anchor="b" anchorCtr="0">
            <a:noAutofit/>
          </a:bodyPr>
          <a:lstStyle>
            <a:lvl1pPr algn="l" defTabSz="60342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9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45702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72" y="1349456"/>
            <a:ext cx="4007001" cy="3040773"/>
          </a:xfrm>
          <a:prstGeom prst="rect">
            <a:avLst/>
          </a:prstGeom>
        </p:spPr>
        <p:txBody>
          <a:bodyPr lIns="91396" tIns="45698" rIns="91396" bIns="45698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80"/>
            <a:ext cx="4073346" cy="3039397"/>
          </a:xfrm>
          <a:prstGeom prst="rect">
            <a:avLst/>
          </a:prstGeom>
        </p:spPr>
        <p:txBody>
          <a:bodyPr vert="horz" lIns="91396" tIns="45698" rIns="91396" bIns="45698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9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936091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8" y="1349354"/>
            <a:ext cx="4003995" cy="3040875"/>
          </a:xfrm>
          <a:prstGeom prst="rect">
            <a:avLst/>
          </a:prstGeom>
        </p:spPr>
        <p:txBody>
          <a:bodyPr lIns="91396" tIns="45698" rIns="91396" bIns="45698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396" tIns="45698" rIns="91396" bIns="45698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9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4061986"/>
      </p:ext>
    </p:extLst>
  </p:cSld>
  <p:clrMapOvr>
    <a:masterClrMapping/>
  </p:clrMapOvr>
  <p:transition spd="med">
    <p:fade/>
  </p:transition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 userDrawn="1"/>
        </p:nvSpPr>
        <p:spPr>
          <a:xfrm>
            <a:off x="6085116" y="1622395"/>
            <a:ext cx="2318564" cy="2318564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457086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Oval 3"/>
          <p:cNvSpPr/>
          <p:nvPr userDrawn="1"/>
        </p:nvSpPr>
        <p:spPr>
          <a:xfrm>
            <a:off x="3423230" y="1622395"/>
            <a:ext cx="2318564" cy="2318564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457086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764271" y="1622395"/>
            <a:ext cx="2318564" cy="2318564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 defTabSz="457086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777485" y="2800148"/>
            <a:ext cx="2292136" cy="603661"/>
          </a:xfrm>
          <a:prstGeom prst="rect">
            <a:avLst/>
          </a:prstGeom>
        </p:spPr>
        <p:txBody>
          <a:bodyPr lIns="91396" tIns="45698" rIns="91396" bIns="45698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436444" y="2798201"/>
            <a:ext cx="2292136" cy="603661"/>
          </a:xfrm>
          <a:prstGeom prst="rect">
            <a:avLst/>
          </a:prstGeom>
        </p:spPr>
        <p:txBody>
          <a:bodyPr lIns="91396" tIns="45698" rIns="91396" bIns="45698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098330" y="2798201"/>
            <a:ext cx="2292136" cy="603661"/>
          </a:xfrm>
          <a:prstGeom prst="rect">
            <a:avLst/>
          </a:prstGeom>
        </p:spPr>
        <p:txBody>
          <a:bodyPr lIns="91396" tIns="45698" rIns="91396" bIns="45698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 lIns="91416" tIns="45708" rIns="91416" bIns="45708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 lIns="91416" tIns="45708" rIns="91416" bIns="45708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 lIns="91416" tIns="45708" rIns="91416" bIns="45708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421872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 userDrawn="1"/>
        </p:nvSpPr>
        <p:spPr>
          <a:xfrm>
            <a:off x="774827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59" tIns="34280" rIns="68559" bIns="34280" anchor="ctr"/>
          <a:lstStyle/>
          <a:p>
            <a:pPr algn="ctr" defTabSz="914172">
              <a:defRPr/>
            </a:pPr>
            <a:endParaRPr lang="en-US" kern="0">
              <a:solidFill>
                <a:prstClr val="white"/>
              </a:solidFill>
              <a:ea typeface="ＭＳ Ｐゴシック" charset="0"/>
            </a:endParaRPr>
          </a:p>
        </p:txBody>
      </p:sp>
      <p:sp>
        <p:nvSpPr>
          <p:cNvPr id="44" name="Oval 43"/>
          <p:cNvSpPr/>
          <p:nvPr userDrawn="1"/>
        </p:nvSpPr>
        <p:spPr>
          <a:xfrm>
            <a:off x="3422848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59" tIns="34280" rIns="68559" bIns="34280" anchor="ctr"/>
          <a:lstStyle/>
          <a:p>
            <a:pPr algn="ctr" defTabSz="914172">
              <a:defRPr/>
            </a:pPr>
            <a:endParaRPr lang="en-US" kern="0">
              <a:solidFill>
                <a:prstClr val="white"/>
              </a:solidFill>
              <a:ea typeface="ＭＳ Ｐゴシック" charset="0"/>
            </a:endParaRPr>
          </a:p>
        </p:txBody>
      </p:sp>
      <p:sp>
        <p:nvSpPr>
          <p:cNvPr id="45" name="Oval 44"/>
          <p:cNvSpPr/>
          <p:nvPr userDrawn="1"/>
        </p:nvSpPr>
        <p:spPr>
          <a:xfrm>
            <a:off x="6087365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59" tIns="34280" rIns="68559" bIns="34280" anchor="ctr"/>
          <a:lstStyle/>
          <a:p>
            <a:pPr algn="ctr" defTabSz="914172">
              <a:defRPr/>
            </a:pPr>
            <a:endParaRPr lang="en-US" kern="0">
              <a:solidFill>
                <a:prstClr val="white"/>
              </a:solidFill>
              <a:ea typeface="ＭＳ Ｐゴシック" charset="0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102897" y="19202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77496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00" tIns="45700" rIns="91400" bIns="45700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00" tIns="45700" rIns="91400" bIns="45700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00" tIns="45700" rIns="91400" bIns="45700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endParaRPr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788798" y="3873144"/>
            <a:ext cx="2292136" cy="603661"/>
          </a:xfrm>
          <a:prstGeom prst="rect">
            <a:avLst/>
          </a:prstGeom>
        </p:spPr>
        <p:txBody>
          <a:bodyPr lIns="91396" tIns="45698" rIns="91396" bIns="45698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436818" y="3871197"/>
            <a:ext cx="2292136" cy="603661"/>
          </a:xfrm>
          <a:prstGeom prst="rect">
            <a:avLst/>
          </a:prstGeom>
        </p:spPr>
        <p:txBody>
          <a:bodyPr lIns="91396" tIns="45698" rIns="91396" bIns="45698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101335" y="3871197"/>
            <a:ext cx="2292136" cy="603661"/>
          </a:xfrm>
          <a:prstGeom prst="rect">
            <a:avLst/>
          </a:prstGeom>
        </p:spPr>
        <p:txBody>
          <a:bodyPr lIns="91396" tIns="45698" rIns="91396" bIns="45698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55008543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25" tIns="34283" rIns="68525" bIns="34283" anchor="ctr"/>
          <a:lstStyle/>
          <a:p>
            <a:pPr defTabSz="456833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25" tIns="34283" rIns="68525" bIns="34283" anchor="ctr"/>
          <a:lstStyle/>
          <a:p>
            <a:pPr defTabSz="456833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6908414"/>
      </p:ext>
    </p:extLst>
  </p:cSld>
  <p:clrMapOvr>
    <a:masterClrMapping/>
  </p:clrMapOvr>
  <p:transition spd="med">
    <p:fade/>
  </p:transition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9" y="4629156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396" tIns="45698" rIns="91396" bIns="45698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00063" y="3478259"/>
            <a:ext cx="8139112" cy="517441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7973" tIns="0" rIns="91416" bIns="45708" numCol="1" anchor="ctr" anchorCtr="0" compatLnSpc="1">
            <a:prstTxWarp prst="textNoShape">
              <a:avLst/>
            </a:prstTxWarp>
            <a:spAutoFit/>
          </a:bodyPr>
          <a:lstStyle>
            <a:lvl1pPr marL="172758" indent="0">
              <a:lnSpc>
                <a:spcPts val="3680"/>
              </a:lnSpc>
              <a:spcBef>
                <a:spcPts val="0"/>
              </a:spcBef>
              <a:buNone/>
              <a:defRPr sz="24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566892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3" y="301043"/>
            <a:ext cx="8563172" cy="2542175"/>
          </a:xfrm>
          <a:prstGeom prst="rect">
            <a:avLst/>
          </a:prstGeom>
        </p:spPr>
        <p:txBody>
          <a:bodyPr vert="horz" lIns="91396" tIns="45698" rIns="91396" bIns="45698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5" y="3054524"/>
            <a:ext cx="8364236" cy="564257"/>
          </a:xfrm>
          <a:prstGeom prst="rect">
            <a:avLst/>
          </a:prstGeom>
        </p:spPr>
        <p:txBody>
          <a:bodyPr vert="horz" wrap="square" lIns="91416" tIns="45708" rIns="91416" bIns="45708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412643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9" y="4629156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396" tIns="45698" rIns="91396" bIns="45698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64431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3"/>
            <a:ext cx="8480388" cy="4266646"/>
          </a:xfrm>
          <a:prstGeom prst="rect">
            <a:avLst/>
          </a:prstGeom>
        </p:spPr>
        <p:txBody>
          <a:bodyPr vert="horz" lIns="91400" tIns="45700" rIns="91400" bIns="45700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49810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0" y="596901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9" tIns="34280" rIns="68559" bIns="34280" anchor="ctr"/>
          <a:lstStyle/>
          <a:p>
            <a:pPr algn="ctr" defTabSz="457086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1" y="3595689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9" tIns="34280" rIns="68559" bIns="34280" anchor="ctr"/>
          <a:lstStyle/>
          <a:p>
            <a:pPr algn="ctr" defTabSz="457086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00" tIns="45700" rIns="91400" bIns="45700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065871" y="3655079"/>
            <a:ext cx="5074070" cy="628650"/>
          </a:xfrm>
        </p:spPr>
        <p:txBody>
          <a:bodyPr anchor="ctr"/>
          <a:lstStyle>
            <a:lvl1pPr>
              <a:defRPr sz="2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04842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800" y="233369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9" tIns="34280" rIns="68559" bIns="34280" anchor="ctr"/>
          <a:lstStyle/>
          <a:p>
            <a:pPr algn="ctr" defTabSz="457086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2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59" tIns="34280" rIns="68559" bIns="34280" rtlCol="0" anchor="ctr" anchorCtr="0">
            <a:normAutofit/>
          </a:bodyPr>
          <a:lstStyle>
            <a:lvl1pPr marL="0" indent="0" algn="ctr" defTabSz="685606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0941" y="2480699"/>
            <a:ext cx="6729865" cy="1614419"/>
          </a:xfrm>
        </p:spPr>
        <p:txBody>
          <a:bodyPr>
            <a:noAutofit/>
          </a:bodyPr>
          <a:lstStyle>
            <a:lvl1pPr marL="0" marR="0" indent="0" algn="l" defTabSz="685606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571773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609"/>
            <a:ext cx="3630612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9" tIns="34280" rIns="68559" bIns="34280" anchor="ctr"/>
          <a:lstStyle/>
          <a:p>
            <a:pPr algn="ctr" defTabSz="457086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5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400" tIns="45700" rIns="91400" bIns="45700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7669" y="546740"/>
            <a:ext cx="4349918" cy="813985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2416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9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6" tIns="34279" rIns="68556" bIns="34279" anchor="ctr"/>
          <a:lstStyle/>
          <a:p>
            <a:pPr algn="ctr" defTabSz="457086">
              <a:defRPr/>
            </a:pPr>
            <a:endParaRPr lang="en-US" sz="1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69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6" tIns="34279" rIns="68556" bIns="34279" anchor="ctr"/>
          <a:lstStyle/>
          <a:p>
            <a:pPr algn="ctr" defTabSz="457086">
              <a:defRPr/>
            </a:pPr>
            <a:endParaRPr lang="en-US" sz="1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9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6" tIns="34279" rIns="68556" bIns="34279" anchor="ctr"/>
          <a:lstStyle/>
          <a:p>
            <a:pPr algn="ctr" defTabSz="457086">
              <a:defRPr/>
            </a:pPr>
            <a:endParaRPr lang="en-US" sz="1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9" y="2271719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6" tIns="34279" rIns="68556" bIns="34279" anchor="ctr"/>
          <a:lstStyle/>
          <a:p>
            <a:pPr algn="ctr" defTabSz="457086">
              <a:defRPr/>
            </a:pPr>
            <a:endParaRPr lang="en-US" sz="1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6" y="2271719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6" tIns="34279" rIns="68556" bIns="34279" anchor="ctr"/>
          <a:lstStyle/>
          <a:p>
            <a:pPr algn="ctr" defTabSz="457086">
              <a:defRPr/>
            </a:pPr>
            <a:endParaRPr lang="en-US" sz="1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9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6" tIns="34279" rIns="68556" bIns="34279" anchor="ctr"/>
          <a:lstStyle/>
          <a:p>
            <a:pPr algn="ctr" defTabSz="457086">
              <a:defRPr/>
            </a:pPr>
            <a:endParaRPr lang="en-US" sz="1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9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56" tIns="34279" rIns="68556" bIns="34279" anchor="ctr"/>
          <a:lstStyle/>
          <a:p>
            <a:pPr algn="ctr" defTabSz="457086">
              <a:defRPr/>
            </a:pPr>
            <a:endParaRPr lang="en-US" sz="1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9001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56" tIns="34279" rIns="68556" bIns="34279" rtlCol="0" anchor="ctr" anchorCtr="0">
            <a:normAutofit/>
          </a:bodyPr>
          <a:lstStyle>
            <a:lvl1pPr marL="0" indent="0" algn="ctr" defTabSz="6855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34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56" tIns="34279" rIns="68556" bIns="34279" rtlCol="0" anchor="ctr" anchorCtr="0">
            <a:normAutofit/>
          </a:bodyPr>
          <a:lstStyle>
            <a:lvl1pPr marL="0" indent="0" algn="ctr" defTabSz="6855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56" tIns="34279" rIns="68556" bIns="34279" rtlCol="0" anchor="ctr" anchorCtr="0">
            <a:normAutofit/>
          </a:bodyPr>
          <a:lstStyle>
            <a:lvl1pPr marL="0" indent="0" algn="ctr" defTabSz="6855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24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56" tIns="34279" rIns="68556" bIns="34279" rtlCol="0" anchor="ctr" anchorCtr="0">
            <a:normAutofit/>
          </a:bodyPr>
          <a:lstStyle>
            <a:lvl1pPr marL="0" indent="0" algn="ctr" defTabSz="6855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2271724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56" tIns="34279" rIns="68556" bIns="34279" rtlCol="0" anchor="ctr" anchorCtr="0">
            <a:normAutofit/>
          </a:bodyPr>
          <a:lstStyle>
            <a:lvl1pPr marL="0" indent="0" algn="ctr" defTabSz="6855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56" tIns="34279" rIns="68556" bIns="34279" rtlCol="0" anchor="ctr" anchorCtr="0">
            <a:normAutofit/>
          </a:bodyPr>
          <a:lstStyle>
            <a:lvl1pPr marL="0" indent="0" algn="ctr" defTabSz="6855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56" tIns="34279" rIns="68556" bIns="34279" rtlCol="0" anchor="ctr" anchorCtr="0">
            <a:normAutofit/>
          </a:bodyPr>
          <a:lstStyle>
            <a:lvl1pPr marL="0" indent="0" algn="ctr" defTabSz="6855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758762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66729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40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56" tIns="34279" rIns="68556" bIns="34279" rtlCol="0" anchor="ctr">
            <a:normAutofit/>
          </a:bodyPr>
          <a:lstStyle>
            <a:lvl1pPr marL="0" indent="0" algn="ctr" defTabSz="6855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962021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4665" y="1347790"/>
            <a:ext cx="8280057" cy="3073946"/>
          </a:xfrm>
          <a:prstGeom prst="rect">
            <a:avLst/>
          </a:prstGeom>
        </p:spPr>
        <p:txBody>
          <a:bodyPr lIns="91358" tIns="45679" rIns="91358" bIns="45679">
            <a:noAutofit/>
          </a:bodyPr>
          <a:lstStyle>
            <a:lvl1pPr marL="285475" marR="0" indent="-285475" algn="ctr" defTabSz="4567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2" tIns="45681" rIns="91362" bIns="4568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7760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56" tIns="34279" rIns="68556" bIns="34279" rtlCol="0" anchor="ctr">
            <a:normAutofit/>
          </a:bodyPr>
          <a:lstStyle>
            <a:lvl1pPr marL="0" indent="0" algn="ctr" defTabSz="6855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062555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576551" y="1646240"/>
            <a:ext cx="1990911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914563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10" y="-2571"/>
            <a:ext cx="9150431" cy="514864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1661" y="1643634"/>
            <a:ext cx="2080678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76294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Blank_gradient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61514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59742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500" b="0" i="0" spc="0" baseline="0">
                <a:solidFill>
                  <a:srgbClr val="00A2BF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205794" y="4674870"/>
            <a:ext cx="2366626" cy="228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rtlCol="0" anchor="ctr"/>
          <a:lstStyle/>
          <a:p>
            <a:pPr algn="ctr" defTabSz="457029"/>
            <a:endParaRPr lang="en-US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7501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412" y="324000"/>
            <a:ext cx="941172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05"/>
            <a:ext cx="8296421" cy="288131"/>
          </a:xfrm>
          <a:prstGeom prst="rect">
            <a:avLst/>
          </a:prstGeom>
        </p:spPr>
        <p:txBody>
          <a:bodyPr lIns="121840" tIns="60920" rIns="121840" bIns="6092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202"/>
            <a:ext cx="8296421" cy="288131"/>
          </a:xfrm>
          <a:prstGeom prst="rect">
            <a:avLst/>
          </a:prstGeom>
        </p:spPr>
        <p:txBody>
          <a:bodyPr lIns="121840" tIns="60920" rIns="121840" bIns="6092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9"/>
            <a:ext cx="8296421" cy="288131"/>
          </a:xfrm>
          <a:prstGeom prst="rect">
            <a:avLst/>
          </a:prstGeom>
        </p:spPr>
        <p:txBody>
          <a:bodyPr lIns="121840" tIns="60920" rIns="121840" bIns="6092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121840" tIns="60920" rIns="121840" bIns="6092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655" indent="0">
              <a:buNone/>
              <a:defRPr/>
            </a:lvl2pPr>
            <a:lvl3pPr marL="427218" indent="0">
              <a:buNone/>
              <a:defRPr/>
            </a:lvl3pPr>
            <a:lvl4pPr marL="516478" indent="0">
              <a:buNone/>
              <a:defRPr/>
            </a:lvl4pPr>
            <a:lvl5pPr marL="600966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4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8370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475" name="Picture 3" descr="\\.PSF\.Mac\Volumes\16GB_1\EN_Title_Analytics_Comp1 copy1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84592" y="0"/>
            <a:ext cx="6959409" cy="5143500"/>
          </a:xfrm>
          <a:prstGeom prst="rect">
            <a:avLst/>
          </a:prstGeom>
          <a:noFill/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412" y="324000"/>
            <a:ext cx="941172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205"/>
            <a:ext cx="8296421" cy="288131"/>
          </a:xfrm>
          <a:prstGeom prst="rect">
            <a:avLst/>
          </a:prstGeom>
        </p:spPr>
        <p:txBody>
          <a:bodyPr lIns="121840" tIns="60920" rIns="121840" bIns="6092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7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202"/>
            <a:ext cx="8296421" cy="288131"/>
          </a:xfrm>
          <a:prstGeom prst="rect">
            <a:avLst/>
          </a:prstGeom>
        </p:spPr>
        <p:txBody>
          <a:bodyPr lIns="121840" tIns="60920" rIns="121840" bIns="6092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9"/>
            <a:ext cx="8296421" cy="288131"/>
          </a:xfrm>
          <a:prstGeom prst="rect">
            <a:avLst/>
          </a:prstGeom>
        </p:spPr>
        <p:txBody>
          <a:bodyPr lIns="121840" tIns="60920" rIns="121840" bIns="6092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121840" tIns="60920" rIns="121840" bIns="6092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655" indent="0">
              <a:buNone/>
              <a:defRPr/>
            </a:lvl2pPr>
            <a:lvl3pPr marL="427218" indent="0">
              <a:buNone/>
              <a:defRPr/>
            </a:lvl3pPr>
            <a:lvl4pPr marL="516478" indent="0">
              <a:buNone/>
              <a:defRPr/>
            </a:lvl4pPr>
            <a:lvl5pPr marL="600966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5756725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4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  <p:pic>
        <p:nvPicPr>
          <p:cNvPr id="11" name="Picture 10" descr="EN_MS_Logo_Project1aaa_2 copy_White copy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4416" y="156769"/>
            <a:ext cx="772583" cy="697471"/>
          </a:xfrm>
          <a:prstGeom prst="rect">
            <a:avLst/>
          </a:prstGeom>
          <a:effectLst>
            <a:outerShdw blurRad="25400" dist="25400" dir="270000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7861148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pic>
        <p:nvPicPr>
          <p:cNvPr id="9" name="Picture 8" descr="NPI_Project_Render1_38% copy.png"/>
          <p:cNvPicPr>
            <a:picLocks noChangeAspect="1"/>
          </p:cNvPicPr>
          <p:nvPr userDrawn="1"/>
        </p:nvPicPr>
        <p:blipFill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562601" y="3867150"/>
            <a:ext cx="3386315" cy="1276350"/>
          </a:xfrm>
          <a:prstGeom prst="rect">
            <a:avLst/>
          </a:prstGeom>
        </p:spPr>
      </p:pic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222" y="4930929"/>
            <a:ext cx="218900" cy="1544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58" tIns="30777" rIns="61558" bIns="30777" anchor="b">
            <a:spAutoFit/>
          </a:bodyPr>
          <a:lstStyle/>
          <a:p>
            <a:pPr algn="r" defTabSz="610485"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pPr algn="r" defTabSz="610485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9" y="4930929"/>
            <a:ext cx="2658018" cy="154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58" tIns="30777" rIns="61558" bIns="30777" anchor="b">
            <a:spAutoFit/>
          </a:bodyPr>
          <a:lstStyle/>
          <a:p>
            <a:pPr defTabSz="610485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t>2016  </a:t>
            </a:r>
            <a:r>
              <a:rPr lang="en-US" sz="600" dirty="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3" cstate="email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6" y="4821174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 descr="EN_MS_Logo_Project1aaa_2 copy_White copy.png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4416" y="156769"/>
            <a:ext cx="772583" cy="697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476663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 descr="\\.PSF\.Mac\Volumes\16GB_1\EN_Title_Analytics_Comp1 copy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1875099"/>
          </a:xfrm>
          <a:prstGeom prst="rect">
            <a:avLst/>
          </a:prstGeom>
          <a:noFill/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2009218"/>
            <a:ext cx="7598042" cy="2569946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pic>
        <p:nvPicPr>
          <p:cNvPr id="8" name="Picture 7" descr="EN_MS_Logo_Project1aaa_2 copy_White copy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4416" y="156769"/>
            <a:ext cx="772583" cy="697471"/>
          </a:xfrm>
          <a:prstGeom prst="rect">
            <a:avLst/>
          </a:prstGeom>
          <a:effectLst>
            <a:outerShdw blurRad="25400" dist="25400" dir="270000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9165491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4954663"/>
            <a:ext cx="9144000" cy="188840"/>
            <a:chOff x="0" y="6606214"/>
            <a:chExt cx="12188825" cy="251787"/>
          </a:xfrm>
        </p:grpSpPr>
        <p:pic>
          <p:nvPicPr>
            <p:cNvPr id="5" name="Picture 1" descr="\\.PSF\.Mac\Volumes\16GB_1\EN_Title_Analytics_Comp1 copy.png"/>
            <p:cNvPicPr>
              <a:picLocks noChangeAspect="1" noChangeArrowheads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6609145"/>
              <a:ext cx="12188825" cy="248856"/>
            </a:xfrm>
            <a:prstGeom prst="rect">
              <a:avLst/>
            </a:prstGeom>
            <a:noFill/>
          </p:spPr>
        </p:pic>
        <p:pic>
          <p:nvPicPr>
            <p:cNvPr id="7" name="Picture 2" descr="C:\Users\spius\Pictures\cisco logo blue gradient.png"/>
            <p:cNvPicPr>
              <a:picLocks noChangeAspect="1" noChangeArrowheads="1"/>
            </p:cNvPicPr>
            <p:nvPr userDrawn="1"/>
          </p:nvPicPr>
          <p:blipFill>
            <a:blip r:embed="rId3" cstate="email">
              <a:lum bright="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51703" b="9348"/>
            <a:stretch>
              <a:fillRect/>
            </a:stretch>
          </p:blipFill>
          <p:spPr bwMode="auto">
            <a:xfrm>
              <a:off x="632070" y="6606214"/>
              <a:ext cx="574933" cy="13771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584" y="1200150"/>
            <a:ext cx="8277344" cy="3168210"/>
          </a:xfrm>
          <a:prstGeom prst="rect">
            <a:avLst/>
          </a:prstGeom>
        </p:spPr>
        <p:txBody>
          <a:bodyPr lIns="121840" tIns="60920" rIns="121840" bIns="60920">
            <a:noAutofit/>
          </a:bodyPr>
          <a:lstStyle>
            <a:lvl1pPr marL="280807" indent="-223699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680" indent="-21576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7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241" indent="-17134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647" indent="-171343">
              <a:buClr>
                <a:schemeClr val="tx1"/>
              </a:buClr>
              <a:buSzPct val="80000"/>
              <a:buFont typeface="Arial"/>
              <a:buChar char="•"/>
              <a:defRPr sz="13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1991" indent="-168169">
              <a:buClr>
                <a:schemeClr val="tx1"/>
              </a:buClr>
              <a:buSzPct val="80000"/>
              <a:buFont typeface="Arial"/>
              <a:buChar char="•"/>
              <a:defRPr sz="11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100584" y="19203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46" tIns="36574" rIns="121846" bIns="3657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5867509" y="4933977"/>
            <a:ext cx="2658018" cy="154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lIns="61558" tIns="30777" rIns="61558" bIns="30777" anchor="b">
            <a:spAutoFit/>
          </a:bodyPr>
          <a:lstStyle/>
          <a:p>
            <a:pPr defTabSz="610485">
              <a:defRPr/>
            </a:pPr>
            <a:r>
              <a:rPr lang="en-US" sz="6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charset="0"/>
                <a:cs typeface="CiscoSans Thin"/>
              </a:rPr>
              <a:t>© </a:t>
            </a:r>
            <a:r>
              <a:rPr lang="en-US" sz="6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charset="0"/>
                <a:cs typeface="CiscoSans Thin"/>
              </a:rPr>
              <a:t>2016  </a:t>
            </a:r>
            <a:r>
              <a:rPr lang="en-US" sz="6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charset="0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4515211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358" tIns="45679" rIns="91358" bIns="45679">
            <a:noAutofit/>
          </a:bodyPr>
          <a:lstStyle>
            <a:lvl1pPr marL="280713" indent="-22361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524" indent="-215672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005" indent="-17129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344" indent="-171292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1622" indent="-168117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2" tIns="45681" rIns="91362" bIns="4568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4109784"/>
      </p:ext>
    </p:extLst>
  </p:cSld>
  <p:clrMapOvr>
    <a:masterClrMapping/>
  </p:clrMapOvr>
  <p:transition spd="med">
    <p:fade/>
  </p:transition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"/>
          <p:cNvGrpSpPr/>
          <p:nvPr userDrawn="1"/>
        </p:nvGrpSpPr>
        <p:grpSpPr>
          <a:xfrm>
            <a:off x="0" y="4954663"/>
            <a:ext cx="9144000" cy="188840"/>
            <a:chOff x="0" y="6606214"/>
            <a:chExt cx="12188825" cy="251787"/>
          </a:xfrm>
        </p:grpSpPr>
        <p:pic>
          <p:nvPicPr>
            <p:cNvPr id="5" name="Picture 1" descr="\\.PSF\.Mac\Volumes\16GB_1\EN_Title_Analytics_Comp1 copy.png"/>
            <p:cNvPicPr>
              <a:picLocks noChangeAspect="1" noChangeArrowheads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6609145"/>
              <a:ext cx="12188825" cy="248856"/>
            </a:xfrm>
            <a:prstGeom prst="rect">
              <a:avLst/>
            </a:prstGeom>
            <a:noFill/>
          </p:spPr>
        </p:pic>
        <p:pic>
          <p:nvPicPr>
            <p:cNvPr id="7" name="Picture 2" descr="C:\Users\spius\Pictures\cisco logo blue gradient.png"/>
            <p:cNvPicPr>
              <a:picLocks noChangeAspect="1" noChangeArrowheads="1"/>
            </p:cNvPicPr>
            <p:nvPr userDrawn="1"/>
          </p:nvPicPr>
          <p:blipFill>
            <a:blip r:embed="rId3" cstate="email">
              <a:lum bright="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51703" b="9348"/>
            <a:stretch>
              <a:fillRect/>
            </a:stretch>
          </p:blipFill>
          <p:spPr bwMode="auto">
            <a:xfrm>
              <a:off x="632070" y="6606214"/>
              <a:ext cx="574933" cy="13771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100584" y="19203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46" tIns="36574" rIns="121846" bIns="3657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9" y="4933977"/>
            <a:ext cx="2658018" cy="154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txBody>
          <a:bodyPr lIns="61558" tIns="30777" rIns="61558" bIns="30777" anchor="b">
            <a:spAutoFit/>
          </a:bodyPr>
          <a:lstStyle/>
          <a:p>
            <a:pPr defTabSz="610485">
              <a:defRPr/>
            </a:pPr>
            <a:r>
              <a:rPr lang="en-US" sz="6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charset="0"/>
                <a:cs typeface="CiscoSans Thin"/>
              </a:rPr>
              <a:t>© </a:t>
            </a:r>
            <a:r>
              <a:rPr lang="en-US" sz="6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charset="0"/>
                <a:cs typeface="CiscoSans Thin"/>
              </a:rPr>
              <a:t>2016  </a:t>
            </a:r>
            <a:r>
              <a:rPr lang="en-US" sz="6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charset="0"/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1368927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08693" y="1200212"/>
            <a:ext cx="3901123" cy="3083094"/>
          </a:xfrm>
          <a:prstGeom prst="rect">
            <a:avLst/>
          </a:prstGeom>
        </p:spPr>
        <p:txBody>
          <a:bodyPr lIns="121840" tIns="60920" rIns="121840" bIns="60920">
            <a:noAutofit/>
          </a:bodyPr>
          <a:lstStyle>
            <a:lvl1pPr marL="228460" indent="-171343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11" indent="-21576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254" indent="-17134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595" indent="-17134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935" indent="-17134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5" y="1200212"/>
            <a:ext cx="4218460" cy="3083094"/>
          </a:xfrm>
          <a:prstGeom prst="rect">
            <a:avLst/>
          </a:prstGeom>
        </p:spPr>
        <p:txBody>
          <a:bodyPr lIns="121840" tIns="60920" rIns="121840" bIns="60920">
            <a:noAutofit/>
          </a:bodyPr>
          <a:lstStyle>
            <a:lvl1pPr marL="228460" indent="-171343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11" indent="-21576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254" indent="-17134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595" indent="-17134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935" indent="-17134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102897" y="192027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46" tIns="60922" rIns="121846" bIns="6092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349607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08693" y="1052635"/>
            <a:ext cx="3901123" cy="3083094"/>
          </a:xfrm>
          <a:prstGeom prst="rect">
            <a:avLst/>
          </a:prstGeom>
        </p:spPr>
        <p:txBody>
          <a:bodyPr lIns="121840" tIns="60920" rIns="121840" bIns="60920">
            <a:noAutofit/>
          </a:bodyPr>
          <a:lstStyle>
            <a:lvl1pPr marL="228460" indent="-171343">
              <a:lnSpc>
                <a:spcPct val="90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11" indent="-215763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254" indent="-171343">
              <a:lnSpc>
                <a:spcPct val="90000"/>
              </a:lnSpc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595" indent="-171343">
              <a:lnSpc>
                <a:spcPct val="90000"/>
              </a:lnSpc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935" indent="-171343">
              <a:lnSpc>
                <a:spcPct val="90000"/>
              </a:lnSpc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5" y="1052635"/>
            <a:ext cx="4218460" cy="3083094"/>
          </a:xfrm>
          <a:prstGeom prst="rect">
            <a:avLst/>
          </a:prstGeom>
        </p:spPr>
        <p:txBody>
          <a:bodyPr lIns="121840" tIns="60920" rIns="121840" bIns="60920">
            <a:noAutofit/>
          </a:bodyPr>
          <a:lstStyle>
            <a:lvl1pPr marL="228460" indent="-171343">
              <a:lnSpc>
                <a:spcPct val="90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11" indent="-215763">
              <a:lnSpc>
                <a:spcPct val="90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254" indent="-171343">
              <a:lnSpc>
                <a:spcPct val="90000"/>
              </a:lnSpc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595" indent="-171343">
              <a:lnSpc>
                <a:spcPct val="90000"/>
              </a:lnSpc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935" indent="-171343">
              <a:lnSpc>
                <a:spcPct val="90000"/>
              </a:lnSpc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102897" y="192027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46" tIns="60922" rIns="121846" bIns="6092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0" y="4954663"/>
            <a:ext cx="9144000" cy="188840"/>
            <a:chOff x="0" y="6606214"/>
            <a:chExt cx="12188825" cy="251787"/>
          </a:xfrm>
        </p:grpSpPr>
        <p:pic>
          <p:nvPicPr>
            <p:cNvPr id="9" name="Picture 1" descr="\\.PSF\.Mac\Volumes\16GB_1\EN_Title_Analytics_Comp1 copy.png"/>
            <p:cNvPicPr>
              <a:picLocks noChangeAspect="1" noChangeArrowheads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6609145"/>
              <a:ext cx="12188825" cy="248856"/>
            </a:xfrm>
            <a:prstGeom prst="rect">
              <a:avLst/>
            </a:prstGeom>
            <a:noFill/>
          </p:spPr>
        </p:pic>
        <p:pic>
          <p:nvPicPr>
            <p:cNvPr id="10" name="Picture 2" descr="C:\Users\spius\Pictures\cisco logo blue gradient.png"/>
            <p:cNvPicPr>
              <a:picLocks noChangeAspect="1" noChangeArrowheads="1"/>
            </p:cNvPicPr>
            <p:nvPr userDrawn="1"/>
          </p:nvPicPr>
          <p:blipFill>
            <a:blip r:embed="rId3" cstate="email">
              <a:lum bright="10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51703" b="9348"/>
            <a:stretch>
              <a:fillRect/>
            </a:stretch>
          </p:blipFill>
          <p:spPr bwMode="auto">
            <a:xfrm>
              <a:off x="632070" y="6606214"/>
              <a:ext cx="574933" cy="13771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4987222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970" y="609607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928" y="302512"/>
            <a:ext cx="3715995" cy="826447"/>
          </a:xfrm>
          <a:prstGeom prst="rect">
            <a:avLst/>
          </a:prstGeom>
        </p:spPr>
        <p:txBody>
          <a:bodyPr lIns="82245" tIns="45695" rIns="82245" bIns="45695" rtlCol="0">
            <a:noAutofit/>
          </a:bodyPr>
          <a:lstStyle>
            <a:lvl1pPr algn="l" defTabSz="685429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905964" y="302506"/>
            <a:ext cx="3715995" cy="826446"/>
          </a:xfrm>
          <a:prstGeom prst="rect">
            <a:avLst/>
          </a:prstGeom>
        </p:spPr>
        <p:txBody>
          <a:bodyPr lIns="121840" tIns="60920" rIns="121840" bIns="60920" anchor="ctr" anchorCtr="0">
            <a:noAutofit/>
          </a:bodyPr>
          <a:lstStyle>
            <a:lvl1pPr marL="0" marR="0" indent="0" algn="l" defTabSz="68542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928" y="1347788"/>
            <a:ext cx="3715995" cy="3083094"/>
          </a:xfrm>
          <a:prstGeom prst="rect">
            <a:avLst/>
          </a:prstGeom>
        </p:spPr>
        <p:txBody>
          <a:bodyPr lIns="121840" tIns="60920" rIns="121840" bIns="60920">
            <a:noAutofit/>
          </a:bodyPr>
          <a:lstStyle>
            <a:lvl1pPr marL="228460" indent="-171343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11" indent="-21576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254" indent="-17134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595" indent="-17134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935" indent="-171343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905964" y="1347788"/>
            <a:ext cx="3715995" cy="3083094"/>
          </a:xfrm>
          <a:prstGeom prst="rect">
            <a:avLst/>
          </a:prstGeom>
        </p:spPr>
        <p:txBody>
          <a:bodyPr lIns="121840" tIns="60920" rIns="121840" bIns="60920">
            <a:noAutofit/>
          </a:bodyPr>
          <a:lstStyle>
            <a:lvl1pPr marL="228460" indent="-171343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911" indent="-215763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254" indent="-17134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595" indent="-171343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935" indent="-171343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65142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860816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860816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1964" y="228325"/>
            <a:ext cx="2337109" cy="770461"/>
          </a:xfrm>
          <a:prstGeom prst="rect">
            <a:avLst/>
          </a:prstGeom>
        </p:spPr>
        <p:txBody>
          <a:bodyPr lIns="121840" tIns="60920" rIns="121840" bIns="60920" anchor="b" anchorCtr="0">
            <a:noAutofit/>
          </a:bodyPr>
          <a:lstStyle>
            <a:lvl1pPr marL="0" marR="0" indent="0" algn="l" defTabSz="68542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77728" y="227845"/>
            <a:ext cx="2337109" cy="770461"/>
          </a:xfrm>
          <a:prstGeom prst="rect">
            <a:avLst/>
          </a:prstGeom>
        </p:spPr>
        <p:txBody>
          <a:bodyPr lIns="121840" tIns="60920" rIns="121840" bIns="60920" anchor="b" anchorCtr="0">
            <a:noAutofit/>
          </a:bodyPr>
          <a:lstStyle>
            <a:lvl1pPr marL="0" marR="0" indent="0" algn="l" defTabSz="68542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354813" y="220485"/>
            <a:ext cx="2337109" cy="770461"/>
          </a:xfrm>
          <a:prstGeom prst="rect">
            <a:avLst/>
          </a:prstGeom>
        </p:spPr>
        <p:txBody>
          <a:bodyPr lIns="121840" tIns="60920" rIns="121840" bIns="60920" anchor="b" anchorCtr="0">
            <a:noAutofit/>
          </a:bodyPr>
          <a:lstStyle>
            <a:lvl1pPr marL="0" marR="0" indent="0" algn="l" defTabSz="685429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1963" y="1201094"/>
            <a:ext cx="2337110" cy="3314904"/>
          </a:xfrm>
          <a:prstGeom prst="rect">
            <a:avLst/>
          </a:prstGeom>
        </p:spPr>
        <p:txBody>
          <a:bodyPr lIns="121840" tIns="60920" rIns="121840" bIns="60920">
            <a:noAutofit/>
          </a:bodyPr>
          <a:lstStyle>
            <a:lvl1pPr marL="233221" indent="-171343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726" indent="-171343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77729" y="1200321"/>
            <a:ext cx="2337110" cy="3314904"/>
          </a:xfrm>
          <a:prstGeom prst="rect">
            <a:avLst/>
          </a:prstGeom>
        </p:spPr>
        <p:txBody>
          <a:bodyPr lIns="121840" tIns="60920" rIns="121840" bIns="60920">
            <a:noAutofit/>
          </a:bodyPr>
          <a:lstStyle>
            <a:lvl1pPr marL="233221" indent="-171343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726" indent="-171343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54812" y="1200321"/>
            <a:ext cx="2337110" cy="3314904"/>
          </a:xfrm>
          <a:prstGeom prst="rect">
            <a:avLst/>
          </a:prstGeom>
        </p:spPr>
        <p:txBody>
          <a:bodyPr lIns="121840" tIns="60920" rIns="121840" bIns="60920">
            <a:noAutofit/>
          </a:bodyPr>
          <a:lstStyle>
            <a:lvl1pPr marL="233221" indent="-171343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726" indent="-171343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12397487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100584" y="19203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46" tIns="60922" rIns="121846" bIns="60922" numCol="1" anchor="t" anchorCtr="0" compatLnSpc="1">
            <a:prstTxWarp prst="textNoShape">
              <a:avLst/>
            </a:prstTxWarp>
          </a:bodyPr>
          <a:lstStyle>
            <a:lvl1pPr>
              <a:defRPr sz="270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8394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121840" tIns="60920" rIns="121840" bIns="60920" anchor="b" anchorCtr="0">
            <a:noAutofit/>
          </a:bodyPr>
          <a:lstStyle>
            <a:lvl1pPr marL="0" indent="0" algn="l" defTabSz="603319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6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522" indent="-399798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36158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7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4" y="1439067"/>
            <a:ext cx="3820348" cy="2265389"/>
          </a:xfrm>
        </p:spPr>
        <p:txBody>
          <a:bodyPr lIns="82248" tIns="45697" rIns="82248" bIns="45697" rtlCol="0" anchor="ctr">
            <a:noAutofit/>
          </a:bodyPr>
          <a:lstStyle>
            <a:lvl1pPr marL="0" indent="0" algn="l" defTabSz="685457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121840" tIns="60920" rIns="121840" bIns="6092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58519128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8078612" y="1"/>
            <a:ext cx="1065389" cy="7196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457181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08692" y="267465"/>
            <a:ext cx="3820348" cy="2265389"/>
          </a:xfrm>
        </p:spPr>
        <p:txBody>
          <a:bodyPr lIns="82248" tIns="45697" rIns="82248" bIns="45697" rtlCol="0" anchor="t">
            <a:noAutofit/>
          </a:bodyPr>
          <a:lstStyle>
            <a:lvl1pPr marL="0" indent="0" algn="l" defTabSz="685457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32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 rot="5400000">
            <a:off x="2915160" y="2571979"/>
            <a:ext cx="4588991" cy="623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 descr="\\.PSF\.Mac\Volumes\16GB_1\EN_Title_Analytics_Comp1 copy.pn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00996" y="283170"/>
            <a:ext cx="3560142" cy="4595560"/>
          </a:xfrm>
          <a:prstGeom prst="rect">
            <a:avLst/>
          </a:prstGeom>
          <a:noFill/>
          <a:effectLst>
            <a:innerShdw blurRad="63500" dist="50800" dir="18900000">
              <a:prstClr val="black">
                <a:alpha val="50000"/>
              </a:prstClr>
            </a:innerShdw>
          </a:effectLst>
        </p:spPr>
      </p:pic>
      <p:pic>
        <p:nvPicPr>
          <p:cNvPr id="10" name="Picture 9" descr="EN_MS_Logo_Project1aaa_2 copy_White copy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78611" y="370931"/>
            <a:ext cx="772583" cy="697471"/>
          </a:xfrm>
          <a:prstGeom prst="rect">
            <a:avLst/>
          </a:prstGeom>
          <a:effectLst>
            <a:outerShdw blurRad="25400" dist="25400" dir="270000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59572635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Blank_gradient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3129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358" tIns="45679" rIns="91358" bIns="45679">
            <a:noAutofit/>
          </a:bodyPr>
          <a:lstStyle>
            <a:lvl1pPr marL="57091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1825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5684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067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352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2" tIns="45681" rIns="91362" bIns="4568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4192092"/>
      </p:ext>
    </p:extLst>
  </p:cSld>
  <p:clrMapOvr>
    <a:masterClrMapping/>
  </p:clrMapOvr>
  <p:transition spd="med">
    <p:fade/>
  </p:transition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3" y="301038"/>
            <a:ext cx="8563172" cy="2542175"/>
          </a:xfrm>
          <a:prstGeom prst="rect">
            <a:avLst/>
          </a:prstGeom>
        </p:spPr>
        <p:txBody>
          <a:bodyPr vert="horz" lIns="91416" tIns="45708" rIns="91416" bIns="45708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5" y="3054519"/>
            <a:ext cx="8364236" cy="564257"/>
          </a:xfrm>
          <a:prstGeom prst="rect">
            <a:avLst/>
          </a:prstGeom>
        </p:spPr>
        <p:txBody>
          <a:bodyPr vert="horz" wrap="square" lIns="91436" tIns="45718" rIns="91436" bIns="45718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4156031190"/>
      </p:ext>
    </p:extLst>
  </p:cSld>
  <p:clrMapOvr>
    <a:masterClrMapping/>
  </p:clrMapOvr>
  <p:transition spd="slow">
    <p:wipe/>
  </p:transition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92" y="1192"/>
            <a:ext cx="1190" cy="1190"/>
          </a:xfrm>
          <a:prstGeom prst="rect">
            <a:avLst/>
          </a:prstGeom>
          <a:noFill/>
        </p:spPr>
      </p:pic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</p:spTree>
    <p:extLst>
      <p:ext uri="{BB962C8B-B14F-4D97-AF65-F5344CB8AC3E}">
        <p14:creationId xmlns:p14="http://schemas.microsoft.com/office/powerpoint/2010/main" val="2415512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6"/>
            <a:ext cx="83454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5925209"/>
      </p:ext>
    </p:extLst>
  </p:cSld>
  <p:clrMapOvr>
    <a:masterClrMapping/>
  </p:clrMapOvr>
  <p:transition spd="med">
    <p:fade/>
  </p:transition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losing Slide">
    <p:bg>
      <p:bgPr>
        <a:gradFill rotWithShape="1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76638" y="1646240"/>
            <a:ext cx="19907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03307393"/>
      </p:ext>
    </p:extLst>
  </p:cSld>
  <p:clrMapOvr>
    <a:masterClrMapping/>
  </p:clrMapOvr>
  <p:transition spd="slow">
    <p:wipe/>
  </p:transition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92" y="1192"/>
            <a:ext cx="1190" cy="1190"/>
          </a:xfrm>
          <a:prstGeom prst="rect">
            <a:avLst/>
          </a:prstGeom>
          <a:noFill/>
        </p:spPr>
      </p:pic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3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</p:spTree>
    <p:extLst>
      <p:ext uri="{BB962C8B-B14F-4D97-AF65-F5344CB8AC3E}">
        <p14:creationId xmlns:p14="http://schemas.microsoft.com/office/powerpoint/2010/main" val="3616117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>
          <a:gsLst>
            <a:gs pos="0">
              <a:srgbClr val="049FD9"/>
            </a:gs>
            <a:gs pos="100000">
              <a:srgbClr val="004BAF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50" y="323850"/>
            <a:ext cx="941388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191584"/>
      </p:ext>
    </p:extLst>
  </p:cSld>
  <p:clrMapOvr>
    <a:masterClrMapping/>
  </p:clrMapOvr>
  <p:transition spd="slow">
    <p:wipe/>
  </p:transition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2855351"/>
      </p:ext>
    </p:extLst>
  </p:cSld>
  <p:clrMapOvr>
    <a:masterClrMapping/>
  </p:clrMapOvr>
  <p:transition spd="slow">
    <p:wipe/>
  </p:transition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gue custom">
    <p:bg>
      <p:bgPr>
        <a:gradFill rotWithShape="0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1943254"/>
            <a:ext cx="7598042" cy="19707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23"/>
          <p:cNvSpPr>
            <a:spLocks noEditPoints="1"/>
          </p:cNvSpPr>
          <p:nvPr userDrawn="1"/>
        </p:nvSpPr>
        <p:spPr bwMode="auto">
          <a:xfrm>
            <a:off x="477679" y="735531"/>
            <a:ext cx="981326" cy="991454"/>
          </a:xfrm>
          <a:custGeom>
            <a:avLst/>
            <a:gdLst>
              <a:gd name="T0" fmla="*/ 522 w 769"/>
              <a:gd name="T1" fmla="*/ 674 h 769"/>
              <a:gd name="T2" fmla="*/ 513 w 769"/>
              <a:gd name="T3" fmla="*/ 655 h 769"/>
              <a:gd name="T4" fmla="*/ 494 w 769"/>
              <a:gd name="T5" fmla="*/ 485 h 769"/>
              <a:gd name="T6" fmla="*/ 377 w 769"/>
              <a:gd name="T7" fmla="*/ 395 h 769"/>
              <a:gd name="T8" fmla="*/ 208 w 769"/>
              <a:gd name="T9" fmla="*/ 197 h 769"/>
              <a:gd name="T10" fmla="*/ 247 w 769"/>
              <a:gd name="T11" fmla="*/ 103 h 769"/>
              <a:gd name="T12" fmla="*/ 265 w 769"/>
              <a:gd name="T13" fmla="*/ 118 h 769"/>
              <a:gd name="T14" fmla="*/ 277 w 769"/>
              <a:gd name="T15" fmla="*/ 288 h 769"/>
              <a:gd name="T16" fmla="*/ 390 w 769"/>
              <a:gd name="T17" fmla="*/ 376 h 769"/>
              <a:gd name="T18" fmla="*/ 511 w 769"/>
              <a:gd name="T19" fmla="*/ 469 h 769"/>
              <a:gd name="T20" fmla="*/ 532 w 769"/>
              <a:gd name="T21" fmla="*/ 669 h 769"/>
              <a:gd name="T22" fmla="*/ 384 w 769"/>
              <a:gd name="T23" fmla="*/ 557 h 769"/>
              <a:gd name="T24" fmla="*/ 384 w 769"/>
              <a:gd name="T25" fmla="*/ 531 h 769"/>
              <a:gd name="T26" fmla="*/ 223 w 769"/>
              <a:gd name="T27" fmla="*/ 544 h 769"/>
              <a:gd name="T28" fmla="*/ 384 w 769"/>
              <a:gd name="T29" fmla="*/ 557 h 769"/>
              <a:gd name="T30" fmla="*/ 352 w 769"/>
              <a:gd name="T31" fmla="*/ 439 h 769"/>
              <a:gd name="T32" fmla="*/ 352 w 769"/>
              <a:gd name="T33" fmla="*/ 419 h 769"/>
              <a:gd name="T34" fmla="*/ 319 w 769"/>
              <a:gd name="T35" fmla="*/ 429 h 769"/>
              <a:gd name="T36" fmla="*/ 352 w 769"/>
              <a:gd name="T37" fmla="*/ 439 h 769"/>
              <a:gd name="T38" fmla="*/ 359 w 769"/>
              <a:gd name="T39" fmla="*/ 495 h 769"/>
              <a:gd name="T40" fmla="*/ 359 w 769"/>
              <a:gd name="T41" fmla="*/ 475 h 769"/>
              <a:gd name="T42" fmla="*/ 254 w 769"/>
              <a:gd name="T43" fmla="*/ 485 h 769"/>
              <a:gd name="T44" fmla="*/ 359 w 769"/>
              <a:gd name="T45" fmla="*/ 495 h 769"/>
              <a:gd name="T46" fmla="*/ 429 w 769"/>
              <a:gd name="T47" fmla="*/ 613 h 769"/>
              <a:gd name="T48" fmla="*/ 429 w 769"/>
              <a:gd name="T49" fmla="*/ 587 h 769"/>
              <a:gd name="T50" fmla="*/ 213 w 769"/>
              <a:gd name="T51" fmla="*/ 600 h 769"/>
              <a:gd name="T52" fmla="*/ 429 w 769"/>
              <a:gd name="T53" fmla="*/ 613 h 769"/>
              <a:gd name="T54" fmla="*/ 464 w 769"/>
              <a:gd name="T55" fmla="*/ 669 h 769"/>
              <a:gd name="T56" fmla="*/ 464 w 769"/>
              <a:gd name="T57" fmla="*/ 643 h 769"/>
              <a:gd name="T58" fmla="*/ 244 w 769"/>
              <a:gd name="T59" fmla="*/ 656 h 769"/>
              <a:gd name="T60" fmla="*/ 464 w 769"/>
              <a:gd name="T61" fmla="*/ 669 h 769"/>
              <a:gd name="T62" fmla="*/ 535 w 769"/>
              <a:gd name="T63" fmla="*/ 240 h 769"/>
              <a:gd name="T64" fmla="*/ 535 w 769"/>
              <a:gd name="T65" fmla="*/ 220 h 769"/>
              <a:gd name="T66" fmla="*/ 375 w 769"/>
              <a:gd name="T67" fmla="*/ 230 h 769"/>
              <a:gd name="T68" fmla="*/ 535 w 769"/>
              <a:gd name="T69" fmla="*/ 240 h 769"/>
              <a:gd name="T70" fmla="*/ 438 w 769"/>
              <a:gd name="T71" fmla="*/ 357 h 769"/>
              <a:gd name="T72" fmla="*/ 438 w 769"/>
              <a:gd name="T73" fmla="*/ 332 h 769"/>
              <a:gd name="T74" fmla="*/ 405 w 769"/>
              <a:gd name="T75" fmla="*/ 345 h 769"/>
              <a:gd name="T76" fmla="*/ 438 w 769"/>
              <a:gd name="T77" fmla="*/ 357 h 769"/>
              <a:gd name="T78" fmla="*/ 505 w 769"/>
              <a:gd name="T79" fmla="*/ 301 h 769"/>
              <a:gd name="T80" fmla="*/ 505 w 769"/>
              <a:gd name="T81" fmla="*/ 276 h 769"/>
              <a:gd name="T82" fmla="*/ 400 w 769"/>
              <a:gd name="T83" fmla="*/ 289 h 769"/>
              <a:gd name="T84" fmla="*/ 505 w 769"/>
              <a:gd name="T85" fmla="*/ 301 h 769"/>
              <a:gd name="T86" fmla="*/ 545 w 769"/>
              <a:gd name="T87" fmla="*/ 184 h 769"/>
              <a:gd name="T88" fmla="*/ 545 w 769"/>
              <a:gd name="T89" fmla="*/ 163 h 769"/>
              <a:gd name="T90" fmla="*/ 329 w 769"/>
              <a:gd name="T91" fmla="*/ 174 h 769"/>
              <a:gd name="T92" fmla="*/ 545 w 769"/>
              <a:gd name="T93" fmla="*/ 184 h 769"/>
              <a:gd name="T94" fmla="*/ 515 w 769"/>
              <a:gd name="T95" fmla="*/ 128 h 769"/>
              <a:gd name="T96" fmla="*/ 515 w 769"/>
              <a:gd name="T97" fmla="*/ 102 h 769"/>
              <a:gd name="T98" fmla="*/ 294 w 769"/>
              <a:gd name="T99" fmla="*/ 115 h 769"/>
              <a:gd name="T100" fmla="*/ 515 w 769"/>
              <a:gd name="T101" fmla="*/ 128 h 769"/>
              <a:gd name="T102" fmla="*/ 385 w 769"/>
              <a:gd name="T103" fmla="*/ 0 h 769"/>
              <a:gd name="T104" fmla="*/ 385 w 769"/>
              <a:gd name="T105" fmla="*/ 769 h 769"/>
              <a:gd name="T106" fmla="*/ 385 w 769"/>
              <a:gd name="T107" fmla="*/ 0 h 7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769" h="769">
                <a:moveTo>
                  <a:pt x="522" y="674"/>
                </a:moveTo>
                <a:cubicBezTo>
                  <a:pt x="522" y="674"/>
                  <a:pt x="522" y="674"/>
                  <a:pt x="522" y="674"/>
                </a:cubicBezTo>
                <a:cubicBezTo>
                  <a:pt x="520" y="674"/>
                  <a:pt x="518" y="673"/>
                  <a:pt x="515" y="672"/>
                </a:cubicBezTo>
                <a:cubicBezTo>
                  <a:pt x="510" y="668"/>
                  <a:pt x="509" y="661"/>
                  <a:pt x="513" y="655"/>
                </a:cubicBezTo>
                <a:cubicBezTo>
                  <a:pt x="530" y="632"/>
                  <a:pt x="538" y="608"/>
                  <a:pt x="538" y="583"/>
                </a:cubicBezTo>
                <a:cubicBezTo>
                  <a:pt x="538" y="549"/>
                  <a:pt x="524" y="517"/>
                  <a:pt x="494" y="485"/>
                </a:cubicBezTo>
                <a:cubicBezTo>
                  <a:pt x="467" y="457"/>
                  <a:pt x="431" y="432"/>
                  <a:pt x="400" y="411"/>
                </a:cubicBezTo>
                <a:cubicBezTo>
                  <a:pt x="392" y="405"/>
                  <a:pt x="384" y="400"/>
                  <a:pt x="377" y="395"/>
                </a:cubicBezTo>
                <a:cubicBezTo>
                  <a:pt x="372" y="391"/>
                  <a:pt x="366" y="388"/>
                  <a:pt x="361" y="384"/>
                </a:cubicBezTo>
                <a:cubicBezTo>
                  <a:pt x="293" y="337"/>
                  <a:pt x="208" y="278"/>
                  <a:pt x="208" y="197"/>
                </a:cubicBezTo>
                <a:cubicBezTo>
                  <a:pt x="208" y="180"/>
                  <a:pt x="212" y="163"/>
                  <a:pt x="219" y="146"/>
                </a:cubicBezTo>
                <a:cubicBezTo>
                  <a:pt x="226" y="132"/>
                  <a:pt x="235" y="117"/>
                  <a:pt x="247" y="103"/>
                </a:cubicBezTo>
                <a:cubicBezTo>
                  <a:pt x="252" y="98"/>
                  <a:pt x="259" y="97"/>
                  <a:pt x="264" y="101"/>
                </a:cubicBezTo>
                <a:cubicBezTo>
                  <a:pt x="269" y="105"/>
                  <a:pt x="269" y="113"/>
                  <a:pt x="265" y="118"/>
                </a:cubicBezTo>
                <a:cubicBezTo>
                  <a:pt x="243" y="144"/>
                  <a:pt x="232" y="170"/>
                  <a:pt x="232" y="197"/>
                </a:cubicBezTo>
                <a:cubicBezTo>
                  <a:pt x="232" y="227"/>
                  <a:pt x="246" y="257"/>
                  <a:pt x="277" y="288"/>
                </a:cubicBezTo>
                <a:cubicBezTo>
                  <a:pt x="305" y="316"/>
                  <a:pt x="342" y="342"/>
                  <a:pt x="374" y="364"/>
                </a:cubicBezTo>
                <a:cubicBezTo>
                  <a:pt x="380" y="368"/>
                  <a:pt x="385" y="372"/>
                  <a:pt x="390" y="376"/>
                </a:cubicBezTo>
                <a:cubicBezTo>
                  <a:pt x="398" y="381"/>
                  <a:pt x="405" y="386"/>
                  <a:pt x="413" y="391"/>
                </a:cubicBezTo>
                <a:cubicBezTo>
                  <a:pt x="446" y="414"/>
                  <a:pt x="483" y="439"/>
                  <a:pt x="511" y="469"/>
                </a:cubicBezTo>
                <a:cubicBezTo>
                  <a:pt x="545" y="505"/>
                  <a:pt x="562" y="542"/>
                  <a:pt x="562" y="583"/>
                </a:cubicBezTo>
                <a:cubicBezTo>
                  <a:pt x="562" y="612"/>
                  <a:pt x="552" y="641"/>
                  <a:pt x="532" y="669"/>
                </a:cubicBezTo>
                <a:cubicBezTo>
                  <a:pt x="530" y="672"/>
                  <a:pt x="526" y="674"/>
                  <a:pt x="522" y="674"/>
                </a:cubicBezTo>
                <a:close/>
                <a:moveTo>
                  <a:pt x="384" y="557"/>
                </a:moveTo>
                <a:cubicBezTo>
                  <a:pt x="390" y="557"/>
                  <a:pt x="395" y="551"/>
                  <a:pt x="395" y="544"/>
                </a:cubicBezTo>
                <a:cubicBezTo>
                  <a:pt x="395" y="537"/>
                  <a:pt x="390" y="531"/>
                  <a:pt x="384" y="531"/>
                </a:cubicBezTo>
                <a:cubicBezTo>
                  <a:pt x="235" y="531"/>
                  <a:pt x="235" y="531"/>
                  <a:pt x="235" y="531"/>
                </a:cubicBezTo>
                <a:cubicBezTo>
                  <a:pt x="228" y="531"/>
                  <a:pt x="223" y="537"/>
                  <a:pt x="223" y="544"/>
                </a:cubicBezTo>
                <a:cubicBezTo>
                  <a:pt x="223" y="551"/>
                  <a:pt x="228" y="557"/>
                  <a:pt x="235" y="557"/>
                </a:cubicBezTo>
                <a:cubicBezTo>
                  <a:pt x="384" y="557"/>
                  <a:pt x="384" y="557"/>
                  <a:pt x="384" y="557"/>
                </a:cubicBezTo>
                <a:cubicBezTo>
                  <a:pt x="384" y="557"/>
                  <a:pt x="384" y="557"/>
                  <a:pt x="384" y="557"/>
                </a:cubicBezTo>
                <a:close/>
                <a:moveTo>
                  <a:pt x="352" y="439"/>
                </a:moveTo>
                <a:cubicBezTo>
                  <a:pt x="359" y="439"/>
                  <a:pt x="365" y="435"/>
                  <a:pt x="365" y="429"/>
                </a:cubicBezTo>
                <a:cubicBezTo>
                  <a:pt x="365" y="423"/>
                  <a:pt x="359" y="419"/>
                  <a:pt x="352" y="419"/>
                </a:cubicBezTo>
                <a:cubicBezTo>
                  <a:pt x="332" y="419"/>
                  <a:pt x="332" y="419"/>
                  <a:pt x="332" y="419"/>
                </a:cubicBezTo>
                <a:cubicBezTo>
                  <a:pt x="325" y="419"/>
                  <a:pt x="319" y="423"/>
                  <a:pt x="319" y="429"/>
                </a:cubicBezTo>
                <a:cubicBezTo>
                  <a:pt x="319" y="435"/>
                  <a:pt x="325" y="439"/>
                  <a:pt x="332" y="439"/>
                </a:cubicBezTo>
                <a:cubicBezTo>
                  <a:pt x="352" y="439"/>
                  <a:pt x="352" y="439"/>
                  <a:pt x="352" y="439"/>
                </a:cubicBezTo>
                <a:cubicBezTo>
                  <a:pt x="352" y="439"/>
                  <a:pt x="352" y="439"/>
                  <a:pt x="352" y="439"/>
                </a:cubicBezTo>
                <a:close/>
                <a:moveTo>
                  <a:pt x="359" y="495"/>
                </a:moveTo>
                <a:cubicBezTo>
                  <a:pt x="365" y="495"/>
                  <a:pt x="370" y="491"/>
                  <a:pt x="370" y="485"/>
                </a:cubicBezTo>
                <a:cubicBezTo>
                  <a:pt x="370" y="479"/>
                  <a:pt x="365" y="475"/>
                  <a:pt x="359" y="475"/>
                </a:cubicBezTo>
                <a:cubicBezTo>
                  <a:pt x="265" y="475"/>
                  <a:pt x="265" y="475"/>
                  <a:pt x="265" y="475"/>
                </a:cubicBezTo>
                <a:cubicBezTo>
                  <a:pt x="259" y="475"/>
                  <a:pt x="254" y="479"/>
                  <a:pt x="254" y="485"/>
                </a:cubicBezTo>
                <a:cubicBezTo>
                  <a:pt x="254" y="491"/>
                  <a:pt x="259" y="495"/>
                  <a:pt x="265" y="495"/>
                </a:cubicBezTo>
                <a:cubicBezTo>
                  <a:pt x="359" y="495"/>
                  <a:pt x="359" y="495"/>
                  <a:pt x="359" y="495"/>
                </a:cubicBezTo>
                <a:cubicBezTo>
                  <a:pt x="359" y="495"/>
                  <a:pt x="359" y="495"/>
                  <a:pt x="359" y="495"/>
                </a:cubicBezTo>
                <a:close/>
                <a:moveTo>
                  <a:pt x="429" y="613"/>
                </a:moveTo>
                <a:cubicBezTo>
                  <a:pt x="435" y="613"/>
                  <a:pt x="441" y="607"/>
                  <a:pt x="441" y="600"/>
                </a:cubicBezTo>
                <a:cubicBezTo>
                  <a:pt x="441" y="593"/>
                  <a:pt x="435" y="587"/>
                  <a:pt x="429" y="587"/>
                </a:cubicBezTo>
                <a:cubicBezTo>
                  <a:pt x="225" y="587"/>
                  <a:pt x="225" y="587"/>
                  <a:pt x="225" y="587"/>
                </a:cubicBezTo>
                <a:cubicBezTo>
                  <a:pt x="218" y="587"/>
                  <a:pt x="213" y="593"/>
                  <a:pt x="213" y="600"/>
                </a:cubicBezTo>
                <a:cubicBezTo>
                  <a:pt x="213" y="607"/>
                  <a:pt x="218" y="613"/>
                  <a:pt x="225" y="613"/>
                </a:cubicBezTo>
                <a:cubicBezTo>
                  <a:pt x="429" y="613"/>
                  <a:pt x="429" y="613"/>
                  <a:pt x="429" y="613"/>
                </a:cubicBezTo>
                <a:cubicBezTo>
                  <a:pt x="429" y="613"/>
                  <a:pt x="429" y="613"/>
                  <a:pt x="429" y="613"/>
                </a:cubicBezTo>
                <a:close/>
                <a:moveTo>
                  <a:pt x="464" y="669"/>
                </a:moveTo>
                <a:cubicBezTo>
                  <a:pt x="471" y="669"/>
                  <a:pt x="476" y="663"/>
                  <a:pt x="476" y="656"/>
                </a:cubicBezTo>
                <a:cubicBezTo>
                  <a:pt x="476" y="649"/>
                  <a:pt x="471" y="643"/>
                  <a:pt x="464" y="643"/>
                </a:cubicBezTo>
                <a:cubicBezTo>
                  <a:pt x="255" y="643"/>
                  <a:pt x="255" y="643"/>
                  <a:pt x="255" y="643"/>
                </a:cubicBezTo>
                <a:cubicBezTo>
                  <a:pt x="249" y="643"/>
                  <a:pt x="244" y="649"/>
                  <a:pt x="244" y="656"/>
                </a:cubicBezTo>
                <a:cubicBezTo>
                  <a:pt x="244" y="663"/>
                  <a:pt x="249" y="669"/>
                  <a:pt x="255" y="669"/>
                </a:cubicBezTo>
                <a:cubicBezTo>
                  <a:pt x="464" y="669"/>
                  <a:pt x="464" y="669"/>
                  <a:pt x="464" y="669"/>
                </a:cubicBezTo>
                <a:cubicBezTo>
                  <a:pt x="464" y="669"/>
                  <a:pt x="464" y="669"/>
                  <a:pt x="464" y="669"/>
                </a:cubicBezTo>
                <a:close/>
                <a:moveTo>
                  <a:pt x="535" y="240"/>
                </a:moveTo>
                <a:cubicBezTo>
                  <a:pt x="541" y="240"/>
                  <a:pt x="547" y="235"/>
                  <a:pt x="547" y="230"/>
                </a:cubicBezTo>
                <a:cubicBezTo>
                  <a:pt x="547" y="224"/>
                  <a:pt x="541" y="220"/>
                  <a:pt x="535" y="220"/>
                </a:cubicBezTo>
                <a:cubicBezTo>
                  <a:pt x="386" y="220"/>
                  <a:pt x="386" y="220"/>
                  <a:pt x="386" y="220"/>
                </a:cubicBezTo>
                <a:cubicBezTo>
                  <a:pt x="380" y="220"/>
                  <a:pt x="375" y="224"/>
                  <a:pt x="375" y="230"/>
                </a:cubicBezTo>
                <a:cubicBezTo>
                  <a:pt x="375" y="235"/>
                  <a:pt x="380" y="240"/>
                  <a:pt x="386" y="240"/>
                </a:cubicBezTo>
                <a:cubicBezTo>
                  <a:pt x="535" y="240"/>
                  <a:pt x="535" y="240"/>
                  <a:pt x="535" y="240"/>
                </a:cubicBezTo>
                <a:cubicBezTo>
                  <a:pt x="535" y="240"/>
                  <a:pt x="535" y="240"/>
                  <a:pt x="535" y="240"/>
                </a:cubicBezTo>
                <a:close/>
                <a:moveTo>
                  <a:pt x="438" y="357"/>
                </a:moveTo>
                <a:cubicBezTo>
                  <a:pt x="445" y="357"/>
                  <a:pt x="451" y="352"/>
                  <a:pt x="451" y="345"/>
                </a:cubicBezTo>
                <a:cubicBezTo>
                  <a:pt x="451" y="338"/>
                  <a:pt x="445" y="332"/>
                  <a:pt x="438" y="332"/>
                </a:cubicBezTo>
                <a:cubicBezTo>
                  <a:pt x="418" y="332"/>
                  <a:pt x="418" y="332"/>
                  <a:pt x="418" y="332"/>
                </a:cubicBezTo>
                <a:cubicBezTo>
                  <a:pt x="411" y="332"/>
                  <a:pt x="405" y="338"/>
                  <a:pt x="405" y="345"/>
                </a:cubicBezTo>
                <a:cubicBezTo>
                  <a:pt x="405" y="352"/>
                  <a:pt x="411" y="357"/>
                  <a:pt x="418" y="357"/>
                </a:cubicBezTo>
                <a:cubicBezTo>
                  <a:pt x="438" y="357"/>
                  <a:pt x="438" y="357"/>
                  <a:pt x="438" y="357"/>
                </a:cubicBezTo>
                <a:cubicBezTo>
                  <a:pt x="438" y="357"/>
                  <a:pt x="438" y="357"/>
                  <a:pt x="438" y="357"/>
                </a:cubicBezTo>
                <a:close/>
                <a:moveTo>
                  <a:pt x="505" y="301"/>
                </a:moveTo>
                <a:cubicBezTo>
                  <a:pt x="511" y="301"/>
                  <a:pt x="516" y="296"/>
                  <a:pt x="516" y="289"/>
                </a:cubicBezTo>
                <a:cubicBezTo>
                  <a:pt x="516" y="282"/>
                  <a:pt x="511" y="276"/>
                  <a:pt x="505" y="276"/>
                </a:cubicBezTo>
                <a:cubicBezTo>
                  <a:pt x="412" y="276"/>
                  <a:pt x="412" y="276"/>
                  <a:pt x="412" y="276"/>
                </a:cubicBezTo>
                <a:cubicBezTo>
                  <a:pt x="405" y="276"/>
                  <a:pt x="400" y="282"/>
                  <a:pt x="400" y="289"/>
                </a:cubicBezTo>
                <a:cubicBezTo>
                  <a:pt x="400" y="296"/>
                  <a:pt x="405" y="301"/>
                  <a:pt x="412" y="301"/>
                </a:cubicBezTo>
                <a:cubicBezTo>
                  <a:pt x="505" y="301"/>
                  <a:pt x="505" y="301"/>
                  <a:pt x="505" y="301"/>
                </a:cubicBezTo>
                <a:cubicBezTo>
                  <a:pt x="505" y="301"/>
                  <a:pt x="505" y="301"/>
                  <a:pt x="505" y="301"/>
                </a:cubicBezTo>
                <a:close/>
                <a:moveTo>
                  <a:pt x="545" y="184"/>
                </a:moveTo>
                <a:cubicBezTo>
                  <a:pt x="552" y="184"/>
                  <a:pt x="557" y="179"/>
                  <a:pt x="557" y="174"/>
                </a:cubicBezTo>
                <a:cubicBezTo>
                  <a:pt x="557" y="168"/>
                  <a:pt x="552" y="163"/>
                  <a:pt x="545" y="163"/>
                </a:cubicBezTo>
                <a:cubicBezTo>
                  <a:pt x="341" y="163"/>
                  <a:pt x="341" y="163"/>
                  <a:pt x="341" y="163"/>
                </a:cubicBezTo>
                <a:cubicBezTo>
                  <a:pt x="335" y="163"/>
                  <a:pt x="329" y="168"/>
                  <a:pt x="329" y="174"/>
                </a:cubicBezTo>
                <a:cubicBezTo>
                  <a:pt x="329" y="179"/>
                  <a:pt x="335" y="184"/>
                  <a:pt x="341" y="184"/>
                </a:cubicBezTo>
                <a:cubicBezTo>
                  <a:pt x="545" y="184"/>
                  <a:pt x="545" y="184"/>
                  <a:pt x="545" y="184"/>
                </a:cubicBezTo>
                <a:cubicBezTo>
                  <a:pt x="545" y="184"/>
                  <a:pt x="545" y="184"/>
                  <a:pt x="545" y="184"/>
                </a:cubicBezTo>
                <a:close/>
                <a:moveTo>
                  <a:pt x="515" y="128"/>
                </a:moveTo>
                <a:cubicBezTo>
                  <a:pt x="521" y="128"/>
                  <a:pt x="526" y="122"/>
                  <a:pt x="526" y="115"/>
                </a:cubicBezTo>
                <a:cubicBezTo>
                  <a:pt x="526" y="108"/>
                  <a:pt x="521" y="102"/>
                  <a:pt x="515" y="102"/>
                </a:cubicBezTo>
                <a:cubicBezTo>
                  <a:pt x="306" y="102"/>
                  <a:pt x="306" y="102"/>
                  <a:pt x="306" y="102"/>
                </a:cubicBezTo>
                <a:cubicBezTo>
                  <a:pt x="299" y="102"/>
                  <a:pt x="294" y="108"/>
                  <a:pt x="294" y="115"/>
                </a:cubicBezTo>
                <a:cubicBezTo>
                  <a:pt x="294" y="122"/>
                  <a:pt x="299" y="128"/>
                  <a:pt x="306" y="128"/>
                </a:cubicBezTo>
                <a:cubicBezTo>
                  <a:pt x="515" y="128"/>
                  <a:pt x="515" y="128"/>
                  <a:pt x="515" y="128"/>
                </a:cubicBezTo>
                <a:cubicBezTo>
                  <a:pt x="515" y="128"/>
                  <a:pt x="515" y="128"/>
                  <a:pt x="515" y="128"/>
                </a:cubicBezTo>
                <a:close/>
                <a:moveTo>
                  <a:pt x="385" y="0"/>
                </a:moveTo>
                <a:cubicBezTo>
                  <a:pt x="173" y="0"/>
                  <a:pt x="0" y="172"/>
                  <a:pt x="0" y="384"/>
                </a:cubicBezTo>
                <a:cubicBezTo>
                  <a:pt x="0" y="597"/>
                  <a:pt x="173" y="769"/>
                  <a:pt x="385" y="769"/>
                </a:cubicBezTo>
                <a:cubicBezTo>
                  <a:pt x="597" y="769"/>
                  <a:pt x="769" y="597"/>
                  <a:pt x="769" y="384"/>
                </a:cubicBezTo>
                <a:cubicBezTo>
                  <a:pt x="769" y="172"/>
                  <a:pt x="597" y="0"/>
                  <a:pt x="385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  <a:alpha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39393B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2368780"/>
      </p:ext>
    </p:extLst>
  </p:cSld>
  <p:clrMapOvr>
    <a:masterClrMapping/>
  </p:clrMapOvr>
  <p:transition spd="slow">
    <p:wipe/>
  </p:transition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747062"/>
      </p:ext>
    </p:extLst>
  </p:cSld>
  <p:clrMapOvr>
    <a:masterClrMapping/>
  </p:clrMapOvr>
  <p:transition spd="med">
    <p:fade/>
  </p:transition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4334774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ltGray">
          <a:xfrm>
            <a:off x="8513596" y="4742937"/>
            <a:ext cx="220553" cy="1545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44" tIns="30791" rIns="61544" bIns="30791" anchor="b">
            <a:spAutoFit/>
          </a:bodyPr>
          <a:lstStyle/>
          <a:p>
            <a:pPr algn="r" defTabSz="610309"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cs typeface="CiscoSans Thin"/>
              </a:rPr>
              <a:pPr algn="r" defTabSz="610309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ltGray">
          <a:xfrm>
            <a:off x="5867508" y="4741682"/>
            <a:ext cx="2658018" cy="154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44" tIns="30791" rIns="61544" bIns="30791" anchor="b">
            <a:spAutoFit/>
          </a:bodyPr>
          <a:lstStyle/>
          <a:p>
            <a:pPr defTabSz="610309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2014  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9883324"/>
      </p:ext>
    </p:extLst>
  </p:cSld>
  <p:clrMapOvr>
    <a:masterClrMapping/>
  </p:clrMapOvr>
  <p:transition spd="med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9685" y="895601"/>
            <a:ext cx="8398739" cy="3168210"/>
          </a:xfrm>
          <a:prstGeom prst="rect">
            <a:avLst/>
          </a:prstGeom>
        </p:spPr>
        <p:txBody>
          <a:bodyPr lIns="91358" tIns="45679" rIns="91358" bIns="45679">
            <a:noAutofit/>
          </a:bodyPr>
          <a:lstStyle>
            <a:lvl1pPr marL="57091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1825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5684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067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352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274489169"/>
      </p:ext>
    </p:extLst>
  </p:cSld>
  <p:clrMapOvr>
    <a:masterClrMapping/>
  </p:clrMapOvr>
  <p:transition spd="med">
    <p:fade/>
  </p:transition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3527825"/>
      </p:ext>
    </p:extLst>
  </p:cSld>
  <p:clrMapOvr>
    <a:masterClrMapping/>
  </p:clrMapOvr>
  <p:transition spd="med">
    <p:fade/>
  </p:transition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6638" y="1646238"/>
            <a:ext cx="19907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4928152"/>
      </p:ext>
    </p:extLst>
  </p:cSld>
  <p:clrMapOvr>
    <a:masterClrMapping/>
  </p:clrMapOvr>
  <p:transition spd="slow">
    <p:wipe/>
  </p:transition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1028429"/>
      </p:ext>
    </p:extLst>
  </p:cSld>
  <p:clrMapOvr>
    <a:masterClrMapping/>
  </p:clrMapOvr>
  <p:transition spd="slow">
    <p:wipe/>
  </p:transition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5208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CA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1720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>
          <a:gsLst>
            <a:gs pos="0">
              <a:srgbClr val="049FD9"/>
            </a:gs>
            <a:gs pos="100000">
              <a:srgbClr val="004BAF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50" y="323850"/>
            <a:ext cx="941388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2625377"/>
      </p:ext>
    </p:extLst>
  </p:cSld>
  <p:clrMapOvr>
    <a:masterClrMapping/>
  </p:clrMapOvr>
  <p:transition spd="slow">
    <p:wipe/>
  </p:transition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73864182"/>
      </p:ext>
    </p:extLst>
  </p:cSld>
  <p:clrMapOvr>
    <a:masterClrMapping/>
  </p:clrMapOvr>
  <p:transition spd="slow">
    <p:wipe/>
  </p:transition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gue custom">
    <p:bg>
      <p:bgPr>
        <a:gradFill rotWithShape="0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1943254"/>
            <a:ext cx="7598042" cy="19707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23"/>
          <p:cNvSpPr>
            <a:spLocks noEditPoints="1"/>
          </p:cNvSpPr>
          <p:nvPr userDrawn="1"/>
        </p:nvSpPr>
        <p:spPr bwMode="auto">
          <a:xfrm>
            <a:off x="477679" y="735531"/>
            <a:ext cx="981326" cy="991454"/>
          </a:xfrm>
          <a:custGeom>
            <a:avLst/>
            <a:gdLst>
              <a:gd name="T0" fmla="*/ 522 w 769"/>
              <a:gd name="T1" fmla="*/ 674 h 769"/>
              <a:gd name="T2" fmla="*/ 513 w 769"/>
              <a:gd name="T3" fmla="*/ 655 h 769"/>
              <a:gd name="T4" fmla="*/ 494 w 769"/>
              <a:gd name="T5" fmla="*/ 485 h 769"/>
              <a:gd name="T6" fmla="*/ 377 w 769"/>
              <a:gd name="T7" fmla="*/ 395 h 769"/>
              <a:gd name="T8" fmla="*/ 208 w 769"/>
              <a:gd name="T9" fmla="*/ 197 h 769"/>
              <a:gd name="T10" fmla="*/ 247 w 769"/>
              <a:gd name="T11" fmla="*/ 103 h 769"/>
              <a:gd name="T12" fmla="*/ 265 w 769"/>
              <a:gd name="T13" fmla="*/ 118 h 769"/>
              <a:gd name="T14" fmla="*/ 277 w 769"/>
              <a:gd name="T15" fmla="*/ 288 h 769"/>
              <a:gd name="T16" fmla="*/ 390 w 769"/>
              <a:gd name="T17" fmla="*/ 376 h 769"/>
              <a:gd name="T18" fmla="*/ 511 w 769"/>
              <a:gd name="T19" fmla="*/ 469 h 769"/>
              <a:gd name="T20" fmla="*/ 532 w 769"/>
              <a:gd name="T21" fmla="*/ 669 h 769"/>
              <a:gd name="T22" fmla="*/ 384 w 769"/>
              <a:gd name="T23" fmla="*/ 557 h 769"/>
              <a:gd name="T24" fmla="*/ 384 w 769"/>
              <a:gd name="T25" fmla="*/ 531 h 769"/>
              <a:gd name="T26" fmla="*/ 223 w 769"/>
              <a:gd name="T27" fmla="*/ 544 h 769"/>
              <a:gd name="T28" fmla="*/ 384 w 769"/>
              <a:gd name="T29" fmla="*/ 557 h 769"/>
              <a:gd name="T30" fmla="*/ 352 w 769"/>
              <a:gd name="T31" fmla="*/ 439 h 769"/>
              <a:gd name="T32" fmla="*/ 352 w 769"/>
              <a:gd name="T33" fmla="*/ 419 h 769"/>
              <a:gd name="T34" fmla="*/ 319 w 769"/>
              <a:gd name="T35" fmla="*/ 429 h 769"/>
              <a:gd name="T36" fmla="*/ 352 w 769"/>
              <a:gd name="T37" fmla="*/ 439 h 769"/>
              <a:gd name="T38" fmla="*/ 359 w 769"/>
              <a:gd name="T39" fmla="*/ 495 h 769"/>
              <a:gd name="T40" fmla="*/ 359 w 769"/>
              <a:gd name="T41" fmla="*/ 475 h 769"/>
              <a:gd name="T42" fmla="*/ 254 w 769"/>
              <a:gd name="T43" fmla="*/ 485 h 769"/>
              <a:gd name="T44" fmla="*/ 359 w 769"/>
              <a:gd name="T45" fmla="*/ 495 h 769"/>
              <a:gd name="T46" fmla="*/ 429 w 769"/>
              <a:gd name="T47" fmla="*/ 613 h 769"/>
              <a:gd name="T48" fmla="*/ 429 w 769"/>
              <a:gd name="T49" fmla="*/ 587 h 769"/>
              <a:gd name="T50" fmla="*/ 213 w 769"/>
              <a:gd name="T51" fmla="*/ 600 h 769"/>
              <a:gd name="T52" fmla="*/ 429 w 769"/>
              <a:gd name="T53" fmla="*/ 613 h 769"/>
              <a:gd name="T54" fmla="*/ 464 w 769"/>
              <a:gd name="T55" fmla="*/ 669 h 769"/>
              <a:gd name="T56" fmla="*/ 464 w 769"/>
              <a:gd name="T57" fmla="*/ 643 h 769"/>
              <a:gd name="T58" fmla="*/ 244 w 769"/>
              <a:gd name="T59" fmla="*/ 656 h 769"/>
              <a:gd name="T60" fmla="*/ 464 w 769"/>
              <a:gd name="T61" fmla="*/ 669 h 769"/>
              <a:gd name="T62" fmla="*/ 535 w 769"/>
              <a:gd name="T63" fmla="*/ 240 h 769"/>
              <a:gd name="T64" fmla="*/ 535 w 769"/>
              <a:gd name="T65" fmla="*/ 220 h 769"/>
              <a:gd name="T66" fmla="*/ 375 w 769"/>
              <a:gd name="T67" fmla="*/ 230 h 769"/>
              <a:gd name="T68" fmla="*/ 535 w 769"/>
              <a:gd name="T69" fmla="*/ 240 h 769"/>
              <a:gd name="T70" fmla="*/ 438 w 769"/>
              <a:gd name="T71" fmla="*/ 357 h 769"/>
              <a:gd name="T72" fmla="*/ 438 w 769"/>
              <a:gd name="T73" fmla="*/ 332 h 769"/>
              <a:gd name="T74" fmla="*/ 405 w 769"/>
              <a:gd name="T75" fmla="*/ 345 h 769"/>
              <a:gd name="T76" fmla="*/ 438 w 769"/>
              <a:gd name="T77" fmla="*/ 357 h 769"/>
              <a:gd name="T78" fmla="*/ 505 w 769"/>
              <a:gd name="T79" fmla="*/ 301 h 769"/>
              <a:gd name="T80" fmla="*/ 505 w 769"/>
              <a:gd name="T81" fmla="*/ 276 h 769"/>
              <a:gd name="T82" fmla="*/ 400 w 769"/>
              <a:gd name="T83" fmla="*/ 289 h 769"/>
              <a:gd name="T84" fmla="*/ 505 w 769"/>
              <a:gd name="T85" fmla="*/ 301 h 769"/>
              <a:gd name="T86" fmla="*/ 545 w 769"/>
              <a:gd name="T87" fmla="*/ 184 h 769"/>
              <a:gd name="T88" fmla="*/ 545 w 769"/>
              <a:gd name="T89" fmla="*/ 163 h 769"/>
              <a:gd name="T90" fmla="*/ 329 w 769"/>
              <a:gd name="T91" fmla="*/ 174 h 769"/>
              <a:gd name="T92" fmla="*/ 545 w 769"/>
              <a:gd name="T93" fmla="*/ 184 h 769"/>
              <a:gd name="T94" fmla="*/ 515 w 769"/>
              <a:gd name="T95" fmla="*/ 128 h 769"/>
              <a:gd name="T96" fmla="*/ 515 w 769"/>
              <a:gd name="T97" fmla="*/ 102 h 769"/>
              <a:gd name="T98" fmla="*/ 294 w 769"/>
              <a:gd name="T99" fmla="*/ 115 h 769"/>
              <a:gd name="T100" fmla="*/ 515 w 769"/>
              <a:gd name="T101" fmla="*/ 128 h 769"/>
              <a:gd name="T102" fmla="*/ 385 w 769"/>
              <a:gd name="T103" fmla="*/ 0 h 769"/>
              <a:gd name="T104" fmla="*/ 385 w 769"/>
              <a:gd name="T105" fmla="*/ 769 h 769"/>
              <a:gd name="T106" fmla="*/ 385 w 769"/>
              <a:gd name="T107" fmla="*/ 0 h 7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769" h="769">
                <a:moveTo>
                  <a:pt x="522" y="674"/>
                </a:moveTo>
                <a:cubicBezTo>
                  <a:pt x="522" y="674"/>
                  <a:pt x="522" y="674"/>
                  <a:pt x="522" y="674"/>
                </a:cubicBezTo>
                <a:cubicBezTo>
                  <a:pt x="520" y="674"/>
                  <a:pt x="518" y="673"/>
                  <a:pt x="515" y="672"/>
                </a:cubicBezTo>
                <a:cubicBezTo>
                  <a:pt x="510" y="668"/>
                  <a:pt x="509" y="661"/>
                  <a:pt x="513" y="655"/>
                </a:cubicBezTo>
                <a:cubicBezTo>
                  <a:pt x="530" y="632"/>
                  <a:pt x="538" y="608"/>
                  <a:pt x="538" y="583"/>
                </a:cubicBezTo>
                <a:cubicBezTo>
                  <a:pt x="538" y="549"/>
                  <a:pt x="524" y="517"/>
                  <a:pt x="494" y="485"/>
                </a:cubicBezTo>
                <a:cubicBezTo>
                  <a:pt x="467" y="457"/>
                  <a:pt x="431" y="432"/>
                  <a:pt x="400" y="411"/>
                </a:cubicBezTo>
                <a:cubicBezTo>
                  <a:pt x="392" y="405"/>
                  <a:pt x="384" y="400"/>
                  <a:pt x="377" y="395"/>
                </a:cubicBezTo>
                <a:cubicBezTo>
                  <a:pt x="372" y="391"/>
                  <a:pt x="366" y="388"/>
                  <a:pt x="361" y="384"/>
                </a:cubicBezTo>
                <a:cubicBezTo>
                  <a:pt x="293" y="337"/>
                  <a:pt x="208" y="278"/>
                  <a:pt x="208" y="197"/>
                </a:cubicBezTo>
                <a:cubicBezTo>
                  <a:pt x="208" y="180"/>
                  <a:pt x="212" y="163"/>
                  <a:pt x="219" y="146"/>
                </a:cubicBezTo>
                <a:cubicBezTo>
                  <a:pt x="226" y="132"/>
                  <a:pt x="235" y="117"/>
                  <a:pt x="247" y="103"/>
                </a:cubicBezTo>
                <a:cubicBezTo>
                  <a:pt x="252" y="98"/>
                  <a:pt x="259" y="97"/>
                  <a:pt x="264" y="101"/>
                </a:cubicBezTo>
                <a:cubicBezTo>
                  <a:pt x="269" y="105"/>
                  <a:pt x="269" y="113"/>
                  <a:pt x="265" y="118"/>
                </a:cubicBezTo>
                <a:cubicBezTo>
                  <a:pt x="243" y="144"/>
                  <a:pt x="232" y="170"/>
                  <a:pt x="232" y="197"/>
                </a:cubicBezTo>
                <a:cubicBezTo>
                  <a:pt x="232" y="227"/>
                  <a:pt x="246" y="257"/>
                  <a:pt x="277" y="288"/>
                </a:cubicBezTo>
                <a:cubicBezTo>
                  <a:pt x="305" y="316"/>
                  <a:pt x="342" y="342"/>
                  <a:pt x="374" y="364"/>
                </a:cubicBezTo>
                <a:cubicBezTo>
                  <a:pt x="380" y="368"/>
                  <a:pt x="385" y="372"/>
                  <a:pt x="390" y="376"/>
                </a:cubicBezTo>
                <a:cubicBezTo>
                  <a:pt x="398" y="381"/>
                  <a:pt x="405" y="386"/>
                  <a:pt x="413" y="391"/>
                </a:cubicBezTo>
                <a:cubicBezTo>
                  <a:pt x="446" y="414"/>
                  <a:pt x="483" y="439"/>
                  <a:pt x="511" y="469"/>
                </a:cubicBezTo>
                <a:cubicBezTo>
                  <a:pt x="545" y="505"/>
                  <a:pt x="562" y="542"/>
                  <a:pt x="562" y="583"/>
                </a:cubicBezTo>
                <a:cubicBezTo>
                  <a:pt x="562" y="612"/>
                  <a:pt x="552" y="641"/>
                  <a:pt x="532" y="669"/>
                </a:cubicBezTo>
                <a:cubicBezTo>
                  <a:pt x="530" y="672"/>
                  <a:pt x="526" y="674"/>
                  <a:pt x="522" y="674"/>
                </a:cubicBezTo>
                <a:close/>
                <a:moveTo>
                  <a:pt x="384" y="557"/>
                </a:moveTo>
                <a:cubicBezTo>
                  <a:pt x="390" y="557"/>
                  <a:pt x="395" y="551"/>
                  <a:pt x="395" y="544"/>
                </a:cubicBezTo>
                <a:cubicBezTo>
                  <a:pt x="395" y="537"/>
                  <a:pt x="390" y="531"/>
                  <a:pt x="384" y="531"/>
                </a:cubicBezTo>
                <a:cubicBezTo>
                  <a:pt x="235" y="531"/>
                  <a:pt x="235" y="531"/>
                  <a:pt x="235" y="531"/>
                </a:cubicBezTo>
                <a:cubicBezTo>
                  <a:pt x="228" y="531"/>
                  <a:pt x="223" y="537"/>
                  <a:pt x="223" y="544"/>
                </a:cubicBezTo>
                <a:cubicBezTo>
                  <a:pt x="223" y="551"/>
                  <a:pt x="228" y="557"/>
                  <a:pt x="235" y="557"/>
                </a:cubicBezTo>
                <a:cubicBezTo>
                  <a:pt x="384" y="557"/>
                  <a:pt x="384" y="557"/>
                  <a:pt x="384" y="557"/>
                </a:cubicBezTo>
                <a:cubicBezTo>
                  <a:pt x="384" y="557"/>
                  <a:pt x="384" y="557"/>
                  <a:pt x="384" y="557"/>
                </a:cubicBezTo>
                <a:close/>
                <a:moveTo>
                  <a:pt x="352" y="439"/>
                </a:moveTo>
                <a:cubicBezTo>
                  <a:pt x="359" y="439"/>
                  <a:pt x="365" y="435"/>
                  <a:pt x="365" y="429"/>
                </a:cubicBezTo>
                <a:cubicBezTo>
                  <a:pt x="365" y="423"/>
                  <a:pt x="359" y="419"/>
                  <a:pt x="352" y="419"/>
                </a:cubicBezTo>
                <a:cubicBezTo>
                  <a:pt x="332" y="419"/>
                  <a:pt x="332" y="419"/>
                  <a:pt x="332" y="419"/>
                </a:cubicBezTo>
                <a:cubicBezTo>
                  <a:pt x="325" y="419"/>
                  <a:pt x="319" y="423"/>
                  <a:pt x="319" y="429"/>
                </a:cubicBezTo>
                <a:cubicBezTo>
                  <a:pt x="319" y="435"/>
                  <a:pt x="325" y="439"/>
                  <a:pt x="332" y="439"/>
                </a:cubicBezTo>
                <a:cubicBezTo>
                  <a:pt x="352" y="439"/>
                  <a:pt x="352" y="439"/>
                  <a:pt x="352" y="439"/>
                </a:cubicBezTo>
                <a:cubicBezTo>
                  <a:pt x="352" y="439"/>
                  <a:pt x="352" y="439"/>
                  <a:pt x="352" y="439"/>
                </a:cubicBezTo>
                <a:close/>
                <a:moveTo>
                  <a:pt x="359" y="495"/>
                </a:moveTo>
                <a:cubicBezTo>
                  <a:pt x="365" y="495"/>
                  <a:pt x="370" y="491"/>
                  <a:pt x="370" y="485"/>
                </a:cubicBezTo>
                <a:cubicBezTo>
                  <a:pt x="370" y="479"/>
                  <a:pt x="365" y="475"/>
                  <a:pt x="359" y="475"/>
                </a:cubicBezTo>
                <a:cubicBezTo>
                  <a:pt x="265" y="475"/>
                  <a:pt x="265" y="475"/>
                  <a:pt x="265" y="475"/>
                </a:cubicBezTo>
                <a:cubicBezTo>
                  <a:pt x="259" y="475"/>
                  <a:pt x="254" y="479"/>
                  <a:pt x="254" y="485"/>
                </a:cubicBezTo>
                <a:cubicBezTo>
                  <a:pt x="254" y="491"/>
                  <a:pt x="259" y="495"/>
                  <a:pt x="265" y="495"/>
                </a:cubicBezTo>
                <a:cubicBezTo>
                  <a:pt x="359" y="495"/>
                  <a:pt x="359" y="495"/>
                  <a:pt x="359" y="495"/>
                </a:cubicBezTo>
                <a:cubicBezTo>
                  <a:pt x="359" y="495"/>
                  <a:pt x="359" y="495"/>
                  <a:pt x="359" y="495"/>
                </a:cubicBezTo>
                <a:close/>
                <a:moveTo>
                  <a:pt x="429" y="613"/>
                </a:moveTo>
                <a:cubicBezTo>
                  <a:pt x="435" y="613"/>
                  <a:pt x="441" y="607"/>
                  <a:pt x="441" y="600"/>
                </a:cubicBezTo>
                <a:cubicBezTo>
                  <a:pt x="441" y="593"/>
                  <a:pt x="435" y="587"/>
                  <a:pt x="429" y="587"/>
                </a:cubicBezTo>
                <a:cubicBezTo>
                  <a:pt x="225" y="587"/>
                  <a:pt x="225" y="587"/>
                  <a:pt x="225" y="587"/>
                </a:cubicBezTo>
                <a:cubicBezTo>
                  <a:pt x="218" y="587"/>
                  <a:pt x="213" y="593"/>
                  <a:pt x="213" y="600"/>
                </a:cubicBezTo>
                <a:cubicBezTo>
                  <a:pt x="213" y="607"/>
                  <a:pt x="218" y="613"/>
                  <a:pt x="225" y="613"/>
                </a:cubicBezTo>
                <a:cubicBezTo>
                  <a:pt x="429" y="613"/>
                  <a:pt x="429" y="613"/>
                  <a:pt x="429" y="613"/>
                </a:cubicBezTo>
                <a:cubicBezTo>
                  <a:pt x="429" y="613"/>
                  <a:pt x="429" y="613"/>
                  <a:pt x="429" y="613"/>
                </a:cubicBezTo>
                <a:close/>
                <a:moveTo>
                  <a:pt x="464" y="669"/>
                </a:moveTo>
                <a:cubicBezTo>
                  <a:pt x="471" y="669"/>
                  <a:pt x="476" y="663"/>
                  <a:pt x="476" y="656"/>
                </a:cubicBezTo>
                <a:cubicBezTo>
                  <a:pt x="476" y="649"/>
                  <a:pt x="471" y="643"/>
                  <a:pt x="464" y="643"/>
                </a:cubicBezTo>
                <a:cubicBezTo>
                  <a:pt x="255" y="643"/>
                  <a:pt x="255" y="643"/>
                  <a:pt x="255" y="643"/>
                </a:cubicBezTo>
                <a:cubicBezTo>
                  <a:pt x="249" y="643"/>
                  <a:pt x="244" y="649"/>
                  <a:pt x="244" y="656"/>
                </a:cubicBezTo>
                <a:cubicBezTo>
                  <a:pt x="244" y="663"/>
                  <a:pt x="249" y="669"/>
                  <a:pt x="255" y="669"/>
                </a:cubicBezTo>
                <a:cubicBezTo>
                  <a:pt x="464" y="669"/>
                  <a:pt x="464" y="669"/>
                  <a:pt x="464" y="669"/>
                </a:cubicBezTo>
                <a:cubicBezTo>
                  <a:pt x="464" y="669"/>
                  <a:pt x="464" y="669"/>
                  <a:pt x="464" y="669"/>
                </a:cubicBezTo>
                <a:close/>
                <a:moveTo>
                  <a:pt x="535" y="240"/>
                </a:moveTo>
                <a:cubicBezTo>
                  <a:pt x="541" y="240"/>
                  <a:pt x="547" y="235"/>
                  <a:pt x="547" y="230"/>
                </a:cubicBezTo>
                <a:cubicBezTo>
                  <a:pt x="547" y="224"/>
                  <a:pt x="541" y="220"/>
                  <a:pt x="535" y="220"/>
                </a:cubicBezTo>
                <a:cubicBezTo>
                  <a:pt x="386" y="220"/>
                  <a:pt x="386" y="220"/>
                  <a:pt x="386" y="220"/>
                </a:cubicBezTo>
                <a:cubicBezTo>
                  <a:pt x="380" y="220"/>
                  <a:pt x="375" y="224"/>
                  <a:pt x="375" y="230"/>
                </a:cubicBezTo>
                <a:cubicBezTo>
                  <a:pt x="375" y="235"/>
                  <a:pt x="380" y="240"/>
                  <a:pt x="386" y="240"/>
                </a:cubicBezTo>
                <a:cubicBezTo>
                  <a:pt x="535" y="240"/>
                  <a:pt x="535" y="240"/>
                  <a:pt x="535" y="240"/>
                </a:cubicBezTo>
                <a:cubicBezTo>
                  <a:pt x="535" y="240"/>
                  <a:pt x="535" y="240"/>
                  <a:pt x="535" y="240"/>
                </a:cubicBezTo>
                <a:close/>
                <a:moveTo>
                  <a:pt x="438" y="357"/>
                </a:moveTo>
                <a:cubicBezTo>
                  <a:pt x="445" y="357"/>
                  <a:pt x="451" y="352"/>
                  <a:pt x="451" y="345"/>
                </a:cubicBezTo>
                <a:cubicBezTo>
                  <a:pt x="451" y="338"/>
                  <a:pt x="445" y="332"/>
                  <a:pt x="438" y="332"/>
                </a:cubicBezTo>
                <a:cubicBezTo>
                  <a:pt x="418" y="332"/>
                  <a:pt x="418" y="332"/>
                  <a:pt x="418" y="332"/>
                </a:cubicBezTo>
                <a:cubicBezTo>
                  <a:pt x="411" y="332"/>
                  <a:pt x="405" y="338"/>
                  <a:pt x="405" y="345"/>
                </a:cubicBezTo>
                <a:cubicBezTo>
                  <a:pt x="405" y="352"/>
                  <a:pt x="411" y="357"/>
                  <a:pt x="418" y="357"/>
                </a:cubicBezTo>
                <a:cubicBezTo>
                  <a:pt x="438" y="357"/>
                  <a:pt x="438" y="357"/>
                  <a:pt x="438" y="357"/>
                </a:cubicBezTo>
                <a:cubicBezTo>
                  <a:pt x="438" y="357"/>
                  <a:pt x="438" y="357"/>
                  <a:pt x="438" y="357"/>
                </a:cubicBezTo>
                <a:close/>
                <a:moveTo>
                  <a:pt x="505" y="301"/>
                </a:moveTo>
                <a:cubicBezTo>
                  <a:pt x="511" y="301"/>
                  <a:pt x="516" y="296"/>
                  <a:pt x="516" y="289"/>
                </a:cubicBezTo>
                <a:cubicBezTo>
                  <a:pt x="516" y="282"/>
                  <a:pt x="511" y="276"/>
                  <a:pt x="505" y="276"/>
                </a:cubicBezTo>
                <a:cubicBezTo>
                  <a:pt x="412" y="276"/>
                  <a:pt x="412" y="276"/>
                  <a:pt x="412" y="276"/>
                </a:cubicBezTo>
                <a:cubicBezTo>
                  <a:pt x="405" y="276"/>
                  <a:pt x="400" y="282"/>
                  <a:pt x="400" y="289"/>
                </a:cubicBezTo>
                <a:cubicBezTo>
                  <a:pt x="400" y="296"/>
                  <a:pt x="405" y="301"/>
                  <a:pt x="412" y="301"/>
                </a:cubicBezTo>
                <a:cubicBezTo>
                  <a:pt x="505" y="301"/>
                  <a:pt x="505" y="301"/>
                  <a:pt x="505" y="301"/>
                </a:cubicBezTo>
                <a:cubicBezTo>
                  <a:pt x="505" y="301"/>
                  <a:pt x="505" y="301"/>
                  <a:pt x="505" y="301"/>
                </a:cubicBezTo>
                <a:close/>
                <a:moveTo>
                  <a:pt x="545" y="184"/>
                </a:moveTo>
                <a:cubicBezTo>
                  <a:pt x="552" y="184"/>
                  <a:pt x="557" y="179"/>
                  <a:pt x="557" y="174"/>
                </a:cubicBezTo>
                <a:cubicBezTo>
                  <a:pt x="557" y="168"/>
                  <a:pt x="552" y="163"/>
                  <a:pt x="545" y="163"/>
                </a:cubicBezTo>
                <a:cubicBezTo>
                  <a:pt x="341" y="163"/>
                  <a:pt x="341" y="163"/>
                  <a:pt x="341" y="163"/>
                </a:cubicBezTo>
                <a:cubicBezTo>
                  <a:pt x="335" y="163"/>
                  <a:pt x="329" y="168"/>
                  <a:pt x="329" y="174"/>
                </a:cubicBezTo>
                <a:cubicBezTo>
                  <a:pt x="329" y="179"/>
                  <a:pt x="335" y="184"/>
                  <a:pt x="341" y="184"/>
                </a:cubicBezTo>
                <a:cubicBezTo>
                  <a:pt x="545" y="184"/>
                  <a:pt x="545" y="184"/>
                  <a:pt x="545" y="184"/>
                </a:cubicBezTo>
                <a:cubicBezTo>
                  <a:pt x="545" y="184"/>
                  <a:pt x="545" y="184"/>
                  <a:pt x="545" y="184"/>
                </a:cubicBezTo>
                <a:close/>
                <a:moveTo>
                  <a:pt x="515" y="128"/>
                </a:moveTo>
                <a:cubicBezTo>
                  <a:pt x="521" y="128"/>
                  <a:pt x="526" y="122"/>
                  <a:pt x="526" y="115"/>
                </a:cubicBezTo>
                <a:cubicBezTo>
                  <a:pt x="526" y="108"/>
                  <a:pt x="521" y="102"/>
                  <a:pt x="515" y="102"/>
                </a:cubicBezTo>
                <a:cubicBezTo>
                  <a:pt x="306" y="102"/>
                  <a:pt x="306" y="102"/>
                  <a:pt x="306" y="102"/>
                </a:cubicBezTo>
                <a:cubicBezTo>
                  <a:pt x="299" y="102"/>
                  <a:pt x="294" y="108"/>
                  <a:pt x="294" y="115"/>
                </a:cubicBezTo>
                <a:cubicBezTo>
                  <a:pt x="294" y="122"/>
                  <a:pt x="299" y="128"/>
                  <a:pt x="306" y="128"/>
                </a:cubicBezTo>
                <a:cubicBezTo>
                  <a:pt x="515" y="128"/>
                  <a:pt x="515" y="128"/>
                  <a:pt x="515" y="128"/>
                </a:cubicBezTo>
                <a:cubicBezTo>
                  <a:pt x="515" y="128"/>
                  <a:pt x="515" y="128"/>
                  <a:pt x="515" y="128"/>
                </a:cubicBezTo>
                <a:close/>
                <a:moveTo>
                  <a:pt x="385" y="0"/>
                </a:moveTo>
                <a:cubicBezTo>
                  <a:pt x="173" y="0"/>
                  <a:pt x="0" y="172"/>
                  <a:pt x="0" y="384"/>
                </a:cubicBezTo>
                <a:cubicBezTo>
                  <a:pt x="0" y="597"/>
                  <a:pt x="173" y="769"/>
                  <a:pt x="385" y="769"/>
                </a:cubicBezTo>
                <a:cubicBezTo>
                  <a:pt x="597" y="769"/>
                  <a:pt x="769" y="597"/>
                  <a:pt x="769" y="384"/>
                </a:cubicBezTo>
                <a:cubicBezTo>
                  <a:pt x="769" y="172"/>
                  <a:pt x="597" y="0"/>
                  <a:pt x="385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  <a:alpha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39393B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978871"/>
      </p:ext>
    </p:extLst>
  </p:cSld>
  <p:clrMapOvr>
    <a:masterClrMapping/>
  </p:clrMapOvr>
  <p:transition spd="slow">
    <p:wipe/>
  </p:transition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8603398"/>
      </p:ext>
    </p:extLst>
  </p:cSld>
  <p:clrMapOvr>
    <a:masterClrMapping/>
  </p:clrMapOvr>
  <p:transition spd="med">
    <p:fade/>
  </p:transition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3135811"/>
      </p:ext>
    </p:extLst>
  </p:cSld>
  <p:clrMapOvr>
    <a:masterClrMapping/>
  </p:clrMapOvr>
  <p:transition spd="med">
    <p:fade/>
  </p:transition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7617210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358" tIns="45679" rIns="91358" bIns="45679">
            <a:noAutofit/>
          </a:bodyPr>
          <a:lstStyle>
            <a:lvl1pPr marL="212246" indent="-392120">
              <a:lnSpc>
                <a:spcPts val="444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524" indent="-215672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005" indent="-17129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344" indent="-171292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1622" indent="-168117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510469643"/>
      </p:ext>
    </p:extLst>
  </p:cSld>
  <p:clrMapOvr>
    <a:masterClrMapping/>
  </p:clrMapOvr>
  <p:transition spd="med">
    <p:fade/>
  </p:transition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6638" y="1646238"/>
            <a:ext cx="19907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8344275"/>
      </p:ext>
    </p:extLst>
  </p:cSld>
  <p:clrMapOvr>
    <a:masterClrMapping/>
  </p:clrMapOvr>
  <p:transition spd="slow">
    <p:wipe/>
  </p:transition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473431"/>
      </p:ext>
    </p:extLst>
  </p:cSld>
  <p:clrMapOvr>
    <a:masterClrMapping/>
  </p:clrMapOvr>
  <p:transition spd="slow">
    <p:wipe/>
  </p:transition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5208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CA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689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>
          <a:gsLst>
            <a:gs pos="0">
              <a:srgbClr val="049FD9"/>
            </a:gs>
            <a:gs pos="100000">
              <a:srgbClr val="004BAF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50" y="323850"/>
            <a:ext cx="941388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90172"/>
      </p:ext>
    </p:extLst>
  </p:cSld>
  <p:clrMapOvr>
    <a:masterClrMapping/>
  </p:clrMapOvr>
  <p:transition spd="slow">
    <p:wipe/>
  </p:transition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5465028"/>
      </p:ext>
    </p:extLst>
  </p:cSld>
  <p:clrMapOvr>
    <a:masterClrMapping/>
  </p:clrMapOvr>
  <p:transition spd="slow">
    <p:wipe/>
  </p:transition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gue custom">
    <p:bg>
      <p:bgPr>
        <a:gradFill rotWithShape="0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1943254"/>
            <a:ext cx="7598042" cy="19707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23"/>
          <p:cNvSpPr>
            <a:spLocks noEditPoints="1"/>
          </p:cNvSpPr>
          <p:nvPr userDrawn="1"/>
        </p:nvSpPr>
        <p:spPr bwMode="auto">
          <a:xfrm>
            <a:off x="477679" y="735531"/>
            <a:ext cx="981326" cy="991454"/>
          </a:xfrm>
          <a:custGeom>
            <a:avLst/>
            <a:gdLst>
              <a:gd name="T0" fmla="*/ 522 w 769"/>
              <a:gd name="T1" fmla="*/ 674 h 769"/>
              <a:gd name="T2" fmla="*/ 513 w 769"/>
              <a:gd name="T3" fmla="*/ 655 h 769"/>
              <a:gd name="T4" fmla="*/ 494 w 769"/>
              <a:gd name="T5" fmla="*/ 485 h 769"/>
              <a:gd name="T6" fmla="*/ 377 w 769"/>
              <a:gd name="T7" fmla="*/ 395 h 769"/>
              <a:gd name="T8" fmla="*/ 208 w 769"/>
              <a:gd name="T9" fmla="*/ 197 h 769"/>
              <a:gd name="T10" fmla="*/ 247 w 769"/>
              <a:gd name="T11" fmla="*/ 103 h 769"/>
              <a:gd name="T12" fmla="*/ 265 w 769"/>
              <a:gd name="T13" fmla="*/ 118 h 769"/>
              <a:gd name="T14" fmla="*/ 277 w 769"/>
              <a:gd name="T15" fmla="*/ 288 h 769"/>
              <a:gd name="T16" fmla="*/ 390 w 769"/>
              <a:gd name="T17" fmla="*/ 376 h 769"/>
              <a:gd name="T18" fmla="*/ 511 w 769"/>
              <a:gd name="T19" fmla="*/ 469 h 769"/>
              <a:gd name="T20" fmla="*/ 532 w 769"/>
              <a:gd name="T21" fmla="*/ 669 h 769"/>
              <a:gd name="T22" fmla="*/ 384 w 769"/>
              <a:gd name="T23" fmla="*/ 557 h 769"/>
              <a:gd name="T24" fmla="*/ 384 w 769"/>
              <a:gd name="T25" fmla="*/ 531 h 769"/>
              <a:gd name="T26" fmla="*/ 223 w 769"/>
              <a:gd name="T27" fmla="*/ 544 h 769"/>
              <a:gd name="T28" fmla="*/ 384 w 769"/>
              <a:gd name="T29" fmla="*/ 557 h 769"/>
              <a:gd name="T30" fmla="*/ 352 w 769"/>
              <a:gd name="T31" fmla="*/ 439 h 769"/>
              <a:gd name="T32" fmla="*/ 352 w 769"/>
              <a:gd name="T33" fmla="*/ 419 h 769"/>
              <a:gd name="T34" fmla="*/ 319 w 769"/>
              <a:gd name="T35" fmla="*/ 429 h 769"/>
              <a:gd name="T36" fmla="*/ 352 w 769"/>
              <a:gd name="T37" fmla="*/ 439 h 769"/>
              <a:gd name="T38" fmla="*/ 359 w 769"/>
              <a:gd name="T39" fmla="*/ 495 h 769"/>
              <a:gd name="T40" fmla="*/ 359 w 769"/>
              <a:gd name="T41" fmla="*/ 475 h 769"/>
              <a:gd name="T42" fmla="*/ 254 w 769"/>
              <a:gd name="T43" fmla="*/ 485 h 769"/>
              <a:gd name="T44" fmla="*/ 359 w 769"/>
              <a:gd name="T45" fmla="*/ 495 h 769"/>
              <a:gd name="T46" fmla="*/ 429 w 769"/>
              <a:gd name="T47" fmla="*/ 613 h 769"/>
              <a:gd name="T48" fmla="*/ 429 w 769"/>
              <a:gd name="T49" fmla="*/ 587 h 769"/>
              <a:gd name="T50" fmla="*/ 213 w 769"/>
              <a:gd name="T51" fmla="*/ 600 h 769"/>
              <a:gd name="T52" fmla="*/ 429 w 769"/>
              <a:gd name="T53" fmla="*/ 613 h 769"/>
              <a:gd name="T54" fmla="*/ 464 w 769"/>
              <a:gd name="T55" fmla="*/ 669 h 769"/>
              <a:gd name="T56" fmla="*/ 464 w 769"/>
              <a:gd name="T57" fmla="*/ 643 h 769"/>
              <a:gd name="T58" fmla="*/ 244 w 769"/>
              <a:gd name="T59" fmla="*/ 656 h 769"/>
              <a:gd name="T60" fmla="*/ 464 w 769"/>
              <a:gd name="T61" fmla="*/ 669 h 769"/>
              <a:gd name="T62" fmla="*/ 535 w 769"/>
              <a:gd name="T63" fmla="*/ 240 h 769"/>
              <a:gd name="T64" fmla="*/ 535 w 769"/>
              <a:gd name="T65" fmla="*/ 220 h 769"/>
              <a:gd name="T66" fmla="*/ 375 w 769"/>
              <a:gd name="T67" fmla="*/ 230 h 769"/>
              <a:gd name="T68" fmla="*/ 535 w 769"/>
              <a:gd name="T69" fmla="*/ 240 h 769"/>
              <a:gd name="T70" fmla="*/ 438 w 769"/>
              <a:gd name="T71" fmla="*/ 357 h 769"/>
              <a:gd name="T72" fmla="*/ 438 w 769"/>
              <a:gd name="T73" fmla="*/ 332 h 769"/>
              <a:gd name="T74" fmla="*/ 405 w 769"/>
              <a:gd name="T75" fmla="*/ 345 h 769"/>
              <a:gd name="T76" fmla="*/ 438 w 769"/>
              <a:gd name="T77" fmla="*/ 357 h 769"/>
              <a:gd name="T78" fmla="*/ 505 w 769"/>
              <a:gd name="T79" fmla="*/ 301 h 769"/>
              <a:gd name="T80" fmla="*/ 505 w 769"/>
              <a:gd name="T81" fmla="*/ 276 h 769"/>
              <a:gd name="T82" fmla="*/ 400 w 769"/>
              <a:gd name="T83" fmla="*/ 289 h 769"/>
              <a:gd name="T84" fmla="*/ 505 w 769"/>
              <a:gd name="T85" fmla="*/ 301 h 769"/>
              <a:gd name="T86" fmla="*/ 545 w 769"/>
              <a:gd name="T87" fmla="*/ 184 h 769"/>
              <a:gd name="T88" fmla="*/ 545 w 769"/>
              <a:gd name="T89" fmla="*/ 163 h 769"/>
              <a:gd name="T90" fmla="*/ 329 w 769"/>
              <a:gd name="T91" fmla="*/ 174 h 769"/>
              <a:gd name="T92" fmla="*/ 545 w 769"/>
              <a:gd name="T93" fmla="*/ 184 h 769"/>
              <a:gd name="T94" fmla="*/ 515 w 769"/>
              <a:gd name="T95" fmla="*/ 128 h 769"/>
              <a:gd name="T96" fmla="*/ 515 w 769"/>
              <a:gd name="T97" fmla="*/ 102 h 769"/>
              <a:gd name="T98" fmla="*/ 294 w 769"/>
              <a:gd name="T99" fmla="*/ 115 h 769"/>
              <a:gd name="T100" fmla="*/ 515 w 769"/>
              <a:gd name="T101" fmla="*/ 128 h 769"/>
              <a:gd name="T102" fmla="*/ 385 w 769"/>
              <a:gd name="T103" fmla="*/ 0 h 769"/>
              <a:gd name="T104" fmla="*/ 385 w 769"/>
              <a:gd name="T105" fmla="*/ 769 h 769"/>
              <a:gd name="T106" fmla="*/ 385 w 769"/>
              <a:gd name="T107" fmla="*/ 0 h 7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769" h="769">
                <a:moveTo>
                  <a:pt x="522" y="674"/>
                </a:moveTo>
                <a:cubicBezTo>
                  <a:pt x="522" y="674"/>
                  <a:pt x="522" y="674"/>
                  <a:pt x="522" y="674"/>
                </a:cubicBezTo>
                <a:cubicBezTo>
                  <a:pt x="520" y="674"/>
                  <a:pt x="518" y="673"/>
                  <a:pt x="515" y="672"/>
                </a:cubicBezTo>
                <a:cubicBezTo>
                  <a:pt x="510" y="668"/>
                  <a:pt x="509" y="661"/>
                  <a:pt x="513" y="655"/>
                </a:cubicBezTo>
                <a:cubicBezTo>
                  <a:pt x="530" y="632"/>
                  <a:pt x="538" y="608"/>
                  <a:pt x="538" y="583"/>
                </a:cubicBezTo>
                <a:cubicBezTo>
                  <a:pt x="538" y="549"/>
                  <a:pt x="524" y="517"/>
                  <a:pt x="494" y="485"/>
                </a:cubicBezTo>
                <a:cubicBezTo>
                  <a:pt x="467" y="457"/>
                  <a:pt x="431" y="432"/>
                  <a:pt x="400" y="411"/>
                </a:cubicBezTo>
                <a:cubicBezTo>
                  <a:pt x="392" y="405"/>
                  <a:pt x="384" y="400"/>
                  <a:pt x="377" y="395"/>
                </a:cubicBezTo>
                <a:cubicBezTo>
                  <a:pt x="372" y="391"/>
                  <a:pt x="366" y="388"/>
                  <a:pt x="361" y="384"/>
                </a:cubicBezTo>
                <a:cubicBezTo>
                  <a:pt x="293" y="337"/>
                  <a:pt x="208" y="278"/>
                  <a:pt x="208" y="197"/>
                </a:cubicBezTo>
                <a:cubicBezTo>
                  <a:pt x="208" y="180"/>
                  <a:pt x="212" y="163"/>
                  <a:pt x="219" y="146"/>
                </a:cubicBezTo>
                <a:cubicBezTo>
                  <a:pt x="226" y="132"/>
                  <a:pt x="235" y="117"/>
                  <a:pt x="247" y="103"/>
                </a:cubicBezTo>
                <a:cubicBezTo>
                  <a:pt x="252" y="98"/>
                  <a:pt x="259" y="97"/>
                  <a:pt x="264" y="101"/>
                </a:cubicBezTo>
                <a:cubicBezTo>
                  <a:pt x="269" y="105"/>
                  <a:pt x="269" y="113"/>
                  <a:pt x="265" y="118"/>
                </a:cubicBezTo>
                <a:cubicBezTo>
                  <a:pt x="243" y="144"/>
                  <a:pt x="232" y="170"/>
                  <a:pt x="232" y="197"/>
                </a:cubicBezTo>
                <a:cubicBezTo>
                  <a:pt x="232" y="227"/>
                  <a:pt x="246" y="257"/>
                  <a:pt x="277" y="288"/>
                </a:cubicBezTo>
                <a:cubicBezTo>
                  <a:pt x="305" y="316"/>
                  <a:pt x="342" y="342"/>
                  <a:pt x="374" y="364"/>
                </a:cubicBezTo>
                <a:cubicBezTo>
                  <a:pt x="380" y="368"/>
                  <a:pt x="385" y="372"/>
                  <a:pt x="390" y="376"/>
                </a:cubicBezTo>
                <a:cubicBezTo>
                  <a:pt x="398" y="381"/>
                  <a:pt x="405" y="386"/>
                  <a:pt x="413" y="391"/>
                </a:cubicBezTo>
                <a:cubicBezTo>
                  <a:pt x="446" y="414"/>
                  <a:pt x="483" y="439"/>
                  <a:pt x="511" y="469"/>
                </a:cubicBezTo>
                <a:cubicBezTo>
                  <a:pt x="545" y="505"/>
                  <a:pt x="562" y="542"/>
                  <a:pt x="562" y="583"/>
                </a:cubicBezTo>
                <a:cubicBezTo>
                  <a:pt x="562" y="612"/>
                  <a:pt x="552" y="641"/>
                  <a:pt x="532" y="669"/>
                </a:cubicBezTo>
                <a:cubicBezTo>
                  <a:pt x="530" y="672"/>
                  <a:pt x="526" y="674"/>
                  <a:pt x="522" y="674"/>
                </a:cubicBezTo>
                <a:close/>
                <a:moveTo>
                  <a:pt x="384" y="557"/>
                </a:moveTo>
                <a:cubicBezTo>
                  <a:pt x="390" y="557"/>
                  <a:pt x="395" y="551"/>
                  <a:pt x="395" y="544"/>
                </a:cubicBezTo>
                <a:cubicBezTo>
                  <a:pt x="395" y="537"/>
                  <a:pt x="390" y="531"/>
                  <a:pt x="384" y="531"/>
                </a:cubicBezTo>
                <a:cubicBezTo>
                  <a:pt x="235" y="531"/>
                  <a:pt x="235" y="531"/>
                  <a:pt x="235" y="531"/>
                </a:cubicBezTo>
                <a:cubicBezTo>
                  <a:pt x="228" y="531"/>
                  <a:pt x="223" y="537"/>
                  <a:pt x="223" y="544"/>
                </a:cubicBezTo>
                <a:cubicBezTo>
                  <a:pt x="223" y="551"/>
                  <a:pt x="228" y="557"/>
                  <a:pt x="235" y="557"/>
                </a:cubicBezTo>
                <a:cubicBezTo>
                  <a:pt x="384" y="557"/>
                  <a:pt x="384" y="557"/>
                  <a:pt x="384" y="557"/>
                </a:cubicBezTo>
                <a:cubicBezTo>
                  <a:pt x="384" y="557"/>
                  <a:pt x="384" y="557"/>
                  <a:pt x="384" y="557"/>
                </a:cubicBezTo>
                <a:close/>
                <a:moveTo>
                  <a:pt x="352" y="439"/>
                </a:moveTo>
                <a:cubicBezTo>
                  <a:pt x="359" y="439"/>
                  <a:pt x="365" y="435"/>
                  <a:pt x="365" y="429"/>
                </a:cubicBezTo>
                <a:cubicBezTo>
                  <a:pt x="365" y="423"/>
                  <a:pt x="359" y="419"/>
                  <a:pt x="352" y="419"/>
                </a:cubicBezTo>
                <a:cubicBezTo>
                  <a:pt x="332" y="419"/>
                  <a:pt x="332" y="419"/>
                  <a:pt x="332" y="419"/>
                </a:cubicBezTo>
                <a:cubicBezTo>
                  <a:pt x="325" y="419"/>
                  <a:pt x="319" y="423"/>
                  <a:pt x="319" y="429"/>
                </a:cubicBezTo>
                <a:cubicBezTo>
                  <a:pt x="319" y="435"/>
                  <a:pt x="325" y="439"/>
                  <a:pt x="332" y="439"/>
                </a:cubicBezTo>
                <a:cubicBezTo>
                  <a:pt x="352" y="439"/>
                  <a:pt x="352" y="439"/>
                  <a:pt x="352" y="439"/>
                </a:cubicBezTo>
                <a:cubicBezTo>
                  <a:pt x="352" y="439"/>
                  <a:pt x="352" y="439"/>
                  <a:pt x="352" y="439"/>
                </a:cubicBezTo>
                <a:close/>
                <a:moveTo>
                  <a:pt x="359" y="495"/>
                </a:moveTo>
                <a:cubicBezTo>
                  <a:pt x="365" y="495"/>
                  <a:pt x="370" y="491"/>
                  <a:pt x="370" y="485"/>
                </a:cubicBezTo>
                <a:cubicBezTo>
                  <a:pt x="370" y="479"/>
                  <a:pt x="365" y="475"/>
                  <a:pt x="359" y="475"/>
                </a:cubicBezTo>
                <a:cubicBezTo>
                  <a:pt x="265" y="475"/>
                  <a:pt x="265" y="475"/>
                  <a:pt x="265" y="475"/>
                </a:cubicBezTo>
                <a:cubicBezTo>
                  <a:pt x="259" y="475"/>
                  <a:pt x="254" y="479"/>
                  <a:pt x="254" y="485"/>
                </a:cubicBezTo>
                <a:cubicBezTo>
                  <a:pt x="254" y="491"/>
                  <a:pt x="259" y="495"/>
                  <a:pt x="265" y="495"/>
                </a:cubicBezTo>
                <a:cubicBezTo>
                  <a:pt x="359" y="495"/>
                  <a:pt x="359" y="495"/>
                  <a:pt x="359" y="495"/>
                </a:cubicBezTo>
                <a:cubicBezTo>
                  <a:pt x="359" y="495"/>
                  <a:pt x="359" y="495"/>
                  <a:pt x="359" y="495"/>
                </a:cubicBezTo>
                <a:close/>
                <a:moveTo>
                  <a:pt x="429" y="613"/>
                </a:moveTo>
                <a:cubicBezTo>
                  <a:pt x="435" y="613"/>
                  <a:pt x="441" y="607"/>
                  <a:pt x="441" y="600"/>
                </a:cubicBezTo>
                <a:cubicBezTo>
                  <a:pt x="441" y="593"/>
                  <a:pt x="435" y="587"/>
                  <a:pt x="429" y="587"/>
                </a:cubicBezTo>
                <a:cubicBezTo>
                  <a:pt x="225" y="587"/>
                  <a:pt x="225" y="587"/>
                  <a:pt x="225" y="587"/>
                </a:cubicBezTo>
                <a:cubicBezTo>
                  <a:pt x="218" y="587"/>
                  <a:pt x="213" y="593"/>
                  <a:pt x="213" y="600"/>
                </a:cubicBezTo>
                <a:cubicBezTo>
                  <a:pt x="213" y="607"/>
                  <a:pt x="218" y="613"/>
                  <a:pt x="225" y="613"/>
                </a:cubicBezTo>
                <a:cubicBezTo>
                  <a:pt x="429" y="613"/>
                  <a:pt x="429" y="613"/>
                  <a:pt x="429" y="613"/>
                </a:cubicBezTo>
                <a:cubicBezTo>
                  <a:pt x="429" y="613"/>
                  <a:pt x="429" y="613"/>
                  <a:pt x="429" y="613"/>
                </a:cubicBezTo>
                <a:close/>
                <a:moveTo>
                  <a:pt x="464" y="669"/>
                </a:moveTo>
                <a:cubicBezTo>
                  <a:pt x="471" y="669"/>
                  <a:pt x="476" y="663"/>
                  <a:pt x="476" y="656"/>
                </a:cubicBezTo>
                <a:cubicBezTo>
                  <a:pt x="476" y="649"/>
                  <a:pt x="471" y="643"/>
                  <a:pt x="464" y="643"/>
                </a:cubicBezTo>
                <a:cubicBezTo>
                  <a:pt x="255" y="643"/>
                  <a:pt x="255" y="643"/>
                  <a:pt x="255" y="643"/>
                </a:cubicBezTo>
                <a:cubicBezTo>
                  <a:pt x="249" y="643"/>
                  <a:pt x="244" y="649"/>
                  <a:pt x="244" y="656"/>
                </a:cubicBezTo>
                <a:cubicBezTo>
                  <a:pt x="244" y="663"/>
                  <a:pt x="249" y="669"/>
                  <a:pt x="255" y="669"/>
                </a:cubicBezTo>
                <a:cubicBezTo>
                  <a:pt x="464" y="669"/>
                  <a:pt x="464" y="669"/>
                  <a:pt x="464" y="669"/>
                </a:cubicBezTo>
                <a:cubicBezTo>
                  <a:pt x="464" y="669"/>
                  <a:pt x="464" y="669"/>
                  <a:pt x="464" y="669"/>
                </a:cubicBezTo>
                <a:close/>
                <a:moveTo>
                  <a:pt x="535" y="240"/>
                </a:moveTo>
                <a:cubicBezTo>
                  <a:pt x="541" y="240"/>
                  <a:pt x="547" y="235"/>
                  <a:pt x="547" y="230"/>
                </a:cubicBezTo>
                <a:cubicBezTo>
                  <a:pt x="547" y="224"/>
                  <a:pt x="541" y="220"/>
                  <a:pt x="535" y="220"/>
                </a:cubicBezTo>
                <a:cubicBezTo>
                  <a:pt x="386" y="220"/>
                  <a:pt x="386" y="220"/>
                  <a:pt x="386" y="220"/>
                </a:cubicBezTo>
                <a:cubicBezTo>
                  <a:pt x="380" y="220"/>
                  <a:pt x="375" y="224"/>
                  <a:pt x="375" y="230"/>
                </a:cubicBezTo>
                <a:cubicBezTo>
                  <a:pt x="375" y="235"/>
                  <a:pt x="380" y="240"/>
                  <a:pt x="386" y="240"/>
                </a:cubicBezTo>
                <a:cubicBezTo>
                  <a:pt x="535" y="240"/>
                  <a:pt x="535" y="240"/>
                  <a:pt x="535" y="240"/>
                </a:cubicBezTo>
                <a:cubicBezTo>
                  <a:pt x="535" y="240"/>
                  <a:pt x="535" y="240"/>
                  <a:pt x="535" y="240"/>
                </a:cubicBezTo>
                <a:close/>
                <a:moveTo>
                  <a:pt x="438" y="357"/>
                </a:moveTo>
                <a:cubicBezTo>
                  <a:pt x="445" y="357"/>
                  <a:pt x="451" y="352"/>
                  <a:pt x="451" y="345"/>
                </a:cubicBezTo>
                <a:cubicBezTo>
                  <a:pt x="451" y="338"/>
                  <a:pt x="445" y="332"/>
                  <a:pt x="438" y="332"/>
                </a:cubicBezTo>
                <a:cubicBezTo>
                  <a:pt x="418" y="332"/>
                  <a:pt x="418" y="332"/>
                  <a:pt x="418" y="332"/>
                </a:cubicBezTo>
                <a:cubicBezTo>
                  <a:pt x="411" y="332"/>
                  <a:pt x="405" y="338"/>
                  <a:pt x="405" y="345"/>
                </a:cubicBezTo>
                <a:cubicBezTo>
                  <a:pt x="405" y="352"/>
                  <a:pt x="411" y="357"/>
                  <a:pt x="418" y="357"/>
                </a:cubicBezTo>
                <a:cubicBezTo>
                  <a:pt x="438" y="357"/>
                  <a:pt x="438" y="357"/>
                  <a:pt x="438" y="357"/>
                </a:cubicBezTo>
                <a:cubicBezTo>
                  <a:pt x="438" y="357"/>
                  <a:pt x="438" y="357"/>
                  <a:pt x="438" y="357"/>
                </a:cubicBezTo>
                <a:close/>
                <a:moveTo>
                  <a:pt x="505" y="301"/>
                </a:moveTo>
                <a:cubicBezTo>
                  <a:pt x="511" y="301"/>
                  <a:pt x="516" y="296"/>
                  <a:pt x="516" y="289"/>
                </a:cubicBezTo>
                <a:cubicBezTo>
                  <a:pt x="516" y="282"/>
                  <a:pt x="511" y="276"/>
                  <a:pt x="505" y="276"/>
                </a:cubicBezTo>
                <a:cubicBezTo>
                  <a:pt x="412" y="276"/>
                  <a:pt x="412" y="276"/>
                  <a:pt x="412" y="276"/>
                </a:cubicBezTo>
                <a:cubicBezTo>
                  <a:pt x="405" y="276"/>
                  <a:pt x="400" y="282"/>
                  <a:pt x="400" y="289"/>
                </a:cubicBezTo>
                <a:cubicBezTo>
                  <a:pt x="400" y="296"/>
                  <a:pt x="405" y="301"/>
                  <a:pt x="412" y="301"/>
                </a:cubicBezTo>
                <a:cubicBezTo>
                  <a:pt x="505" y="301"/>
                  <a:pt x="505" y="301"/>
                  <a:pt x="505" y="301"/>
                </a:cubicBezTo>
                <a:cubicBezTo>
                  <a:pt x="505" y="301"/>
                  <a:pt x="505" y="301"/>
                  <a:pt x="505" y="301"/>
                </a:cubicBezTo>
                <a:close/>
                <a:moveTo>
                  <a:pt x="545" y="184"/>
                </a:moveTo>
                <a:cubicBezTo>
                  <a:pt x="552" y="184"/>
                  <a:pt x="557" y="179"/>
                  <a:pt x="557" y="174"/>
                </a:cubicBezTo>
                <a:cubicBezTo>
                  <a:pt x="557" y="168"/>
                  <a:pt x="552" y="163"/>
                  <a:pt x="545" y="163"/>
                </a:cubicBezTo>
                <a:cubicBezTo>
                  <a:pt x="341" y="163"/>
                  <a:pt x="341" y="163"/>
                  <a:pt x="341" y="163"/>
                </a:cubicBezTo>
                <a:cubicBezTo>
                  <a:pt x="335" y="163"/>
                  <a:pt x="329" y="168"/>
                  <a:pt x="329" y="174"/>
                </a:cubicBezTo>
                <a:cubicBezTo>
                  <a:pt x="329" y="179"/>
                  <a:pt x="335" y="184"/>
                  <a:pt x="341" y="184"/>
                </a:cubicBezTo>
                <a:cubicBezTo>
                  <a:pt x="545" y="184"/>
                  <a:pt x="545" y="184"/>
                  <a:pt x="545" y="184"/>
                </a:cubicBezTo>
                <a:cubicBezTo>
                  <a:pt x="545" y="184"/>
                  <a:pt x="545" y="184"/>
                  <a:pt x="545" y="184"/>
                </a:cubicBezTo>
                <a:close/>
                <a:moveTo>
                  <a:pt x="515" y="128"/>
                </a:moveTo>
                <a:cubicBezTo>
                  <a:pt x="521" y="128"/>
                  <a:pt x="526" y="122"/>
                  <a:pt x="526" y="115"/>
                </a:cubicBezTo>
                <a:cubicBezTo>
                  <a:pt x="526" y="108"/>
                  <a:pt x="521" y="102"/>
                  <a:pt x="515" y="102"/>
                </a:cubicBezTo>
                <a:cubicBezTo>
                  <a:pt x="306" y="102"/>
                  <a:pt x="306" y="102"/>
                  <a:pt x="306" y="102"/>
                </a:cubicBezTo>
                <a:cubicBezTo>
                  <a:pt x="299" y="102"/>
                  <a:pt x="294" y="108"/>
                  <a:pt x="294" y="115"/>
                </a:cubicBezTo>
                <a:cubicBezTo>
                  <a:pt x="294" y="122"/>
                  <a:pt x="299" y="128"/>
                  <a:pt x="306" y="128"/>
                </a:cubicBezTo>
                <a:cubicBezTo>
                  <a:pt x="515" y="128"/>
                  <a:pt x="515" y="128"/>
                  <a:pt x="515" y="128"/>
                </a:cubicBezTo>
                <a:cubicBezTo>
                  <a:pt x="515" y="128"/>
                  <a:pt x="515" y="128"/>
                  <a:pt x="515" y="128"/>
                </a:cubicBezTo>
                <a:close/>
                <a:moveTo>
                  <a:pt x="385" y="0"/>
                </a:moveTo>
                <a:cubicBezTo>
                  <a:pt x="173" y="0"/>
                  <a:pt x="0" y="172"/>
                  <a:pt x="0" y="384"/>
                </a:cubicBezTo>
                <a:cubicBezTo>
                  <a:pt x="0" y="597"/>
                  <a:pt x="173" y="769"/>
                  <a:pt x="385" y="769"/>
                </a:cubicBezTo>
                <a:cubicBezTo>
                  <a:pt x="597" y="769"/>
                  <a:pt x="769" y="597"/>
                  <a:pt x="769" y="384"/>
                </a:cubicBezTo>
                <a:cubicBezTo>
                  <a:pt x="769" y="172"/>
                  <a:pt x="597" y="0"/>
                  <a:pt x="385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  <a:alpha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39393B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1460830"/>
      </p:ext>
    </p:extLst>
  </p:cSld>
  <p:clrMapOvr>
    <a:masterClrMapping/>
  </p:clrMapOvr>
  <p:transition spd="slow">
    <p:wipe/>
  </p:transition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027504"/>
      </p:ext>
    </p:extLst>
  </p:cSld>
  <p:clrMapOvr>
    <a:masterClrMapping/>
  </p:clrMapOvr>
  <p:transition spd="med">
    <p:fade/>
  </p:transition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508451"/>
      </p:ext>
    </p:extLst>
  </p:cSld>
  <p:clrMapOvr>
    <a:masterClrMapping/>
  </p:clrMapOvr>
  <p:transition spd="med">
    <p:fade/>
  </p:transition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7576580"/>
      </p:ext>
    </p:extLst>
  </p:cSld>
  <p:clrMapOvr>
    <a:masterClrMapping/>
  </p:clrMapOvr>
  <p:transition spd="med">
    <p:fade/>
  </p:transition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6638" y="1646238"/>
            <a:ext cx="19907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6682459"/>
      </p:ext>
    </p:extLst>
  </p:cSld>
  <p:clrMapOvr>
    <a:masterClrMapping/>
  </p:clrMapOvr>
  <p:transition spd="slow">
    <p:wip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4" y="1347788"/>
            <a:ext cx="8277344" cy="3168210"/>
          </a:xfrm>
          <a:prstGeom prst="rect">
            <a:avLst/>
          </a:prstGeom>
        </p:spPr>
        <p:txBody>
          <a:bodyPr lIns="91358" tIns="45679" rIns="91358" bIns="45679">
            <a:noAutofit/>
          </a:bodyPr>
          <a:lstStyle>
            <a:lvl1pPr marL="280713" indent="-22361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524" indent="-215672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005" indent="-17129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344" indent="-171292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1622" indent="-168117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2" tIns="45681" rIns="91362" bIns="4568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5606544"/>
      </p:ext>
    </p:extLst>
  </p:cSld>
  <p:clrMapOvr>
    <a:masterClrMapping/>
  </p:clrMapOvr>
  <p:transition spd="med">
    <p:fade/>
  </p:transition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6853589"/>
      </p:ext>
    </p:extLst>
  </p:cSld>
  <p:clrMapOvr>
    <a:masterClrMapping/>
  </p:clrMapOvr>
  <p:transition spd="slow">
    <p:wipe/>
  </p:transition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5208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CA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9848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>
          <a:gsLst>
            <a:gs pos="0">
              <a:srgbClr val="049FD9"/>
            </a:gs>
            <a:gs pos="100000">
              <a:srgbClr val="004BAF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50" y="323850"/>
            <a:ext cx="941388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574592"/>
      </p:ext>
    </p:extLst>
  </p:cSld>
  <p:clrMapOvr>
    <a:masterClrMapping/>
  </p:clrMapOvr>
  <p:transition spd="slow">
    <p:wipe/>
  </p:transition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9370462"/>
      </p:ext>
    </p:extLst>
  </p:cSld>
  <p:clrMapOvr>
    <a:masterClrMapping/>
  </p:clrMapOvr>
  <p:transition spd="slow">
    <p:wipe/>
  </p:transition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gue custom">
    <p:bg>
      <p:bgPr>
        <a:gradFill rotWithShape="0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1943254"/>
            <a:ext cx="7598042" cy="19707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23"/>
          <p:cNvSpPr>
            <a:spLocks noEditPoints="1"/>
          </p:cNvSpPr>
          <p:nvPr userDrawn="1"/>
        </p:nvSpPr>
        <p:spPr bwMode="auto">
          <a:xfrm>
            <a:off x="477679" y="735531"/>
            <a:ext cx="981326" cy="991454"/>
          </a:xfrm>
          <a:custGeom>
            <a:avLst/>
            <a:gdLst>
              <a:gd name="T0" fmla="*/ 522 w 769"/>
              <a:gd name="T1" fmla="*/ 674 h 769"/>
              <a:gd name="T2" fmla="*/ 513 w 769"/>
              <a:gd name="T3" fmla="*/ 655 h 769"/>
              <a:gd name="T4" fmla="*/ 494 w 769"/>
              <a:gd name="T5" fmla="*/ 485 h 769"/>
              <a:gd name="T6" fmla="*/ 377 w 769"/>
              <a:gd name="T7" fmla="*/ 395 h 769"/>
              <a:gd name="T8" fmla="*/ 208 w 769"/>
              <a:gd name="T9" fmla="*/ 197 h 769"/>
              <a:gd name="T10" fmla="*/ 247 w 769"/>
              <a:gd name="T11" fmla="*/ 103 h 769"/>
              <a:gd name="T12" fmla="*/ 265 w 769"/>
              <a:gd name="T13" fmla="*/ 118 h 769"/>
              <a:gd name="T14" fmla="*/ 277 w 769"/>
              <a:gd name="T15" fmla="*/ 288 h 769"/>
              <a:gd name="T16" fmla="*/ 390 w 769"/>
              <a:gd name="T17" fmla="*/ 376 h 769"/>
              <a:gd name="T18" fmla="*/ 511 w 769"/>
              <a:gd name="T19" fmla="*/ 469 h 769"/>
              <a:gd name="T20" fmla="*/ 532 w 769"/>
              <a:gd name="T21" fmla="*/ 669 h 769"/>
              <a:gd name="T22" fmla="*/ 384 w 769"/>
              <a:gd name="T23" fmla="*/ 557 h 769"/>
              <a:gd name="T24" fmla="*/ 384 w 769"/>
              <a:gd name="T25" fmla="*/ 531 h 769"/>
              <a:gd name="T26" fmla="*/ 223 w 769"/>
              <a:gd name="T27" fmla="*/ 544 h 769"/>
              <a:gd name="T28" fmla="*/ 384 w 769"/>
              <a:gd name="T29" fmla="*/ 557 h 769"/>
              <a:gd name="T30" fmla="*/ 352 w 769"/>
              <a:gd name="T31" fmla="*/ 439 h 769"/>
              <a:gd name="T32" fmla="*/ 352 w 769"/>
              <a:gd name="T33" fmla="*/ 419 h 769"/>
              <a:gd name="T34" fmla="*/ 319 w 769"/>
              <a:gd name="T35" fmla="*/ 429 h 769"/>
              <a:gd name="T36" fmla="*/ 352 w 769"/>
              <a:gd name="T37" fmla="*/ 439 h 769"/>
              <a:gd name="T38" fmla="*/ 359 w 769"/>
              <a:gd name="T39" fmla="*/ 495 h 769"/>
              <a:gd name="T40" fmla="*/ 359 w 769"/>
              <a:gd name="T41" fmla="*/ 475 h 769"/>
              <a:gd name="T42" fmla="*/ 254 w 769"/>
              <a:gd name="T43" fmla="*/ 485 h 769"/>
              <a:gd name="T44" fmla="*/ 359 w 769"/>
              <a:gd name="T45" fmla="*/ 495 h 769"/>
              <a:gd name="T46" fmla="*/ 429 w 769"/>
              <a:gd name="T47" fmla="*/ 613 h 769"/>
              <a:gd name="T48" fmla="*/ 429 w 769"/>
              <a:gd name="T49" fmla="*/ 587 h 769"/>
              <a:gd name="T50" fmla="*/ 213 w 769"/>
              <a:gd name="T51" fmla="*/ 600 h 769"/>
              <a:gd name="T52" fmla="*/ 429 w 769"/>
              <a:gd name="T53" fmla="*/ 613 h 769"/>
              <a:gd name="T54" fmla="*/ 464 w 769"/>
              <a:gd name="T55" fmla="*/ 669 h 769"/>
              <a:gd name="T56" fmla="*/ 464 w 769"/>
              <a:gd name="T57" fmla="*/ 643 h 769"/>
              <a:gd name="T58" fmla="*/ 244 w 769"/>
              <a:gd name="T59" fmla="*/ 656 h 769"/>
              <a:gd name="T60" fmla="*/ 464 w 769"/>
              <a:gd name="T61" fmla="*/ 669 h 769"/>
              <a:gd name="T62" fmla="*/ 535 w 769"/>
              <a:gd name="T63" fmla="*/ 240 h 769"/>
              <a:gd name="T64" fmla="*/ 535 w 769"/>
              <a:gd name="T65" fmla="*/ 220 h 769"/>
              <a:gd name="T66" fmla="*/ 375 w 769"/>
              <a:gd name="T67" fmla="*/ 230 h 769"/>
              <a:gd name="T68" fmla="*/ 535 w 769"/>
              <a:gd name="T69" fmla="*/ 240 h 769"/>
              <a:gd name="T70" fmla="*/ 438 w 769"/>
              <a:gd name="T71" fmla="*/ 357 h 769"/>
              <a:gd name="T72" fmla="*/ 438 w 769"/>
              <a:gd name="T73" fmla="*/ 332 h 769"/>
              <a:gd name="T74" fmla="*/ 405 w 769"/>
              <a:gd name="T75" fmla="*/ 345 h 769"/>
              <a:gd name="T76" fmla="*/ 438 w 769"/>
              <a:gd name="T77" fmla="*/ 357 h 769"/>
              <a:gd name="T78" fmla="*/ 505 w 769"/>
              <a:gd name="T79" fmla="*/ 301 h 769"/>
              <a:gd name="T80" fmla="*/ 505 w 769"/>
              <a:gd name="T81" fmla="*/ 276 h 769"/>
              <a:gd name="T82" fmla="*/ 400 w 769"/>
              <a:gd name="T83" fmla="*/ 289 h 769"/>
              <a:gd name="T84" fmla="*/ 505 w 769"/>
              <a:gd name="T85" fmla="*/ 301 h 769"/>
              <a:gd name="T86" fmla="*/ 545 w 769"/>
              <a:gd name="T87" fmla="*/ 184 h 769"/>
              <a:gd name="T88" fmla="*/ 545 w 769"/>
              <a:gd name="T89" fmla="*/ 163 h 769"/>
              <a:gd name="T90" fmla="*/ 329 w 769"/>
              <a:gd name="T91" fmla="*/ 174 h 769"/>
              <a:gd name="T92" fmla="*/ 545 w 769"/>
              <a:gd name="T93" fmla="*/ 184 h 769"/>
              <a:gd name="T94" fmla="*/ 515 w 769"/>
              <a:gd name="T95" fmla="*/ 128 h 769"/>
              <a:gd name="T96" fmla="*/ 515 w 769"/>
              <a:gd name="T97" fmla="*/ 102 h 769"/>
              <a:gd name="T98" fmla="*/ 294 w 769"/>
              <a:gd name="T99" fmla="*/ 115 h 769"/>
              <a:gd name="T100" fmla="*/ 515 w 769"/>
              <a:gd name="T101" fmla="*/ 128 h 769"/>
              <a:gd name="T102" fmla="*/ 385 w 769"/>
              <a:gd name="T103" fmla="*/ 0 h 769"/>
              <a:gd name="T104" fmla="*/ 385 w 769"/>
              <a:gd name="T105" fmla="*/ 769 h 769"/>
              <a:gd name="T106" fmla="*/ 385 w 769"/>
              <a:gd name="T107" fmla="*/ 0 h 7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769" h="769">
                <a:moveTo>
                  <a:pt x="522" y="674"/>
                </a:moveTo>
                <a:cubicBezTo>
                  <a:pt x="522" y="674"/>
                  <a:pt x="522" y="674"/>
                  <a:pt x="522" y="674"/>
                </a:cubicBezTo>
                <a:cubicBezTo>
                  <a:pt x="520" y="674"/>
                  <a:pt x="518" y="673"/>
                  <a:pt x="515" y="672"/>
                </a:cubicBezTo>
                <a:cubicBezTo>
                  <a:pt x="510" y="668"/>
                  <a:pt x="509" y="661"/>
                  <a:pt x="513" y="655"/>
                </a:cubicBezTo>
                <a:cubicBezTo>
                  <a:pt x="530" y="632"/>
                  <a:pt x="538" y="608"/>
                  <a:pt x="538" y="583"/>
                </a:cubicBezTo>
                <a:cubicBezTo>
                  <a:pt x="538" y="549"/>
                  <a:pt x="524" y="517"/>
                  <a:pt x="494" y="485"/>
                </a:cubicBezTo>
                <a:cubicBezTo>
                  <a:pt x="467" y="457"/>
                  <a:pt x="431" y="432"/>
                  <a:pt x="400" y="411"/>
                </a:cubicBezTo>
                <a:cubicBezTo>
                  <a:pt x="392" y="405"/>
                  <a:pt x="384" y="400"/>
                  <a:pt x="377" y="395"/>
                </a:cubicBezTo>
                <a:cubicBezTo>
                  <a:pt x="372" y="391"/>
                  <a:pt x="366" y="388"/>
                  <a:pt x="361" y="384"/>
                </a:cubicBezTo>
                <a:cubicBezTo>
                  <a:pt x="293" y="337"/>
                  <a:pt x="208" y="278"/>
                  <a:pt x="208" y="197"/>
                </a:cubicBezTo>
                <a:cubicBezTo>
                  <a:pt x="208" y="180"/>
                  <a:pt x="212" y="163"/>
                  <a:pt x="219" y="146"/>
                </a:cubicBezTo>
                <a:cubicBezTo>
                  <a:pt x="226" y="132"/>
                  <a:pt x="235" y="117"/>
                  <a:pt x="247" y="103"/>
                </a:cubicBezTo>
                <a:cubicBezTo>
                  <a:pt x="252" y="98"/>
                  <a:pt x="259" y="97"/>
                  <a:pt x="264" y="101"/>
                </a:cubicBezTo>
                <a:cubicBezTo>
                  <a:pt x="269" y="105"/>
                  <a:pt x="269" y="113"/>
                  <a:pt x="265" y="118"/>
                </a:cubicBezTo>
                <a:cubicBezTo>
                  <a:pt x="243" y="144"/>
                  <a:pt x="232" y="170"/>
                  <a:pt x="232" y="197"/>
                </a:cubicBezTo>
                <a:cubicBezTo>
                  <a:pt x="232" y="227"/>
                  <a:pt x="246" y="257"/>
                  <a:pt x="277" y="288"/>
                </a:cubicBezTo>
                <a:cubicBezTo>
                  <a:pt x="305" y="316"/>
                  <a:pt x="342" y="342"/>
                  <a:pt x="374" y="364"/>
                </a:cubicBezTo>
                <a:cubicBezTo>
                  <a:pt x="380" y="368"/>
                  <a:pt x="385" y="372"/>
                  <a:pt x="390" y="376"/>
                </a:cubicBezTo>
                <a:cubicBezTo>
                  <a:pt x="398" y="381"/>
                  <a:pt x="405" y="386"/>
                  <a:pt x="413" y="391"/>
                </a:cubicBezTo>
                <a:cubicBezTo>
                  <a:pt x="446" y="414"/>
                  <a:pt x="483" y="439"/>
                  <a:pt x="511" y="469"/>
                </a:cubicBezTo>
                <a:cubicBezTo>
                  <a:pt x="545" y="505"/>
                  <a:pt x="562" y="542"/>
                  <a:pt x="562" y="583"/>
                </a:cubicBezTo>
                <a:cubicBezTo>
                  <a:pt x="562" y="612"/>
                  <a:pt x="552" y="641"/>
                  <a:pt x="532" y="669"/>
                </a:cubicBezTo>
                <a:cubicBezTo>
                  <a:pt x="530" y="672"/>
                  <a:pt x="526" y="674"/>
                  <a:pt x="522" y="674"/>
                </a:cubicBezTo>
                <a:close/>
                <a:moveTo>
                  <a:pt x="384" y="557"/>
                </a:moveTo>
                <a:cubicBezTo>
                  <a:pt x="390" y="557"/>
                  <a:pt x="395" y="551"/>
                  <a:pt x="395" y="544"/>
                </a:cubicBezTo>
                <a:cubicBezTo>
                  <a:pt x="395" y="537"/>
                  <a:pt x="390" y="531"/>
                  <a:pt x="384" y="531"/>
                </a:cubicBezTo>
                <a:cubicBezTo>
                  <a:pt x="235" y="531"/>
                  <a:pt x="235" y="531"/>
                  <a:pt x="235" y="531"/>
                </a:cubicBezTo>
                <a:cubicBezTo>
                  <a:pt x="228" y="531"/>
                  <a:pt x="223" y="537"/>
                  <a:pt x="223" y="544"/>
                </a:cubicBezTo>
                <a:cubicBezTo>
                  <a:pt x="223" y="551"/>
                  <a:pt x="228" y="557"/>
                  <a:pt x="235" y="557"/>
                </a:cubicBezTo>
                <a:cubicBezTo>
                  <a:pt x="384" y="557"/>
                  <a:pt x="384" y="557"/>
                  <a:pt x="384" y="557"/>
                </a:cubicBezTo>
                <a:cubicBezTo>
                  <a:pt x="384" y="557"/>
                  <a:pt x="384" y="557"/>
                  <a:pt x="384" y="557"/>
                </a:cubicBezTo>
                <a:close/>
                <a:moveTo>
                  <a:pt x="352" y="439"/>
                </a:moveTo>
                <a:cubicBezTo>
                  <a:pt x="359" y="439"/>
                  <a:pt x="365" y="435"/>
                  <a:pt x="365" y="429"/>
                </a:cubicBezTo>
                <a:cubicBezTo>
                  <a:pt x="365" y="423"/>
                  <a:pt x="359" y="419"/>
                  <a:pt x="352" y="419"/>
                </a:cubicBezTo>
                <a:cubicBezTo>
                  <a:pt x="332" y="419"/>
                  <a:pt x="332" y="419"/>
                  <a:pt x="332" y="419"/>
                </a:cubicBezTo>
                <a:cubicBezTo>
                  <a:pt x="325" y="419"/>
                  <a:pt x="319" y="423"/>
                  <a:pt x="319" y="429"/>
                </a:cubicBezTo>
                <a:cubicBezTo>
                  <a:pt x="319" y="435"/>
                  <a:pt x="325" y="439"/>
                  <a:pt x="332" y="439"/>
                </a:cubicBezTo>
                <a:cubicBezTo>
                  <a:pt x="352" y="439"/>
                  <a:pt x="352" y="439"/>
                  <a:pt x="352" y="439"/>
                </a:cubicBezTo>
                <a:cubicBezTo>
                  <a:pt x="352" y="439"/>
                  <a:pt x="352" y="439"/>
                  <a:pt x="352" y="439"/>
                </a:cubicBezTo>
                <a:close/>
                <a:moveTo>
                  <a:pt x="359" y="495"/>
                </a:moveTo>
                <a:cubicBezTo>
                  <a:pt x="365" y="495"/>
                  <a:pt x="370" y="491"/>
                  <a:pt x="370" y="485"/>
                </a:cubicBezTo>
                <a:cubicBezTo>
                  <a:pt x="370" y="479"/>
                  <a:pt x="365" y="475"/>
                  <a:pt x="359" y="475"/>
                </a:cubicBezTo>
                <a:cubicBezTo>
                  <a:pt x="265" y="475"/>
                  <a:pt x="265" y="475"/>
                  <a:pt x="265" y="475"/>
                </a:cubicBezTo>
                <a:cubicBezTo>
                  <a:pt x="259" y="475"/>
                  <a:pt x="254" y="479"/>
                  <a:pt x="254" y="485"/>
                </a:cubicBezTo>
                <a:cubicBezTo>
                  <a:pt x="254" y="491"/>
                  <a:pt x="259" y="495"/>
                  <a:pt x="265" y="495"/>
                </a:cubicBezTo>
                <a:cubicBezTo>
                  <a:pt x="359" y="495"/>
                  <a:pt x="359" y="495"/>
                  <a:pt x="359" y="495"/>
                </a:cubicBezTo>
                <a:cubicBezTo>
                  <a:pt x="359" y="495"/>
                  <a:pt x="359" y="495"/>
                  <a:pt x="359" y="495"/>
                </a:cubicBezTo>
                <a:close/>
                <a:moveTo>
                  <a:pt x="429" y="613"/>
                </a:moveTo>
                <a:cubicBezTo>
                  <a:pt x="435" y="613"/>
                  <a:pt x="441" y="607"/>
                  <a:pt x="441" y="600"/>
                </a:cubicBezTo>
                <a:cubicBezTo>
                  <a:pt x="441" y="593"/>
                  <a:pt x="435" y="587"/>
                  <a:pt x="429" y="587"/>
                </a:cubicBezTo>
                <a:cubicBezTo>
                  <a:pt x="225" y="587"/>
                  <a:pt x="225" y="587"/>
                  <a:pt x="225" y="587"/>
                </a:cubicBezTo>
                <a:cubicBezTo>
                  <a:pt x="218" y="587"/>
                  <a:pt x="213" y="593"/>
                  <a:pt x="213" y="600"/>
                </a:cubicBezTo>
                <a:cubicBezTo>
                  <a:pt x="213" y="607"/>
                  <a:pt x="218" y="613"/>
                  <a:pt x="225" y="613"/>
                </a:cubicBezTo>
                <a:cubicBezTo>
                  <a:pt x="429" y="613"/>
                  <a:pt x="429" y="613"/>
                  <a:pt x="429" y="613"/>
                </a:cubicBezTo>
                <a:cubicBezTo>
                  <a:pt x="429" y="613"/>
                  <a:pt x="429" y="613"/>
                  <a:pt x="429" y="613"/>
                </a:cubicBezTo>
                <a:close/>
                <a:moveTo>
                  <a:pt x="464" y="669"/>
                </a:moveTo>
                <a:cubicBezTo>
                  <a:pt x="471" y="669"/>
                  <a:pt x="476" y="663"/>
                  <a:pt x="476" y="656"/>
                </a:cubicBezTo>
                <a:cubicBezTo>
                  <a:pt x="476" y="649"/>
                  <a:pt x="471" y="643"/>
                  <a:pt x="464" y="643"/>
                </a:cubicBezTo>
                <a:cubicBezTo>
                  <a:pt x="255" y="643"/>
                  <a:pt x="255" y="643"/>
                  <a:pt x="255" y="643"/>
                </a:cubicBezTo>
                <a:cubicBezTo>
                  <a:pt x="249" y="643"/>
                  <a:pt x="244" y="649"/>
                  <a:pt x="244" y="656"/>
                </a:cubicBezTo>
                <a:cubicBezTo>
                  <a:pt x="244" y="663"/>
                  <a:pt x="249" y="669"/>
                  <a:pt x="255" y="669"/>
                </a:cubicBezTo>
                <a:cubicBezTo>
                  <a:pt x="464" y="669"/>
                  <a:pt x="464" y="669"/>
                  <a:pt x="464" y="669"/>
                </a:cubicBezTo>
                <a:cubicBezTo>
                  <a:pt x="464" y="669"/>
                  <a:pt x="464" y="669"/>
                  <a:pt x="464" y="669"/>
                </a:cubicBezTo>
                <a:close/>
                <a:moveTo>
                  <a:pt x="535" y="240"/>
                </a:moveTo>
                <a:cubicBezTo>
                  <a:pt x="541" y="240"/>
                  <a:pt x="547" y="235"/>
                  <a:pt x="547" y="230"/>
                </a:cubicBezTo>
                <a:cubicBezTo>
                  <a:pt x="547" y="224"/>
                  <a:pt x="541" y="220"/>
                  <a:pt x="535" y="220"/>
                </a:cubicBezTo>
                <a:cubicBezTo>
                  <a:pt x="386" y="220"/>
                  <a:pt x="386" y="220"/>
                  <a:pt x="386" y="220"/>
                </a:cubicBezTo>
                <a:cubicBezTo>
                  <a:pt x="380" y="220"/>
                  <a:pt x="375" y="224"/>
                  <a:pt x="375" y="230"/>
                </a:cubicBezTo>
                <a:cubicBezTo>
                  <a:pt x="375" y="235"/>
                  <a:pt x="380" y="240"/>
                  <a:pt x="386" y="240"/>
                </a:cubicBezTo>
                <a:cubicBezTo>
                  <a:pt x="535" y="240"/>
                  <a:pt x="535" y="240"/>
                  <a:pt x="535" y="240"/>
                </a:cubicBezTo>
                <a:cubicBezTo>
                  <a:pt x="535" y="240"/>
                  <a:pt x="535" y="240"/>
                  <a:pt x="535" y="240"/>
                </a:cubicBezTo>
                <a:close/>
                <a:moveTo>
                  <a:pt x="438" y="357"/>
                </a:moveTo>
                <a:cubicBezTo>
                  <a:pt x="445" y="357"/>
                  <a:pt x="451" y="352"/>
                  <a:pt x="451" y="345"/>
                </a:cubicBezTo>
                <a:cubicBezTo>
                  <a:pt x="451" y="338"/>
                  <a:pt x="445" y="332"/>
                  <a:pt x="438" y="332"/>
                </a:cubicBezTo>
                <a:cubicBezTo>
                  <a:pt x="418" y="332"/>
                  <a:pt x="418" y="332"/>
                  <a:pt x="418" y="332"/>
                </a:cubicBezTo>
                <a:cubicBezTo>
                  <a:pt x="411" y="332"/>
                  <a:pt x="405" y="338"/>
                  <a:pt x="405" y="345"/>
                </a:cubicBezTo>
                <a:cubicBezTo>
                  <a:pt x="405" y="352"/>
                  <a:pt x="411" y="357"/>
                  <a:pt x="418" y="357"/>
                </a:cubicBezTo>
                <a:cubicBezTo>
                  <a:pt x="438" y="357"/>
                  <a:pt x="438" y="357"/>
                  <a:pt x="438" y="357"/>
                </a:cubicBezTo>
                <a:cubicBezTo>
                  <a:pt x="438" y="357"/>
                  <a:pt x="438" y="357"/>
                  <a:pt x="438" y="357"/>
                </a:cubicBezTo>
                <a:close/>
                <a:moveTo>
                  <a:pt x="505" y="301"/>
                </a:moveTo>
                <a:cubicBezTo>
                  <a:pt x="511" y="301"/>
                  <a:pt x="516" y="296"/>
                  <a:pt x="516" y="289"/>
                </a:cubicBezTo>
                <a:cubicBezTo>
                  <a:pt x="516" y="282"/>
                  <a:pt x="511" y="276"/>
                  <a:pt x="505" y="276"/>
                </a:cubicBezTo>
                <a:cubicBezTo>
                  <a:pt x="412" y="276"/>
                  <a:pt x="412" y="276"/>
                  <a:pt x="412" y="276"/>
                </a:cubicBezTo>
                <a:cubicBezTo>
                  <a:pt x="405" y="276"/>
                  <a:pt x="400" y="282"/>
                  <a:pt x="400" y="289"/>
                </a:cubicBezTo>
                <a:cubicBezTo>
                  <a:pt x="400" y="296"/>
                  <a:pt x="405" y="301"/>
                  <a:pt x="412" y="301"/>
                </a:cubicBezTo>
                <a:cubicBezTo>
                  <a:pt x="505" y="301"/>
                  <a:pt x="505" y="301"/>
                  <a:pt x="505" y="301"/>
                </a:cubicBezTo>
                <a:cubicBezTo>
                  <a:pt x="505" y="301"/>
                  <a:pt x="505" y="301"/>
                  <a:pt x="505" y="301"/>
                </a:cubicBezTo>
                <a:close/>
                <a:moveTo>
                  <a:pt x="545" y="184"/>
                </a:moveTo>
                <a:cubicBezTo>
                  <a:pt x="552" y="184"/>
                  <a:pt x="557" y="179"/>
                  <a:pt x="557" y="174"/>
                </a:cubicBezTo>
                <a:cubicBezTo>
                  <a:pt x="557" y="168"/>
                  <a:pt x="552" y="163"/>
                  <a:pt x="545" y="163"/>
                </a:cubicBezTo>
                <a:cubicBezTo>
                  <a:pt x="341" y="163"/>
                  <a:pt x="341" y="163"/>
                  <a:pt x="341" y="163"/>
                </a:cubicBezTo>
                <a:cubicBezTo>
                  <a:pt x="335" y="163"/>
                  <a:pt x="329" y="168"/>
                  <a:pt x="329" y="174"/>
                </a:cubicBezTo>
                <a:cubicBezTo>
                  <a:pt x="329" y="179"/>
                  <a:pt x="335" y="184"/>
                  <a:pt x="341" y="184"/>
                </a:cubicBezTo>
                <a:cubicBezTo>
                  <a:pt x="545" y="184"/>
                  <a:pt x="545" y="184"/>
                  <a:pt x="545" y="184"/>
                </a:cubicBezTo>
                <a:cubicBezTo>
                  <a:pt x="545" y="184"/>
                  <a:pt x="545" y="184"/>
                  <a:pt x="545" y="184"/>
                </a:cubicBezTo>
                <a:close/>
                <a:moveTo>
                  <a:pt x="515" y="128"/>
                </a:moveTo>
                <a:cubicBezTo>
                  <a:pt x="521" y="128"/>
                  <a:pt x="526" y="122"/>
                  <a:pt x="526" y="115"/>
                </a:cubicBezTo>
                <a:cubicBezTo>
                  <a:pt x="526" y="108"/>
                  <a:pt x="521" y="102"/>
                  <a:pt x="515" y="102"/>
                </a:cubicBezTo>
                <a:cubicBezTo>
                  <a:pt x="306" y="102"/>
                  <a:pt x="306" y="102"/>
                  <a:pt x="306" y="102"/>
                </a:cubicBezTo>
                <a:cubicBezTo>
                  <a:pt x="299" y="102"/>
                  <a:pt x="294" y="108"/>
                  <a:pt x="294" y="115"/>
                </a:cubicBezTo>
                <a:cubicBezTo>
                  <a:pt x="294" y="122"/>
                  <a:pt x="299" y="128"/>
                  <a:pt x="306" y="128"/>
                </a:cubicBezTo>
                <a:cubicBezTo>
                  <a:pt x="515" y="128"/>
                  <a:pt x="515" y="128"/>
                  <a:pt x="515" y="128"/>
                </a:cubicBezTo>
                <a:cubicBezTo>
                  <a:pt x="515" y="128"/>
                  <a:pt x="515" y="128"/>
                  <a:pt x="515" y="128"/>
                </a:cubicBezTo>
                <a:close/>
                <a:moveTo>
                  <a:pt x="385" y="0"/>
                </a:moveTo>
                <a:cubicBezTo>
                  <a:pt x="173" y="0"/>
                  <a:pt x="0" y="172"/>
                  <a:pt x="0" y="384"/>
                </a:cubicBezTo>
                <a:cubicBezTo>
                  <a:pt x="0" y="597"/>
                  <a:pt x="173" y="769"/>
                  <a:pt x="385" y="769"/>
                </a:cubicBezTo>
                <a:cubicBezTo>
                  <a:pt x="597" y="769"/>
                  <a:pt x="769" y="597"/>
                  <a:pt x="769" y="384"/>
                </a:cubicBezTo>
                <a:cubicBezTo>
                  <a:pt x="769" y="172"/>
                  <a:pt x="597" y="0"/>
                  <a:pt x="385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  <a:alpha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39393B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2502454"/>
      </p:ext>
    </p:extLst>
  </p:cSld>
  <p:clrMapOvr>
    <a:masterClrMapping/>
  </p:clrMapOvr>
  <p:transition spd="slow">
    <p:wipe/>
  </p:transition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5849360"/>
      </p:ext>
    </p:extLst>
  </p:cSld>
  <p:clrMapOvr>
    <a:masterClrMapping/>
  </p:clrMapOvr>
  <p:transition spd="med">
    <p:fade/>
  </p:transition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1214001"/>
      </p:ext>
    </p:extLst>
  </p:cSld>
  <p:clrMapOvr>
    <a:masterClrMapping/>
  </p:clrMapOvr>
  <p:transition spd="med">
    <p:fade/>
  </p:transition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1785297"/>
      </p:ext>
    </p:extLst>
  </p:cSld>
  <p:clrMapOvr>
    <a:masterClrMapping/>
  </p:clrMapOvr>
  <p:transition spd="med">
    <p:fade/>
  </p:transition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6638" y="1646238"/>
            <a:ext cx="19907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55612995"/>
      </p:ext>
    </p:extLst>
  </p:cSld>
  <p:clrMapOvr>
    <a:masterClrMapping/>
  </p:clrMapOvr>
  <p:transition spd="slow">
    <p:wipe/>
  </p:transition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1960674"/>
      </p:ext>
    </p:extLst>
  </p:cSld>
  <p:clrMapOvr>
    <a:masterClrMapping/>
  </p:clrMapOvr>
  <p:transition spd="slow">
    <p:wip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93" y="1347788"/>
            <a:ext cx="3901123" cy="3083094"/>
          </a:xfrm>
          <a:prstGeom prst="rect">
            <a:avLst/>
          </a:prstGeom>
        </p:spPr>
        <p:txBody>
          <a:bodyPr lIns="91358" tIns="45679" rIns="91358" bIns="45679">
            <a:noAutofit/>
          </a:bodyPr>
          <a:lstStyle>
            <a:lvl1pPr marL="228372" indent="-1712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740" indent="-215672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058" indent="-17129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321" indent="-171292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611" indent="-171292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7" y="1347788"/>
            <a:ext cx="4218460" cy="3083094"/>
          </a:xfrm>
          <a:prstGeom prst="rect">
            <a:avLst/>
          </a:prstGeom>
        </p:spPr>
        <p:txBody>
          <a:bodyPr lIns="91358" tIns="45679" rIns="91358" bIns="45679">
            <a:noAutofit/>
          </a:bodyPr>
          <a:lstStyle>
            <a:lvl1pPr marL="228372" indent="-1712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740" indent="-215672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058" indent="-17129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321" indent="-171292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611" indent="-171292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2" tIns="45681" rIns="91362" bIns="4568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9413055"/>
      </p:ext>
    </p:extLst>
  </p:cSld>
  <p:clrMapOvr>
    <a:masterClrMapping/>
  </p:clrMapOvr>
  <p:transition spd="med">
    <p:fade/>
  </p:transition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5208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CA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3363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>
          <a:gsLst>
            <a:gs pos="0">
              <a:srgbClr val="049FD9"/>
            </a:gs>
            <a:gs pos="100000">
              <a:srgbClr val="004BAF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50" y="323850"/>
            <a:ext cx="941388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679474"/>
      </p:ext>
    </p:extLst>
  </p:cSld>
  <p:clrMapOvr>
    <a:masterClrMapping/>
  </p:clrMapOvr>
  <p:transition spd="slow">
    <p:wipe/>
  </p:transition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89670948"/>
      </p:ext>
    </p:extLst>
  </p:cSld>
  <p:clrMapOvr>
    <a:masterClrMapping/>
  </p:clrMapOvr>
  <p:transition spd="slow">
    <p:wipe/>
  </p:transition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gue custom">
    <p:bg>
      <p:bgPr>
        <a:gradFill rotWithShape="0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1943254"/>
            <a:ext cx="7598042" cy="19707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23"/>
          <p:cNvSpPr>
            <a:spLocks noEditPoints="1"/>
          </p:cNvSpPr>
          <p:nvPr userDrawn="1"/>
        </p:nvSpPr>
        <p:spPr bwMode="auto">
          <a:xfrm>
            <a:off x="477679" y="735531"/>
            <a:ext cx="981326" cy="991454"/>
          </a:xfrm>
          <a:custGeom>
            <a:avLst/>
            <a:gdLst>
              <a:gd name="T0" fmla="*/ 522 w 769"/>
              <a:gd name="T1" fmla="*/ 674 h 769"/>
              <a:gd name="T2" fmla="*/ 513 w 769"/>
              <a:gd name="T3" fmla="*/ 655 h 769"/>
              <a:gd name="T4" fmla="*/ 494 w 769"/>
              <a:gd name="T5" fmla="*/ 485 h 769"/>
              <a:gd name="T6" fmla="*/ 377 w 769"/>
              <a:gd name="T7" fmla="*/ 395 h 769"/>
              <a:gd name="T8" fmla="*/ 208 w 769"/>
              <a:gd name="T9" fmla="*/ 197 h 769"/>
              <a:gd name="T10" fmla="*/ 247 w 769"/>
              <a:gd name="T11" fmla="*/ 103 h 769"/>
              <a:gd name="T12" fmla="*/ 265 w 769"/>
              <a:gd name="T13" fmla="*/ 118 h 769"/>
              <a:gd name="T14" fmla="*/ 277 w 769"/>
              <a:gd name="T15" fmla="*/ 288 h 769"/>
              <a:gd name="T16" fmla="*/ 390 w 769"/>
              <a:gd name="T17" fmla="*/ 376 h 769"/>
              <a:gd name="T18" fmla="*/ 511 w 769"/>
              <a:gd name="T19" fmla="*/ 469 h 769"/>
              <a:gd name="T20" fmla="*/ 532 w 769"/>
              <a:gd name="T21" fmla="*/ 669 h 769"/>
              <a:gd name="T22" fmla="*/ 384 w 769"/>
              <a:gd name="T23" fmla="*/ 557 h 769"/>
              <a:gd name="T24" fmla="*/ 384 w 769"/>
              <a:gd name="T25" fmla="*/ 531 h 769"/>
              <a:gd name="T26" fmla="*/ 223 w 769"/>
              <a:gd name="T27" fmla="*/ 544 h 769"/>
              <a:gd name="T28" fmla="*/ 384 w 769"/>
              <a:gd name="T29" fmla="*/ 557 h 769"/>
              <a:gd name="T30" fmla="*/ 352 w 769"/>
              <a:gd name="T31" fmla="*/ 439 h 769"/>
              <a:gd name="T32" fmla="*/ 352 w 769"/>
              <a:gd name="T33" fmla="*/ 419 h 769"/>
              <a:gd name="T34" fmla="*/ 319 w 769"/>
              <a:gd name="T35" fmla="*/ 429 h 769"/>
              <a:gd name="T36" fmla="*/ 352 w 769"/>
              <a:gd name="T37" fmla="*/ 439 h 769"/>
              <a:gd name="T38" fmla="*/ 359 w 769"/>
              <a:gd name="T39" fmla="*/ 495 h 769"/>
              <a:gd name="T40" fmla="*/ 359 w 769"/>
              <a:gd name="T41" fmla="*/ 475 h 769"/>
              <a:gd name="T42" fmla="*/ 254 w 769"/>
              <a:gd name="T43" fmla="*/ 485 h 769"/>
              <a:gd name="T44" fmla="*/ 359 w 769"/>
              <a:gd name="T45" fmla="*/ 495 h 769"/>
              <a:gd name="T46" fmla="*/ 429 w 769"/>
              <a:gd name="T47" fmla="*/ 613 h 769"/>
              <a:gd name="T48" fmla="*/ 429 w 769"/>
              <a:gd name="T49" fmla="*/ 587 h 769"/>
              <a:gd name="T50" fmla="*/ 213 w 769"/>
              <a:gd name="T51" fmla="*/ 600 h 769"/>
              <a:gd name="T52" fmla="*/ 429 w 769"/>
              <a:gd name="T53" fmla="*/ 613 h 769"/>
              <a:gd name="T54" fmla="*/ 464 w 769"/>
              <a:gd name="T55" fmla="*/ 669 h 769"/>
              <a:gd name="T56" fmla="*/ 464 w 769"/>
              <a:gd name="T57" fmla="*/ 643 h 769"/>
              <a:gd name="T58" fmla="*/ 244 w 769"/>
              <a:gd name="T59" fmla="*/ 656 h 769"/>
              <a:gd name="T60" fmla="*/ 464 w 769"/>
              <a:gd name="T61" fmla="*/ 669 h 769"/>
              <a:gd name="T62" fmla="*/ 535 w 769"/>
              <a:gd name="T63" fmla="*/ 240 h 769"/>
              <a:gd name="T64" fmla="*/ 535 w 769"/>
              <a:gd name="T65" fmla="*/ 220 h 769"/>
              <a:gd name="T66" fmla="*/ 375 w 769"/>
              <a:gd name="T67" fmla="*/ 230 h 769"/>
              <a:gd name="T68" fmla="*/ 535 w 769"/>
              <a:gd name="T69" fmla="*/ 240 h 769"/>
              <a:gd name="T70" fmla="*/ 438 w 769"/>
              <a:gd name="T71" fmla="*/ 357 h 769"/>
              <a:gd name="T72" fmla="*/ 438 w 769"/>
              <a:gd name="T73" fmla="*/ 332 h 769"/>
              <a:gd name="T74" fmla="*/ 405 w 769"/>
              <a:gd name="T75" fmla="*/ 345 h 769"/>
              <a:gd name="T76" fmla="*/ 438 w 769"/>
              <a:gd name="T77" fmla="*/ 357 h 769"/>
              <a:gd name="T78" fmla="*/ 505 w 769"/>
              <a:gd name="T79" fmla="*/ 301 h 769"/>
              <a:gd name="T80" fmla="*/ 505 w 769"/>
              <a:gd name="T81" fmla="*/ 276 h 769"/>
              <a:gd name="T82" fmla="*/ 400 w 769"/>
              <a:gd name="T83" fmla="*/ 289 h 769"/>
              <a:gd name="T84" fmla="*/ 505 w 769"/>
              <a:gd name="T85" fmla="*/ 301 h 769"/>
              <a:gd name="T86" fmla="*/ 545 w 769"/>
              <a:gd name="T87" fmla="*/ 184 h 769"/>
              <a:gd name="T88" fmla="*/ 545 w 769"/>
              <a:gd name="T89" fmla="*/ 163 h 769"/>
              <a:gd name="T90" fmla="*/ 329 w 769"/>
              <a:gd name="T91" fmla="*/ 174 h 769"/>
              <a:gd name="T92" fmla="*/ 545 w 769"/>
              <a:gd name="T93" fmla="*/ 184 h 769"/>
              <a:gd name="T94" fmla="*/ 515 w 769"/>
              <a:gd name="T95" fmla="*/ 128 h 769"/>
              <a:gd name="T96" fmla="*/ 515 w 769"/>
              <a:gd name="T97" fmla="*/ 102 h 769"/>
              <a:gd name="T98" fmla="*/ 294 w 769"/>
              <a:gd name="T99" fmla="*/ 115 h 769"/>
              <a:gd name="T100" fmla="*/ 515 w 769"/>
              <a:gd name="T101" fmla="*/ 128 h 769"/>
              <a:gd name="T102" fmla="*/ 385 w 769"/>
              <a:gd name="T103" fmla="*/ 0 h 769"/>
              <a:gd name="T104" fmla="*/ 385 w 769"/>
              <a:gd name="T105" fmla="*/ 769 h 769"/>
              <a:gd name="T106" fmla="*/ 385 w 769"/>
              <a:gd name="T107" fmla="*/ 0 h 7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769" h="769">
                <a:moveTo>
                  <a:pt x="522" y="674"/>
                </a:moveTo>
                <a:cubicBezTo>
                  <a:pt x="522" y="674"/>
                  <a:pt x="522" y="674"/>
                  <a:pt x="522" y="674"/>
                </a:cubicBezTo>
                <a:cubicBezTo>
                  <a:pt x="520" y="674"/>
                  <a:pt x="518" y="673"/>
                  <a:pt x="515" y="672"/>
                </a:cubicBezTo>
                <a:cubicBezTo>
                  <a:pt x="510" y="668"/>
                  <a:pt x="509" y="661"/>
                  <a:pt x="513" y="655"/>
                </a:cubicBezTo>
                <a:cubicBezTo>
                  <a:pt x="530" y="632"/>
                  <a:pt x="538" y="608"/>
                  <a:pt x="538" y="583"/>
                </a:cubicBezTo>
                <a:cubicBezTo>
                  <a:pt x="538" y="549"/>
                  <a:pt x="524" y="517"/>
                  <a:pt x="494" y="485"/>
                </a:cubicBezTo>
                <a:cubicBezTo>
                  <a:pt x="467" y="457"/>
                  <a:pt x="431" y="432"/>
                  <a:pt x="400" y="411"/>
                </a:cubicBezTo>
                <a:cubicBezTo>
                  <a:pt x="392" y="405"/>
                  <a:pt x="384" y="400"/>
                  <a:pt x="377" y="395"/>
                </a:cubicBezTo>
                <a:cubicBezTo>
                  <a:pt x="372" y="391"/>
                  <a:pt x="366" y="388"/>
                  <a:pt x="361" y="384"/>
                </a:cubicBezTo>
                <a:cubicBezTo>
                  <a:pt x="293" y="337"/>
                  <a:pt x="208" y="278"/>
                  <a:pt x="208" y="197"/>
                </a:cubicBezTo>
                <a:cubicBezTo>
                  <a:pt x="208" y="180"/>
                  <a:pt x="212" y="163"/>
                  <a:pt x="219" y="146"/>
                </a:cubicBezTo>
                <a:cubicBezTo>
                  <a:pt x="226" y="132"/>
                  <a:pt x="235" y="117"/>
                  <a:pt x="247" y="103"/>
                </a:cubicBezTo>
                <a:cubicBezTo>
                  <a:pt x="252" y="98"/>
                  <a:pt x="259" y="97"/>
                  <a:pt x="264" y="101"/>
                </a:cubicBezTo>
                <a:cubicBezTo>
                  <a:pt x="269" y="105"/>
                  <a:pt x="269" y="113"/>
                  <a:pt x="265" y="118"/>
                </a:cubicBezTo>
                <a:cubicBezTo>
                  <a:pt x="243" y="144"/>
                  <a:pt x="232" y="170"/>
                  <a:pt x="232" y="197"/>
                </a:cubicBezTo>
                <a:cubicBezTo>
                  <a:pt x="232" y="227"/>
                  <a:pt x="246" y="257"/>
                  <a:pt x="277" y="288"/>
                </a:cubicBezTo>
                <a:cubicBezTo>
                  <a:pt x="305" y="316"/>
                  <a:pt x="342" y="342"/>
                  <a:pt x="374" y="364"/>
                </a:cubicBezTo>
                <a:cubicBezTo>
                  <a:pt x="380" y="368"/>
                  <a:pt x="385" y="372"/>
                  <a:pt x="390" y="376"/>
                </a:cubicBezTo>
                <a:cubicBezTo>
                  <a:pt x="398" y="381"/>
                  <a:pt x="405" y="386"/>
                  <a:pt x="413" y="391"/>
                </a:cubicBezTo>
                <a:cubicBezTo>
                  <a:pt x="446" y="414"/>
                  <a:pt x="483" y="439"/>
                  <a:pt x="511" y="469"/>
                </a:cubicBezTo>
                <a:cubicBezTo>
                  <a:pt x="545" y="505"/>
                  <a:pt x="562" y="542"/>
                  <a:pt x="562" y="583"/>
                </a:cubicBezTo>
                <a:cubicBezTo>
                  <a:pt x="562" y="612"/>
                  <a:pt x="552" y="641"/>
                  <a:pt x="532" y="669"/>
                </a:cubicBezTo>
                <a:cubicBezTo>
                  <a:pt x="530" y="672"/>
                  <a:pt x="526" y="674"/>
                  <a:pt x="522" y="674"/>
                </a:cubicBezTo>
                <a:close/>
                <a:moveTo>
                  <a:pt x="384" y="557"/>
                </a:moveTo>
                <a:cubicBezTo>
                  <a:pt x="390" y="557"/>
                  <a:pt x="395" y="551"/>
                  <a:pt x="395" y="544"/>
                </a:cubicBezTo>
                <a:cubicBezTo>
                  <a:pt x="395" y="537"/>
                  <a:pt x="390" y="531"/>
                  <a:pt x="384" y="531"/>
                </a:cubicBezTo>
                <a:cubicBezTo>
                  <a:pt x="235" y="531"/>
                  <a:pt x="235" y="531"/>
                  <a:pt x="235" y="531"/>
                </a:cubicBezTo>
                <a:cubicBezTo>
                  <a:pt x="228" y="531"/>
                  <a:pt x="223" y="537"/>
                  <a:pt x="223" y="544"/>
                </a:cubicBezTo>
                <a:cubicBezTo>
                  <a:pt x="223" y="551"/>
                  <a:pt x="228" y="557"/>
                  <a:pt x="235" y="557"/>
                </a:cubicBezTo>
                <a:cubicBezTo>
                  <a:pt x="384" y="557"/>
                  <a:pt x="384" y="557"/>
                  <a:pt x="384" y="557"/>
                </a:cubicBezTo>
                <a:cubicBezTo>
                  <a:pt x="384" y="557"/>
                  <a:pt x="384" y="557"/>
                  <a:pt x="384" y="557"/>
                </a:cubicBezTo>
                <a:close/>
                <a:moveTo>
                  <a:pt x="352" y="439"/>
                </a:moveTo>
                <a:cubicBezTo>
                  <a:pt x="359" y="439"/>
                  <a:pt x="365" y="435"/>
                  <a:pt x="365" y="429"/>
                </a:cubicBezTo>
                <a:cubicBezTo>
                  <a:pt x="365" y="423"/>
                  <a:pt x="359" y="419"/>
                  <a:pt x="352" y="419"/>
                </a:cubicBezTo>
                <a:cubicBezTo>
                  <a:pt x="332" y="419"/>
                  <a:pt x="332" y="419"/>
                  <a:pt x="332" y="419"/>
                </a:cubicBezTo>
                <a:cubicBezTo>
                  <a:pt x="325" y="419"/>
                  <a:pt x="319" y="423"/>
                  <a:pt x="319" y="429"/>
                </a:cubicBezTo>
                <a:cubicBezTo>
                  <a:pt x="319" y="435"/>
                  <a:pt x="325" y="439"/>
                  <a:pt x="332" y="439"/>
                </a:cubicBezTo>
                <a:cubicBezTo>
                  <a:pt x="352" y="439"/>
                  <a:pt x="352" y="439"/>
                  <a:pt x="352" y="439"/>
                </a:cubicBezTo>
                <a:cubicBezTo>
                  <a:pt x="352" y="439"/>
                  <a:pt x="352" y="439"/>
                  <a:pt x="352" y="439"/>
                </a:cubicBezTo>
                <a:close/>
                <a:moveTo>
                  <a:pt x="359" y="495"/>
                </a:moveTo>
                <a:cubicBezTo>
                  <a:pt x="365" y="495"/>
                  <a:pt x="370" y="491"/>
                  <a:pt x="370" y="485"/>
                </a:cubicBezTo>
                <a:cubicBezTo>
                  <a:pt x="370" y="479"/>
                  <a:pt x="365" y="475"/>
                  <a:pt x="359" y="475"/>
                </a:cubicBezTo>
                <a:cubicBezTo>
                  <a:pt x="265" y="475"/>
                  <a:pt x="265" y="475"/>
                  <a:pt x="265" y="475"/>
                </a:cubicBezTo>
                <a:cubicBezTo>
                  <a:pt x="259" y="475"/>
                  <a:pt x="254" y="479"/>
                  <a:pt x="254" y="485"/>
                </a:cubicBezTo>
                <a:cubicBezTo>
                  <a:pt x="254" y="491"/>
                  <a:pt x="259" y="495"/>
                  <a:pt x="265" y="495"/>
                </a:cubicBezTo>
                <a:cubicBezTo>
                  <a:pt x="359" y="495"/>
                  <a:pt x="359" y="495"/>
                  <a:pt x="359" y="495"/>
                </a:cubicBezTo>
                <a:cubicBezTo>
                  <a:pt x="359" y="495"/>
                  <a:pt x="359" y="495"/>
                  <a:pt x="359" y="495"/>
                </a:cubicBezTo>
                <a:close/>
                <a:moveTo>
                  <a:pt x="429" y="613"/>
                </a:moveTo>
                <a:cubicBezTo>
                  <a:pt x="435" y="613"/>
                  <a:pt x="441" y="607"/>
                  <a:pt x="441" y="600"/>
                </a:cubicBezTo>
                <a:cubicBezTo>
                  <a:pt x="441" y="593"/>
                  <a:pt x="435" y="587"/>
                  <a:pt x="429" y="587"/>
                </a:cubicBezTo>
                <a:cubicBezTo>
                  <a:pt x="225" y="587"/>
                  <a:pt x="225" y="587"/>
                  <a:pt x="225" y="587"/>
                </a:cubicBezTo>
                <a:cubicBezTo>
                  <a:pt x="218" y="587"/>
                  <a:pt x="213" y="593"/>
                  <a:pt x="213" y="600"/>
                </a:cubicBezTo>
                <a:cubicBezTo>
                  <a:pt x="213" y="607"/>
                  <a:pt x="218" y="613"/>
                  <a:pt x="225" y="613"/>
                </a:cubicBezTo>
                <a:cubicBezTo>
                  <a:pt x="429" y="613"/>
                  <a:pt x="429" y="613"/>
                  <a:pt x="429" y="613"/>
                </a:cubicBezTo>
                <a:cubicBezTo>
                  <a:pt x="429" y="613"/>
                  <a:pt x="429" y="613"/>
                  <a:pt x="429" y="613"/>
                </a:cubicBezTo>
                <a:close/>
                <a:moveTo>
                  <a:pt x="464" y="669"/>
                </a:moveTo>
                <a:cubicBezTo>
                  <a:pt x="471" y="669"/>
                  <a:pt x="476" y="663"/>
                  <a:pt x="476" y="656"/>
                </a:cubicBezTo>
                <a:cubicBezTo>
                  <a:pt x="476" y="649"/>
                  <a:pt x="471" y="643"/>
                  <a:pt x="464" y="643"/>
                </a:cubicBezTo>
                <a:cubicBezTo>
                  <a:pt x="255" y="643"/>
                  <a:pt x="255" y="643"/>
                  <a:pt x="255" y="643"/>
                </a:cubicBezTo>
                <a:cubicBezTo>
                  <a:pt x="249" y="643"/>
                  <a:pt x="244" y="649"/>
                  <a:pt x="244" y="656"/>
                </a:cubicBezTo>
                <a:cubicBezTo>
                  <a:pt x="244" y="663"/>
                  <a:pt x="249" y="669"/>
                  <a:pt x="255" y="669"/>
                </a:cubicBezTo>
                <a:cubicBezTo>
                  <a:pt x="464" y="669"/>
                  <a:pt x="464" y="669"/>
                  <a:pt x="464" y="669"/>
                </a:cubicBezTo>
                <a:cubicBezTo>
                  <a:pt x="464" y="669"/>
                  <a:pt x="464" y="669"/>
                  <a:pt x="464" y="669"/>
                </a:cubicBezTo>
                <a:close/>
                <a:moveTo>
                  <a:pt x="535" y="240"/>
                </a:moveTo>
                <a:cubicBezTo>
                  <a:pt x="541" y="240"/>
                  <a:pt x="547" y="235"/>
                  <a:pt x="547" y="230"/>
                </a:cubicBezTo>
                <a:cubicBezTo>
                  <a:pt x="547" y="224"/>
                  <a:pt x="541" y="220"/>
                  <a:pt x="535" y="220"/>
                </a:cubicBezTo>
                <a:cubicBezTo>
                  <a:pt x="386" y="220"/>
                  <a:pt x="386" y="220"/>
                  <a:pt x="386" y="220"/>
                </a:cubicBezTo>
                <a:cubicBezTo>
                  <a:pt x="380" y="220"/>
                  <a:pt x="375" y="224"/>
                  <a:pt x="375" y="230"/>
                </a:cubicBezTo>
                <a:cubicBezTo>
                  <a:pt x="375" y="235"/>
                  <a:pt x="380" y="240"/>
                  <a:pt x="386" y="240"/>
                </a:cubicBezTo>
                <a:cubicBezTo>
                  <a:pt x="535" y="240"/>
                  <a:pt x="535" y="240"/>
                  <a:pt x="535" y="240"/>
                </a:cubicBezTo>
                <a:cubicBezTo>
                  <a:pt x="535" y="240"/>
                  <a:pt x="535" y="240"/>
                  <a:pt x="535" y="240"/>
                </a:cubicBezTo>
                <a:close/>
                <a:moveTo>
                  <a:pt x="438" y="357"/>
                </a:moveTo>
                <a:cubicBezTo>
                  <a:pt x="445" y="357"/>
                  <a:pt x="451" y="352"/>
                  <a:pt x="451" y="345"/>
                </a:cubicBezTo>
                <a:cubicBezTo>
                  <a:pt x="451" y="338"/>
                  <a:pt x="445" y="332"/>
                  <a:pt x="438" y="332"/>
                </a:cubicBezTo>
                <a:cubicBezTo>
                  <a:pt x="418" y="332"/>
                  <a:pt x="418" y="332"/>
                  <a:pt x="418" y="332"/>
                </a:cubicBezTo>
                <a:cubicBezTo>
                  <a:pt x="411" y="332"/>
                  <a:pt x="405" y="338"/>
                  <a:pt x="405" y="345"/>
                </a:cubicBezTo>
                <a:cubicBezTo>
                  <a:pt x="405" y="352"/>
                  <a:pt x="411" y="357"/>
                  <a:pt x="418" y="357"/>
                </a:cubicBezTo>
                <a:cubicBezTo>
                  <a:pt x="438" y="357"/>
                  <a:pt x="438" y="357"/>
                  <a:pt x="438" y="357"/>
                </a:cubicBezTo>
                <a:cubicBezTo>
                  <a:pt x="438" y="357"/>
                  <a:pt x="438" y="357"/>
                  <a:pt x="438" y="357"/>
                </a:cubicBezTo>
                <a:close/>
                <a:moveTo>
                  <a:pt x="505" y="301"/>
                </a:moveTo>
                <a:cubicBezTo>
                  <a:pt x="511" y="301"/>
                  <a:pt x="516" y="296"/>
                  <a:pt x="516" y="289"/>
                </a:cubicBezTo>
                <a:cubicBezTo>
                  <a:pt x="516" y="282"/>
                  <a:pt x="511" y="276"/>
                  <a:pt x="505" y="276"/>
                </a:cubicBezTo>
                <a:cubicBezTo>
                  <a:pt x="412" y="276"/>
                  <a:pt x="412" y="276"/>
                  <a:pt x="412" y="276"/>
                </a:cubicBezTo>
                <a:cubicBezTo>
                  <a:pt x="405" y="276"/>
                  <a:pt x="400" y="282"/>
                  <a:pt x="400" y="289"/>
                </a:cubicBezTo>
                <a:cubicBezTo>
                  <a:pt x="400" y="296"/>
                  <a:pt x="405" y="301"/>
                  <a:pt x="412" y="301"/>
                </a:cubicBezTo>
                <a:cubicBezTo>
                  <a:pt x="505" y="301"/>
                  <a:pt x="505" y="301"/>
                  <a:pt x="505" y="301"/>
                </a:cubicBezTo>
                <a:cubicBezTo>
                  <a:pt x="505" y="301"/>
                  <a:pt x="505" y="301"/>
                  <a:pt x="505" y="301"/>
                </a:cubicBezTo>
                <a:close/>
                <a:moveTo>
                  <a:pt x="545" y="184"/>
                </a:moveTo>
                <a:cubicBezTo>
                  <a:pt x="552" y="184"/>
                  <a:pt x="557" y="179"/>
                  <a:pt x="557" y="174"/>
                </a:cubicBezTo>
                <a:cubicBezTo>
                  <a:pt x="557" y="168"/>
                  <a:pt x="552" y="163"/>
                  <a:pt x="545" y="163"/>
                </a:cubicBezTo>
                <a:cubicBezTo>
                  <a:pt x="341" y="163"/>
                  <a:pt x="341" y="163"/>
                  <a:pt x="341" y="163"/>
                </a:cubicBezTo>
                <a:cubicBezTo>
                  <a:pt x="335" y="163"/>
                  <a:pt x="329" y="168"/>
                  <a:pt x="329" y="174"/>
                </a:cubicBezTo>
                <a:cubicBezTo>
                  <a:pt x="329" y="179"/>
                  <a:pt x="335" y="184"/>
                  <a:pt x="341" y="184"/>
                </a:cubicBezTo>
                <a:cubicBezTo>
                  <a:pt x="545" y="184"/>
                  <a:pt x="545" y="184"/>
                  <a:pt x="545" y="184"/>
                </a:cubicBezTo>
                <a:cubicBezTo>
                  <a:pt x="545" y="184"/>
                  <a:pt x="545" y="184"/>
                  <a:pt x="545" y="184"/>
                </a:cubicBezTo>
                <a:close/>
                <a:moveTo>
                  <a:pt x="515" y="128"/>
                </a:moveTo>
                <a:cubicBezTo>
                  <a:pt x="521" y="128"/>
                  <a:pt x="526" y="122"/>
                  <a:pt x="526" y="115"/>
                </a:cubicBezTo>
                <a:cubicBezTo>
                  <a:pt x="526" y="108"/>
                  <a:pt x="521" y="102"/>
                  <a:pt x="515" y="102"/>
                </a:cubicBezTo>
                <a:cubicBezTo>
                  <a:pt x="306" y="102"/>
                  <a:pt x="306" y="102"/>
                  <a:pt x="306" y="102"/>
                </a:cubicBezTo>
                <a:cubicBezTo>
                  <a:pt x="299" y="102"/>
                  <a:pt x="294" y="108"/>
                  <a:pt x="294" y="115"/>
                </a:cubicBezTo>
                <a:cubicBezTo>
                  <a:pt x="294" y="122"/>
                  <a:pt x="299" y="128"/>
                  <a:pt x="306" y="128"/>
                </a:cubicBezTo>
                <a:cubicBezTo>
                  <a:pt x="515" y="128"/>
                  <a:pt x="515" y="128"/>
                  <a:pt x="515" y="128"/>
                </a:cubicBezTo>
                <a:cubicBezTo>
                  <a:pt x="515" y="128"/>
                  <a:pt x="515" y="128"/>
                  <a:pt x="515" y="128"/>
                </a:cubicBezTo>
                <a:close/>
                <a:moveTo>
                  <a:pt x="385" y="0"/>
                </a:moveTo>
                <a:cubicBezTo>
                  <a:pt x="173" y="0"/>
                  <a:pt x="0" y="172"/>
                  <a:pt x="0" y="384"/>
                </a:cubicBezTo>
                <a:cubicBezTo>
                  <a:pt x="0" y="597"/>
                  <a:pt x="173" y="769"/>
                  <a:pt x="385" y="769"/>
                </a:cubicBezTo>
                <a:cubicBezTo>
                  <a:pt x="597" y="769"/>
                  <a:pt x="769" y="597"/>
                  <a:pt x="769" y="384"/>
                </a:cubicBezTo>
                <a:cubicBezTo>
                  <a:pt x="769" y="172"/>
                  <a:pt x="597" y="0"/>
                  <a:pt x="385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  <a:alpha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39393B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7160102"/>
      </p:ext>
    </p:extLst>
  </p:cSld>
  <p:clrMapOvr>
    <a:masterClrMapping/>
  </p:clrMapOvr>
  <p:transition spd="slow">
    <p:wipe/>
  </p:transition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3208191"/>
      </p:ext>
    </p:extLst>
  </p:cSld>
  <p:clrMapOvr>
    <a:masterClrMapping/>
  </p:clrMapOvr>
  <p:transition spd="med">
    <p:fade/>
  </p:transition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7703121"/>
      </p:ext>
    </p:extLst>
  </p:cSld>
  <p:clrMapOvr>
    <a:masterClrMapping/>
  </p:clrMapOvr>
  <p:transition spd="med">
    <p:fade/>
  </p:transition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72427699"/>
      </p:ext>
    </p:extLst>
  </p:cSld>
  <p:clrMapOvr>
    <a:masterClrMapping/>
  </p:clrMapOvr>
  <p:transition spd="med">
    <p:fade/>
  </p:transition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6638" y="1646238"/>
            <a:ext cx="19907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2525623"/>
      </p:ext>
    </p:extLst>
  </p:cSld>
  <p:clrMapOvr>
    <a:masterClrMapping/>
  </p:clrMapOvr>
  <p:transition spd="slow">
    <p:wipe/>
  </p:transition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8263812"/>
      </p:ext>
    </p:extLst>
  </p:cSld>
  <p:clrMapOvr>
    <a:masterClrMapping/>
  </p:clrMapOvr>
  <p:transition spd="slow">
    <p:wipe/>
  </p:transition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30330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970" y="609608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930" y="302532"/>
            <a:ext cx="3715995" cy="826447"/>
          </a:xfrm>
          <a:prstGeom prst="rect">
            <a:avLst/>
          </a:prstGeom>
        </p:spPr>
        <p:txBody>
          <a:bodyPr lIns="61666" tIns="34283" rIns="61666" bIns="34283" rtlCol="0">
            <a:noAutofit/>
          </a:bodyPr>
          <a:lstStyle>
            <a:lvl1pPr algn="l" defTabSz="685198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905965" y="302506"/>
            <a:ext cx="3715995" cy="826446"/>
          </a:xfrm>
          <a:prstGeom prst="rect">
            <a:avLst/>
          </a:prstGeom>
        </p:spPr>
        <p:txBody>
          <a:bodyPr lIns="91358" tIns="45679" rIns="91358" bIns="45679" anchor="ctr" anchorCtr="0">
            <a:noAutofit/>
          </a:bodyPr>
          <a:lstStyle>
            <a:lvl1pPr marL="0" marR="0" indent="0" algn="l" defTabSz="68519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930" y="1347788"/>
            <a:ext cx="3715995" cy="3083094"/>
          </a:xfrm>
          <a:prstGeom prst="rect">
            <a:avLst/>
          </a:prstGeom>
        </p:spPr>
        <p:txBody>
          <a:bodyPr lIns="91358" tIns="45679" rIns="91358" bIns="45679">
            <a:noAutofit/>
          </a:bodyPr>
          <a:lstStyle>
            <a:lvl1pPr marL="228372" indent="-1712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740" indent="-215672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058" indent="-17129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321" indent="-171292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611" indent="-171292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905965" y="1347788"/>
            <a:ext cx="3715995" cy="3083094"/>
          </a:xfrm>
          <a:prstGeom prst="rect">
            <a:avLst/>
          </a:prstGeom>
        </p:spPr>
        <p:txBody>
          <a:bodyPr lIns="91358" tIns="45679" rIns="91358" bIns="45679">
            <a:noAutofit/>
          </a:bodyPr>
          <a:lstStyle>
            <a:lvl1pPr marL="228372" indent="-1712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740" indent="-215672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058" indent="-17129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321" indent="-171292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611" indent="-171292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3724428"/>
      </p:ext>
    </p:extLst>
  </p:cSld>
  <p:clrMapOvr>
    <a:masterClrMapping/>
  </p:clrMapOvr>
  <p:transition spd="med">
    <p:fade/>
  </p:transition>
  <p:hf hdr="0" ftr="0" dt="0"/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79006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1358"/>
            <a:ext cx="8229600" cy="353326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8999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>
          <a:gsLst>
            <a:gs pos="0">
              <a:srgbClr val="049FD9"/>
            </a:gs>
            <a:gs pos="100000">
              <a:srgbClr val="004BAF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50" y="323850"/>
            <a:ext cx="941388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0668247"/>
      </p:ext>
    </p:extLst>
  </p:cSld>
  <p:clrMapOvr>
    <a:masterClrMapping/>
  </p:clrMapOvr>
  <p:transition spd="slow">
    <p:wipe/>
  </p:transition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06944882"/>
      </p:ext>
    </p:extLst>
  </p:cSld>
  <p:clrMapOvr>
    <a:masterClrMapping/>
  </p:clrMapOvr>
  <p:transition spd="slow">
    <p:wipe/>
  </p:transition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gue custom">
    <p:bg>
      <p:bgPr>
        <a:gradFill rotWithShape="0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1943254"/>
            <a:ext cx="7598042" cy="19707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23"/>
          <p:cNvSpPr>
            <a:spLocks noEditPoints="1"/>
          </p:cNvSpPr>
          <p:nvPr userDrawn="1"/>
        </p:nvSpPr>
        <p:spPr bwMode="auto">
          <a:xfrm>
            <a:off x="477679" y="735531"/>
            <a:ext cx="981326" cy="991454"/>
          </a:xfrm>
          <a:custGeom>
            <a:avLst/>
            <a:gdLst>
              <a:gd name="T0" fmla="*/ 522 w 769"/>
              <a:gd name="T1" fmla="*/ 674 h 769"/>
              <a:gd name="T2" fmla="*/ 513 w 769"/>
              <a:gd name="T3" fmla="*/ 655 h 769"/>
              <a:gd name="T4" fmla="*/ 494 w 769"/>
              <a:gd name="T5" fmla="*/ 485 h 769"/>
              <a:gd name="T6" fmla="*/ 377 w 769"/>
              <a:gd name="T7" fmla="*/ 395 h 769"/>
              <a:gd name="T8" fmla="*/ 208 w 769"/>
              <a:gd name="T9" fmla="*/ 197 h 769"/>
              <a:gd name="T10" fmla="*/ 247 w 769"/>
              <a:gd name="T11" fmla="*/ 103 h 769"/>
              <a:gd name="T12" fmla="*/ 265 w 769"/>
              <a:gd name="T13" fmla="*/ 118 h 769"/>
              <a:gd name="T14" fmla="*/ 277 w 769"/>
              <a:gd name="T15" fmla="*/ 288 h 769"/>
              <a:gd name="T16" fmla="*/ 390 w 769"/>
              <a:gd name="T17" fmla="*/ 376 h 769"/>
              <a:gd name="T18" fmla="*/ 511 w 769"/>
              <a:gd name="T19" fmla="*/ 469 h 769"/>
              <a:gd name="T20" fmla="*/ 532 w 769"/>
              <a:gd name="T21" fmla="*/ 669 h 769"/>
              <a:gd name="T22" fmla="*/ 384 w 769"/>
              <a:gd name="T23" fmla="*/ 557 h 769"/>
              <a:gd name="T24" fmla="*/ 384 w 769"/>
              <a:gd name="T25" fmla="*/ 531 h 769"/>
              <a:gd name="T26" fmla="*/ 223 w 769"/>
              <a:gd name="T27" fmla="*/ 544 h 769"/>
              <a:gd name="T28" fmla="*/ 384 w 769"/>
              <a:gd name="T29" fmla="*/ 557 h 769"/>
              <a:gd name="T30" fmla="*/ 352 w 769"/>
              <a:gd name="T31" fmla="*/ 439 h 769"/>
              <a:gd name="T32" fmla="*/ 352 w 769"/>
              <a:gd name="T33" fmla="*/ 419 h 769"/>
              <a:gd name="T34" fmla="*/ 319 w 769"/>
              <a:gd name="T35" fmla="*/ 429 h 769"/>
              <a:gd name="T36" fmla="*/ 352 w 769"/>
              <a:gd name="T37" fmla="*/ 439 h 769"/>
              <a:gd name="T38" fmla="*/ 359 w 769"/>
              <a:gd name="T39" fmla="*/ 495 h 769"/>
              <a:gd name="T40" fmla="*/ 359 w 769"/>
              <a:gd name="T41" fmla="*/ 475 h 769"/>
              <a:gd name="T42" fmla="*/ 254 w 769"/>
              <a:gd name="T43" fmla="*/ 485 h 769"/>
              <a:gd name="T44" fmla="*/ 359 w 769"/>
              <a:gd name="T45" fmla="*/ 495 h 769"/>
              <a:gd name="T46" fmla="*/ 429 w 769"/>
              <a:gd name="T47" fmla="*/ 613 h 769"/>
              <a:gd name="T48" fmla="*/ 429 w 769"/>
              <a:gd name="T49" fmla="*/ 587 h 769"/>
              <a:gd name="T50" fmla="*/ 213 w 769"/>
              <a:gd name="T51" fmla="*/ 600 h 769"/>
              <a:gd name="T52" fmla="*/ 429 w 769"/>
              <a:gd name="T53" fmla="*/ 613 h 769"/>
              <a:gd name="T54" fmla="*/ 464 w 769"/>
              <a:gd name="T55" fmla="*/ 669 h 769"/>
              <a:gd name="T56" fmla="*/ 464 w 769"/>
              <a:gd name="T57" fmla="*/ 643 h 769"/>
              <a:gd name="T58" fmla="*/ 244 w 769"/>
              <a:gd name="T59" fmla="*/ 656 h 769"/>
              <a:gd name="T60" fmla="*/ 464 w 769"/>
              <a:gd name="T61" fmla="*/ 669 h 769"/>
              <a:gd name="T62" fmla="*/ 535 w 769"/>
              <a:gd name="T63" fmla="*/ 240 h 769"/>
              <a:gd name="T64" fmla="*/ 535 w 769"/>
              <a:gd name="T65" fmla="*/ 220 h 769"/>
              <a:gd name="T66" fmla="*/ 375 w 769"/>
              <a:gd name="T67" fmla="*/ 230 h 769"/>
              <a:gd name="T68" fmla="*/ 535 w 769"/>
              <a:gd name="T69" fmla="*/ 240 h 769"/>
              <a:gd name="T70" fmla="*/ 438 w 769"/>
              <a:gd name="T71" fmla="*/ 357 h 769"/>
              <a:gd name="T72" fmla="*/ 438 w 769"/>
              <a:gd name="T73" fmla="*/ 332 h 769"/>
              <a:gd name="T74" fmla="*/ 405 w 769"/>
              <a:gd name="T75" fmla="*/ 345 h 769"/>
              <a:gd name="T76" fmla="*/ 438 w 769"/>
              <a:gd name="T77" fmla="*/ 357 h 769"/>
              <a:gd name="T78" fmla="*/ 505 w 769"/>
              <a:gd name="T79" fmla="*/ 301 h 769"/>
              <a:gd name="T80" fmla="*/ 505 w 769"/>
              <a:gd name="T81" fmla="*/ 276 h 769"/>
              <a:gd name="T82" fmla="*/ 400 w 769"/>
              <a:gd name="T83" fmla="*/ 289 h 769"/>
              <a:gd name="T84" fmla="*/ 505 w 769"/>
              <a:gd name="T85" fmla="*/ 301 h 769"/>
              <a:gd name="T86" fmla="*/ 545 w 769"/>
              <a:gd name="T87" fmla="*/ 184 h 769"/>
              <a:gd name="T88" fmla="*/ 545 w 769"/>
              <a:gd name="T89" fmla="*/ 163 h 769"/>
              <a:gd name="T90" fmla="*/ 329 w 769"/>
              <a:gd name="T91" fmla="*/ 174 h 769"/>
              <a:gd name="T92" fmla="*/ 545 w 769"/>
              <a:gd name="T93" fmla="*/ 184 h 769"/>
              <a:gd name="T94" fmla="*/ 515 w 769"/>
              <a:gd name="T95" fmla="*/ 128 h 769"/>
              <a:gd name="T96" fmla="*/ 515 w 769"/>
              <a:gd name="T97" fmla="*/ 102 h 769"/>
              <a:gd name="T98" fmla="*/ 294 w 769"/>
              <a:gd name="T99" fmla="*/ 115 h 769"/>
              <a:gd name="T100" fmla="*/ 515 w 769"/>
              <a:gd name="T101" fmla="*/ 128 h 769"/>
              <a:gd name="T102" fmla="*/ 385 w 769"/>
              <a:gd name="T103" fmla="*/ 0 h 769"/>
              <a:gd name="T104" fmla="*/ 385 w 769"/>
              <a:gd name="T105" fmla="*/ 769 h 769"/>
              <a:gd name="T106" fmla="*/ 385 w 769"/>
              <a:gd name="T107" fmla="*/ 0 h 7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769" h="769">
                <a:moveTo>
                  <a:pt x="522" y="674"/>
                </a:moveTo>
                <a:cubicBezTo>
                  <a:pt x="522" y="674"/>
                  <a:pt x="522" y="674"/>
                  <a:pt x="522" y="674"/>
                </a:cubicBezTo>
                <a:cubicBezTo>
                  <a:pt x="520" y="674"/>
                  <a:pt x="518" y="673"/>
                  <a:pt x="515" y="672"/>
                </a:cubicBezTo>
                <a:cubicBezTo>
                  <a:pt x="510" y="668"/>
                  <a:pt x="509" y="661"/>
                  <a:pt x="513" y="655"/>
                </a:cubicBezTo>
                <a:cubicBezTo>
                  <a:pt x="530" y="632"/>
                  <a:pt x="538" y="608"/>
                  <a:pt x="538" y="583"/>
                </a:cubicBezTo>
                <a:cubicBezTo>
                  <a:pt x="538" y="549"/>
                  <a:pt x="524" y="517"/>
                  <a:pt x="494" y="485"/>
                </a:cubicBezTo>
                <a:cubicBezTo>
                  <a:pt x="467" y="457"/>
                  <a:pt x="431" y="432"/>
                  <a:pt x="400" y="411"/>
                </a:cubicBezTo>
                <a:cubicBezTo>
                  <a:pt x="392" y="405"/>
                  <a:pt x="384" y="400"/>
                  <a:pt x="377" y="395"/>
                </a:cubicBezTo>
                <a:cubicBezTo>
                  <a:pt x="372" y="391"/>
                  <a:pt x="366" y="388"/>
                  <a:pt x="361" y="384"/>
                </a:cubicBezTo>
                <a:cubicBezTo>
                  <a:pt x="293" y="337"/>
                  <a:pt x="208" y="278"/>
                  <a:pt x="208" y="197"/>
                </a:cubicBezTo>
                <a:cubicBezTo>
                  <a:pt x="208" y="180"/>
                  <a:pt x="212" y="163"/>
                  <a:pt x="219" y="146"/>
                </a:cubicBezTo>
                <a:cubicBezTo>
                  <a:pt x="226" y="132"/>
                  <a:pt x="235" y="117"/>
                  <a:pt x="247" y="103"/>
                </a:cubicBezTo>
                <a:cubicBezTo>
                  <a:pt x="252" y="98"/>
                  <a:pt x="259" y="97"/>
                  <a:pt x="264" y="101"/>
                </a:cubicBezTo>
                <a:cubicBezTo>
                  <a:pt x="269" y="105"/>
                  <a:pt x="269" y="113"/>
                  <a:pt x="265" y="118"/>
                </a:cubicBezTo>
                <a:cubicBezTo>
                  <a:pt x="243" y="144"/>
                  <a:pt x="232" y="170"/>
                  <a:pt x="232" y="197"/>
                </a:cubicBezTo>
                <a:cubicBezTo>
                  <a:pt x="232" y="227"/>
                  <a:pt x="246" y="257"/>
                  <a:pt x="277" y="288"/>
                </a:cubicBezTo>
                <a:cubicBezTo>
                  <a:pt x="305" y="316"/>
                  <a:pt x="342" y="342"/>
                  <a:pt x="374" y="364"/>
                </a:cubicBezTo>
                <a:cubicBezTo>
                  <a:pt x="380" y="368"/>
                  <a:pt x="385" y="372"/>
                  <a:pt x="390" y="376"/>
                </a:cubicBezTo>
                <a:cubicBezTo>
                  <a:pt x="398" y="381"/>
                  <a:pt x="405" y="386"/>
                  <a:pt x="413" y="391"/>
                </a:cubicBezTo>
                <a:cubicBezTo>
                  <a:pt x="446" y="414"/>
                  <a:pt x="483" y="439"/>
                  <a:pt x="511" y="469"/>
                </a:cubicBezTo>
                <a:cubicBezTo>
                  <a:pt x="545" y="505"/>
                  <a:pt x="562" y="542"/>
                  <a:pt x="562" y="583"/>
                </a:cubicBezTo>
                <a:cubicBezTo>
                  <a:pt x="562" y="612"/>
                  <a:pt x="552" y="641"/>
                  <a:pt x="532" y="669"/>
                </a:cubicBezTo>
                <a:cubicBezTo>
                  <a:pt x="530" y="672"/>
                  <a:pt x="526" y="674"/>
                  <a:pt x="522" y="674"/>
                </a:cubicBezTo>
                <a:close/>
                <a:moveTo>
                  <a:pt x="384" y="557"/>
                </a:moveTo>
                <a:cubicBezTo>
                  <a:pt x="390" y="557"/>
                  <a:pt x="395" y="551"/>
                  <a:pt x="395" y="544"/>
                </a:cubicBezTo>
                <a:cubicBezTo>
                  <a:pt x="395" y="537"/>
                  <a:pt x="390" y="531"/>
                  <a:pt x="384" y="531"/>
                </a:cubicBezTo>
                <a:cubicBezTo>
                  <a:pt x="235" y="531"/>
                  <a:pt x="235" y="531"/>
                  <a:pt x="235" y="531"/>
                </a:cubicBezTo>
                <a:cubicBezTo>
                  <a:pt x="228" y="531"/>
                  <a:pt x="223" y="537"/>
                  <a:pt x="223" y="544"/>
                </a:cubicBezTo>
                <a:cubicBezTo>
                  <a:pt x="223" y="551"/>
                  <a:pt x="228" y="557"/>
                  <a:pt x="235" y="557"/>
                </a:cubicBezTo>
                <a:cubicBezTo>
                  <a:pt x="384" y="557"/>
                  <a:pt x="384" y="557"/>
                  <a:pt x="384" y="557"/>
                </a:cubicBezTo>
                <a:cubicBezTo>
                  <a:pt x="384" y="557"/>
                  <a:pt x="384" y="557"/>
                  <a:pt x="384" y="557"/>
                </a:cubicBezTo>
                <a:close/>
                <a:moveTo>
                  <a:pt x="352" y="439"/>
                </a:moveTo>
                <a:cubicBezTo>
                  <a:pt x="359" y="439"/>
                  <a:pt x="365" y="435"/>
                  <a:pt x="365" y="429"/>
                </a:cubicBezTo>
                <a:cubicBezTo>
                  <a:pt x="365" y="423"/>
                  <a:pt x="359" y="419"/>
                  <a:pt x="352" y="419"/>
                </a:cubicBezTo>
                <a:cubicBezTo>
                  <a:pt x="332" y="419"/>
                  <a:pt x="332" y="419"/>
                  <a:pt x="332" y="419"/>
                </a:cubicBezTo>
                <a:cubicBezTo>
                  <a:pt x="325" y="419"/>
                  <a:pt x="319" y="423"/>
                  <a:pt x="319" y="429"/>
                </a:cubicBezTo>
                <a:cubicBezTo>
                  <a:pt x="319" y="435"/>
                  <a:pt x="325" y="439"/>
                  <a:pt x="332" y="439"/>
                </a:cubicBezTo>
                <a:cubicBezTo>
                  <a:pt x="352" y="439"/>
                  <a:pt x="352" y="439"/>
                  <a:pt x="352" y="439"/>
                </a:cubicBezTo>
                <a:cubicBezTo>
                  <a:pt x="352" y="439"/>
                  <a:pt x="352" y="439"/>
                  <a:pt x="352" y="439"/>
                </a:cubicBezTo>
                <a:close/>
                <a:moveTo>
                  <a:pt x="359" y="495"/>
                </a:moveTo>
                <a:cubicBezTo>
                  <a:pt x="365" y="495"/>
                  <a:pt x="370" y="491"/>
                  <a:pt x="370" y="485"/>
                </a:cubicBezTo>
                <a:cubicBezTo>
                  <a:pt x="370" y="479"/>
                  <a:pt x="365" y="475"/>
                  <a:pt x="359" y="475"/>
                </a:cubicBezTo>
                <a:cubicBezTo>
                  <a:pt x="265" y="475"/>
                  <a:pt x="265" y="475"/>
                  <a:pt x="265" y="475"/>
                </a:cubicBezTo>
                <a:cubicBezTo>
                  <a:pt x="259" y="475"/>
                  <a:pt x="254" y="479"/>
                  <a:pt x="254" y="485"/>
                </a:cubicBezTo>
                <a:cubicBezTo>
                  <a:pt x="254" y="491"/>
                  <a:pt x="259" y="495"/>
                  <a:pt x="265" y="495"/>
                </a:cubicBezTo>
                <a:cubicBezTo>
                  <a:pt x="359" y="495"/>
                  <a:pt x="359" y="495"/>
                  <a:pt x="359" y="495"/>
                </a:cubicBezTo>
                <a:cubicBezTo>
                  <a:pt x="359" y="495"/>
                  <a:pt x="359" y="495"/>
                  <a:pt x="359" y="495"/>
                </a:cubicBezTo>
                <a:close/>
                <a:moveTo>
                  <a:pt x="429" y="613"/>
                </a:moveTo>
                <a:cubicBezTo>
                  <a:pt x="435" y="613"/>
                  <a:pt x="441" y="607"/>
                  <a:pt x="441" y="600"/>
                </a:cubicBezTo>
                <a:cubicBezTo>
                  <a:pt x="441" y="593"/>
                  <a:pt x="435" y="587"/>
                  <a:pt x="429" y="587"/>
                </a:cubicBezTo>
                <a:cubicBezTo>
                  <a:pt x="225" y="587"/>
                  <a:pt x="225" y="587"/>
                  <a:pt x="225" y="587"/>
                </a:cubicBezTo>
                <a:cubicBezTo>
                  <a:pt x="218" y="587"/>
                  <a:pt x="213" y="593"/>
                  <a:pt x="213" y="600"/>
                </a:cubicBezTo>
                <a:cubicBezTo>
                  <a:pt x="213" y="607"/>
                  <a:pt x="218" y="613"/>
                  <a:pt x="225" y="613"/>
                </a:cubicBezTo>
                <a:cubicBezTo>
                  <a:pt x="429" y="613"/>
                  <a:pt x="429" y="613"/>
                  <a:pt x="429" y="613"/>
                </a:cubicBezTo>
                <a:cubicBezTo>
                  <a:pt x="429" y="613"/>
                  <a:pt x="429" y="613"/>
                  <a:pt x="429" y="613"/>
                </a:cubicBezTo>
                <a:close/>
                <a:moveTo>
                  <a:pt x="464" y="669"/>
                </a:moveTo>
                <a:cubicBezTo>
                  <a:pt x="471" y="669"/>
                  <a:pt x="476" y="663"/>
                  <a:pt x="476" y="656"/>
                </a:cubicBezTo>
                <a:cubicBezTo>
                  <a:pt x="476" y="649"/>
                  <a:pt x="471" y="643"/>
                  <a:pt x="464" y="643"/>
                </a:cubicBezTo>
                <a:cubicBezTo>
                  <a:pt x="255" y="643"/>
                  <a:pt x="255" y="643"/>
                  <a:pt x="255" y="643"/>
                </a:cubicBezTo>
                <a:cubicBezTo>
                  <a:pt x="249" y="643"/>
                  <a:pt x="244" y="649"/>
                  <a:pt x="244" y="656"/>
                </a:cubicBezTo>
                <a:cubicBezTo>
                  <a:pt x="244" y="663"/>
                  <a:pt x="249" y="669"/>
                  <a:pt x="255" y="669"/>
                </a:cubicBezTo>
                <a:cubicBezTo>
                  <a:pt x="464" y="669"/>
                  <a:pt x="464" y="669"/>
                  <a:pt x="464" y="669"/>
                </a:cubicBezTo>
                <a:cubicBezTo>
                  <a:pt x="464" y="669"/>
                  <a:pt x="464" y="669"/>
                  <a:pt x="464" y="669"/>
                </a:cubicBezTo>
                <a:close/>
                <a:moveTo>
                  <a:pt x="535" y="240"/>
                </a:moveTo>
                <a:cubicBezTo>
                  <a:pt x="541" y="240"/>
                  <a:pt x="547" y="235"/>
                  <a:pt x="547" y="230"/>
                </a:cubicBezTo>
                <a:cubicBezTo>
                  <a:pt x="547" y="224"/>
                  <a:pt x="541" y="220"/>
                  <a:pt x="535" y="220"/>
                </a:cubicBezTo>
                <a:cubicBezTo>
                  <a:pt x="386" y="220"/>
                  <a:pt x="386" y="220"/>
                  <a:pt x="386" y="220"/>
                </a:cubicBezTo>
                <a:cubicBezTo>
                  <a:pt x="380" y="220"/>
                  <a:pt x="375" y="224"/>
                  <a:pt x="375" y="230"/>
                </a:cubicBezTo>
                <a:cubicBezTo>
                  <a:pt x="375" y="235"/>
                  <a:pt x="380" y="240"/>
                  <a:pt x="386" y="240"/>
                </a:cubicBezTo>
                <a:cubicBezTo>
                  <a:pt x="535" y="240"/>
                  <a:pt x="535" y="240"/>
                  <a:pt x="535" y="240"/>
                </a:cubicBezTo>
                <a:cubicBezTo>
                  <a:pt x="535" y="240"/>
                  <a:pt x="535" y="240"/>
                  <a:pt x="535" y="240"/>
                </a:cubicBezTo>
                <a:close/>
                <a:moveTo>
                  <a:pt x="438" y="357"/>
                </a:moveTo>
                <a:cubicBezTo>
                  <a:pt x="445" y="357"/>
                  <a:pt x="451" y="352"/>
                  <a:pt x="451" y="345"/>
                </a:cubicBezTo>
                <a:cubicBezTo>
                  <a:pt x="451" y="338"/>
                  <a:pt x="445" y="332"/>
                  <a:pt x="438" y="332"/>
                </a:cubicBezTo>
                <a:cubicBezTo>
                  <a:pt x="418" y="332"/>
                  <a:pt x="418" y="332"/>
                  <a:pt x="418" y="332"/>
                </a:cubicBezTo>
                <a:cubicBezTo>
                  <a:pt x="411" y="332"/>
                  <a:pt x="405" y="338"/>
                  <a:pt x="405" y="345"/>
                </a:cubicBezTo>
                <a:cubicBezTo>
                  <a:pt x="405" y="352"/>
                  <a:pt x="411" y="357"/>
                  <a:pt x="418" y="357"/>
                </a:cubicBezTo>
                <a:cubicBezTo>
                  <a:pt x="438" y="357"/>
                  <a:pt x="438" y="357"/>
                  <a:pt x="438" y="357"/>
                </a:cubicBezTo>
                <a:cubicBezTo>
                  <a:pt x="438" y="357"/>
                  <a:pt x="438" y="357"/>
                  <a:pt x="438" y="357"/>
                </a:cubicBezTo>
                <a:close/>
                <a:moveTo>
                  <a:pt x="505" y="301"/>
                </a:moveTo>
                <a:cubicBezTo>
                  <a:pt x="511" y="301"/>
                  <a:pt x="516" y="296"/>
                  <a:pt x="516" y="289"/>
                </a:cubicBezTo>
                <a:cubicBezTo>
                  <a:pt x="516" y="282"/>
                  <a:pt x="511" y="276"/>
                  <a:pt x="505" y="276"/>
                </a:cubicBezTo>
                <a:cubicBezTo>
                  <a:pt x="412" y="276"/>
                  <a:pt x="412" y="276"/>
                  <a:pt x="412" y="276"/>
                </a:cubicBezTo>
                <a:cubicBezTo>
                  <a:pt x="405" y="276"/>
                  <a:pt x="400" y="282"/>
                  <a:pt x="400" y="289"/>
                </a:cubicBezTo>
                <a:cubicBezTo>
                  <a:pt x="400" y="296"/>
                  <a:pt x="405" y="301"/>
                  <a:pt x="412" y="301"/>
                </a:cubicBezTo>
                <a:cubicBezTo>
                  <a:pt x="505" y="301"/>
                  <a:pt x="505" y="301"/>
                  <a:pt x="505" y="301"/>
                </a:cubicBezTo>
                <a:cubicBezTo>
                  <a:pt x="505" y="301"/>
                  <a:pt x="505" y="301"/>
                  <a:pt x="505" y="301"/>
                </a:cubicBezTo>
                <a:close/>
                <a:moveTo>
                  <a:pt x="545" y="184"/>
                </a:moveTo>
                <a:cubicBezTo>
                  <a:pt x="552" y="184"/>
                  <a:pt x="557" y="179"/>
                  <a:pt x="557" y="174"/>
                </a:cubicBezTo>
                <a:cubicBezTo>
                  <a:pt x="557" y="168"/>
                  <a:pt x="552" y="163"/>
                  <a:pt x="545" y="163"/>
                </a:cubicBezTo>
                <a:cubicBezTo>
                  <a:pt x="341" y="163"/>
                  <a:pt x="341" y="163"/>
                  <a:pt x="341" y="163"/>
                </a:cubicBezTo>
                <a:cubicBezTo>
                  <a:pt x="335" y="163"/>
                  <a:pt x="329" y="168"/>
                  <a:pt x="329" y="174"/>
                </a:cubicBezTo>
                <a:cubicBezTo>
                  <a:pt x="329" y="179"/>
                  <a:pt x="335" y="184"/>
                  <a:pt x="341" y="184"/>
                </a:cubicBezTo>
                <a:cubicBezTo>
                  <a:pt x="545" y="184"/>
                  <a:pt x="545" y="184"/>
                  <a:pt x="545" y="184"/>
                </a:cubicBezTo>
                <a:cubicBezTo>
                  <a:pt x="545" y="184"/>
                  <a:pt x="545" y="184"/>
                  <a:pt x="545" y="184"/>
                </a:cubicBezTo>
                <a:close/>
                <a:moveTo>
                  <a:pt x="515" y="128"/>
                </a:moveTo>
                <a:cubicBezTo>
                  <a:pt x="521" y="128"/>
                  <a:pt x="526" y="122"/>
                  <a:pt x="526" y="115"/>
                </a:cubicBezTo>
                <a:cubicBezTo>
                  <a:pt x="526" y="108"/>
                  <a:pt x="521" y="102"/>
                  <a:pt x="515" y="102"/>
                </a:cubicBezTo>
                <a:cubicBezTo>
                  <a:pt x="306" y="102"/>
                  <a:pt x="306" y="102"/>
                  <a:pt x="306" y="102"/>
                </a:cubicBezTo>
                <a:cubicBezTo>
                  <a:pt x="299" y="102"/>
                  <a:pt x="294" y="108"/>
                  <a:pt x="294" y="115"/>
                </a:cubicBezTo>
                <a:cubicBezTo>
                  <a:pt x="294" y="122"/>
                  <a:pt x="299" y="128"/>
                  <a:pt x="306" y="128"/>
                </a:cubicBezTo>
                <a:cubicBezTo>
                  <a:pt x="515" y="128"/>
                  <a:pt x="515" y="128"/>
                  <a:pt x="515" y="128"/>
                </a:cubicBezTo>
                <a:cubicBezTo>
                  <a:pt x="515" y="128"/>
                  <a:pt x="515" y="128"/>
                  <a:pt x="515" y="128"/>
                </a:cubicBezTo>
                <a:close/>
                <a:moveTo>
                  <a:pt x="385" y="0"/>
                </a:moveTo>
                <a:cubicBezTo>
                  <a:pt x="173" y="0"/>
                  <a:pt x="0" y="172"/>
                  <a:pt x="0" y="384"/>
                </a:cubicBezTo>
                <a:cubicBezTo>
                  <a:pt x="0" y="597"/>
                  <a:pt x="173" y="769"/>
                  <a:pt x="385" y="769"/>
                </a:cubicBezTo>
                <a:cubicBezTo>
                  <a:pt x="597" y="769"/>
                  <a:pt x="769" y="597"/>
                  <a:pt x="769" y="384"/>
                </a:cubicBezTo>
                <a:cubicBezTo>
                  <a:pt x="769" y="172"/>
                  <a:pt x="597" y="0"/>
                  <a:pt x="385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  <a:alpha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39393B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4333129"/>
      </p:ext>
    </p:extLst>
  </p:cSld>
  <p:clrMapOvr>
    <a:masterClrMapping/>
  </p:clrMapOvr>
  <p:transition spd="slow">
    <p:wipe/>
  </p:transition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7977"/>
      </p:ext>
    </p:extLst>
  </p:cSld>
  <p:clrMapOvr>
    <a:masterClrMapping/>
  </p:clrMapOvr>
  <p:transition spd="med">
    <p:fade/>
  </p:transition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0965693"/>
      </p:ext>
    </p:extLst>
  </p:cSld>
  <p:clrMapOvr>
    <a:masterClrMapping/>
  </p:clrMapOvr>
  <p:transition spd="med">
    <p:fade/>
  </p:transition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4150594"/>
      </p:ext>
    </p:extLst>
  </p:cSld>
  <p:clrMapOvr>
    <a:masterClrMapping/>
  </p:clrMapOvr>
  <p:transition spd="med">
    <p:fade/>
  </p:transition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6638" y="1646238"/>
            <a:ext cx="19907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6399513"/>
      </p:ext>
    </p:extLst>
  </p:cSld>
  <p:clrMapOvr>
    <a:masterClrMapping/>
  </p:clrMapOvr>
  <p:transition spd="slow">
    <p:wipe/>
  </p:transition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7204222"/>
      </p:ext>
    </p:extLst>
  </p:cSld>
  <p:clrMapOvr>
    <a:masterClrMapping/>
  </p:clrMapOvr>
  <p:transition spd="slow">
    <p:wipe/>
  </p:transition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520874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CA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3612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8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8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1993" y="228348"/>
            <a:ext cx="2337109" cy="770461"/>
          </a:xfrm>
          <a:prstGeom prst="rect">
            <a:avLst/>
          </a:prstGeom>
        </p:spPr>
        <p:txBody>
          <a:bodyPr lIns="91358" tIns="45679" rIns="91358" bIns="45679" anchor="b" anchorCtr="0">
            <a:noAutofit/>
          </a:bodyPr>
          <a:lstStyle>
            <a:lvl1pPr marL="0" marR="0" indent="0" algn="l" defTabSz="68519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77757" y="227868"/>
            <a:ext cx="2337109" cy="770461"/>
          </a:xfrm>
          <a:prstGeom prst="rect">
            <a:avLst/>
          </a:prstGeom>
        </p:spPr>
        <p:txBody>
          <a:bodyPr lIns="91358" tIns="45679" rIns="91358" bIns="45679" anchor="b" anchorCtr="0">
            <a:noAutofit/>
          </a:bodyPr>
          <a:lstStyle>
            <a:lvl1pPr marL="0" marR="0" indent="0" algn="l" defTabSz="68519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354842" y="220508"/>
            <a:ext cx="2337109" cy="770461"/>
          </a:xfrm>
          <a:prstGeom prst="rect">
            <a:avLst/>
          </a:prstGeom>
        </p:spPr>
        <p:txBody>
          <a:bodyPr lIns="91358" tIns="45679" rIns="91358" bIns="45679" anchor="b" anchorCtr="0">
            <a:noAutofit/>
          </a:bodyPr>
          <a:lstStyle>
            <a:lvl1pPr marL="0" marR="0" indent="0" algn="l" defTabSz="685198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1965" y="1201094"/>
            <a:ext cx="2337110" cy="3314904"/>
          </a:xfrm>
          <a:prstGeom prst="rect">
            <a:avLst/>
          </a:prstGeom>
        </p:spPr>
        <p:txBody>
          <a:bodyPr lIns="91358" tIns="45679" rIns="91358" bIns="45679">
            <a:noAutofit/>
          </a:bodyPr>
          <a:lstStyle>
            <a:lvl1pPr marL="233133" indent="-1712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588" indent="-171292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77731" y="1200321"/>
            <a:ext cx="2337110" cy="3314904"/>
          </a:xfrm>
          <a:prstGeom prst="rect">
            <a:avLst/>
          </a:prstGeom>
        </p:spPr>
        <p:txBody>
          <a:bodyPr lIns="91358" tIns="45679" rIns="91358" bIns="45679">
            <a:noAutofit/>
          </a:bodyPr>
          <a:lstStyle>
            <a:lvl1pPr marL="233133" indent="-1712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588" indent="-171292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54814" y="1200321"/>
            <a:ext cx="2337110" cy="3314904"/>
          </a:xfrm>
          <a:prstGeom prst="rect">
            <a:avLst/>
          </a:prstGeom>
        </p:spPr>
        <p:txBody>
          <a:bodyPr lIns="91358" tIns="45679" rIns="91358" bIns="45679">
            <a:noAutofit/>
          </a:bodyPr>
          <a:lstStyle>
            <a:lvl1pPr marL="233133" indent="-1712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588" indent="-171292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115536201"/>
      </p:ext>
    </p:extLst>
  </p:cSld>
  <p:clrMapOvr>
    <a:masterClrMapping/>
  </p:clrMapOvr>
  <p:transition spd="med">
    <p:fade/>
  </p:transition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>
          <a:gsLst>
            <a:gs pos="0">
              <a:srgbClr val="049FD9"/>
            </a:gs>
            <a:gs pos="100000">
              <a:srgbClr val="004BAF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50" y="323850"/>
            <a:ext cx="941388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747688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ea typeface="ＭＳ Ｐゴシック" pitchFamily="34" charset="-128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ea typeface="ＭＳ Ｐゴシック" pitchFamily="34" charset="-128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ea typeface="ＭＳ Ｐゴシック" pitchFamily="34" charset="-128"/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ea typeface="ＭＳ Ｐゴシック" pitchFamily="34" charset="-128"/>
                <a:cs typeface="CiscoSans Thin"/>
              </a:rPr>
              <a:t>2016  </a:t>
            </a:r>
            <a:r>
              <a:rPr lang="en-US" sz="600" dirty="0">
                <a:solidFill>
                  <a:srgbClr val="FFFFFF">
                    <a:alpha val="60000"/>
                  </a:srgbClr>
                </a:solidFill>
                <a:ea typeface="ＭＳ Ｐゴシック" pitchFamily="34" charset="-128"/>
                <a:cs typeface="CiscoSans Thin"/>
              </a:rPr>
              <a:t>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667903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295705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624353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6638" y="1646238"/>
            <a:ext cx="19907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334211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5043"/>
            <a:ext cx="359666" cy="274637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r">
              <a:defRPr lang="en-US" sz="600" kern="1200" smtClean="0">
                <a:solidFill>
                  <a:srgbClr val="000000"/>
                </a:solidFill>
                <a:latin typeface="+mn-lt"/>
                <a:ea typeface="+mn-ea"/>
                <a:cs typeface="CiscoSans Thin"/>
              </a:defRPr>
            </a:lvl1pPr>
          </a:lstStyle>
          <a:p>
            <a:pPr defTabSz="457112" fontAlgn="base">
              <a:spcBef>
                <a:spcPct val="0"/>
              </a:spcBef>
              <a:spcAft>
                <a:spcPct val="0"/>
              </a:spcAft>
            </a:pPr>
            <a:fld id="{96A97DD0-5BE7-4856-A2A9-C42C6688E607}" type="slidenum">
              <a:rPr/>
              <a:pPr defTabSz="45711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22555" y="4946914"/>
            <a:ext cx="716863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74" tIns="30784" rIns="61574" bIns="30784" anchor="b">
            <a:spAutoFit/>
          </a:bodyPr>
          <a:lstStyle>
            <a:lvl1pPr algn="l">
              <a:defRPr lang="en-US" sz="600" dirty="0">
                <a:solidFill>
                  <a:srgbClr val="000000"/>
                </a:solidFill>
                <a:cs typeface="CiscoSans Thin"/>
              </a:defRPr>
            </a:lvl1pPr>
          </a:lstStyle>
          <a:p>
            <a:pPr defTabSz="610624" fontAlgn="base">
              <a:spcBef>
                <a:spcPct val="0"/>
              </a:spcBef>
              <a:spcAft>
                <a:spcPct val="0"/>
              </a:spcAft>
            </a:pPr>
            <a:r>
              <a:rPr smtClean="0">
                <a:ea typeface="ＭＳ Ｐゴシック" pitchFamily="34" charset="-128"/>
              </a:rPr>
              <a:t>Presentation ID</a:t>
            </a:r>
            <a:endParaRPr>
              <a:ea typeface="ＭＳ Ｐゴシック" pitchFamily="34" charset="-128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56616" y="217761"/>
            <a:ext cx="8513064" cy="765432"/>
          </a:xfrm>
        </p:spPr>
        <p:txBody>
          <a:bodyPr anchor="t"/>
          <a:lstStyle>
            <a:lvl1pPr>
              <a:defRPr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3281149"/>
      </p:ext>
    </p:extLst>
  </p:cSld>
  <p:clrMapOvr>
    <a:masterClrMapping/>
  </p:clrMapOvr>
  <p:transition/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5366" y="4690921"/>
            <a:ext cx="1537194" cy="289637"/>
          </a:xfrm>
          <a:prstGeom prst="rect">
            <a:avLst/>
          </a:prstGeom>
        </p:spPr>
      </p:pic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3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745255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676767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6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7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-8626" y="0"/>
            <a:ext cx="7502697" cy="1846053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42315" y="0"/>
            <a:ext cx="3301675" cy="184719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066" y="133350"/>
            <a:ext cx="672860" cy="35527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88" y="1230828"/>
            <a:ext cx="3412389" cy="599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75533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226644" y="2061713"/>
            <a:ext cx="7598042" cy="7591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ssion Title</a:t>
            </a:r>
            <a:endParaRPr lang="en-US" dirty="0"/>
          </a:p>
        </p:txBody>
      </p:sp>
      <p:sp>
        <p:nvSpPr>
          <p:cNvPr id="5" name="Rectangle 3"/>
          <p:cNvSpPr>
            <a:spLocks noChangeArrowheads="1"/>
          </p:cNvSpPr>
          <p:nvPr userDrawn="1"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 userDrawn="1"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8626" y="0"/>
            <a:ext cx="7502697" cy="1846053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42315" y="0"/>
            <a:ext cx="3301675" cy="184719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066" y="133350"/>
            <a:ext cx="672860" cy="355270"/>
          </a:xfrm>
          <a:prstGeom prst="rect">
            <a:avLst/>
          </a:prstGeom>
        </p:spPr>
      </p:pic>
      <p:sp>
        <p:nvSpPr>
          <p:cNvPr id="12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20440" y="3099325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6644" y="3681060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676767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4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226644" y="3921057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5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226644" y="4161054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88" y="1230828"/>
            <a:ext cx="3412389" cy="599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42031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760134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Why are we here today?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822449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Arial"/>
                <a:ea typeface="ＭＳ Ｐゴシック" charset="0"/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latin typeface="Arial"/>
                <a:ea typeface="ＭＳ Ｐゴシック" charset="0"/>
                <a:cs typeface="CiscoSans Thin"/>
              </a:rPr>
              <a:t>2015  </a:t>
            </a:r>
            <a:r>
              <a:rPr lang="en-US" sz="600" dirty="0">
                <a:solidFill>
                  <a:srgbClr val="FFFFFF">
                    <a:alpha val="60000"/>
                  </a:srgbClr>
                </a:solidFill>
                <a:latin typeface="Arial"/>
                <a:ea typeface="ＭＳ Ｐゴシック" charset="0"/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print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5366" y="4690921"/>
            <a:ext cx="1537194" cy="289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32012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6" y="1330326"/>
            <a:ext cx="3712779" cy="31019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58" tIns="45679" rIns="91358" bIns="45679" anchor="ctr"/>
          <a:lstStyle/>
          <a:p>
            <a:pPr algn="ctr" defTabSz="456833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358" tIns="45679" rIns="91358" bIns="45679">
            <a:noAutofit/>
          </a:bodyPr>
          <a:lstStyle>
            <a:lvl1pPr marL="85657" indent="-85657" algn="l" defTabSz="685198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657" indent="-85657" algn="l" defTabSz="685198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657" indent="-85657" algn="l" defTabSz="685198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657" indent="-85657" algn="l" defTabSz="685198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657" indent="-85657" algn="l" defTabSz="685198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148735" y="3552444"/>
            <a:ext cx="3506245" cy="253746"/>
          </a:xfrm>
          <a:prstGeom prst="rect">
            <a:avLst/>
          </a:prstGeom>
        </p:spPr>
        <p:txBody>
          <a:bodyPr lIns="91358" tIns="45679" rIns="91358" bIns="45679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93" y="1347788"/>
            <a:ext cx="3901123" cy="3083094"/>
          </a:xfrm>
          <a:prstGeom prst="rect">
            <a:avLst/>
          </a:prstGeom>
        </p:spPr>
        <p:txBody>
          <a:bodyPr lIns="91358" tIns="45679" rIns="91358" bIns="45679">
            <a:noAutofit/>
          </a:bodyPr>
          <a:lstStyle>
            <a:lvl1pPr marL="228372" indent="-1712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740" indent="-215672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058" indent="-171292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321" indent="-171292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611" indent="-171292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2" tIns="45681" rIns="91362" bIns="4568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4428495"/>
      </p:ext>
    </p:extLst>
  </p:cSld>
  <p:clrMapOvr>
    <a:masterClrMapping/>
  </p:clrMapOvr>
  <p:transition spd="med">
    <p:fade/>
  </p:transition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lvl="0"/>
            <a:r>
              <a:rPr lang="en-US" dirty="0" smtClean="0"/>
              <a:t>Why are we here today?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724507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404402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776745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9660" y="895601"/>
            <a:ext cx="8398739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51964180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12400" indent="-392400">
              <a:lnSpc>
                <a:spcPts val="444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10930480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405610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667907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970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928" y="302505"/>
            <a:ext cx="3715995" cy="826447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905964" y="302506"/>
            <a:ext cx="3715995" cy="826446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928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905964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438267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0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0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1963" y="22831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77728" y="22783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354813" y="22047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1963" y="1201094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54812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11293477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5" y="1330326"/>
            <a:ext cx="3712779" cy="31019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8" indent="-85718" algn="l" defTabSz="68572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148706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137799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2" tIns="45681" rIns="91362" bIns="4568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563085"/>
      </p:ext>
    </p:extLst>
  </p:cSld>
  <p:clrMapOvr>
    <a:masterClrMapping/>
  </p:clrMapOvr>
  <p:transition spd="med">
    <p:fade/>
  </p:transition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30702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600" indent="-399968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42004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3" y="1439060"/>
            <a:ext cx="3820348" cy="2265389"/>
          </a:xfrm>
        </p:spPr>
        <p:txBody>
          <a:bodyPr lIns="61715" tIns="34288" rIns="61715" bIns="34288" rtlCol="0" anchor="ctr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78774515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8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016618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5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662792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456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4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231856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379942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 userDrawn="1"/>
        </p:nvSpPr>
        <p:spPr>
          <a:xfrm>
            <a:off x="6085116" y="1622395"/>
            <a:ext cx="2318564" cy="2318564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4" name="Oval 3"/>
          <p:cNvSpPr/>
          <p:nvPr userDrawn="1"/>
        </p:nvSpPr>
        <p:spPr>
          <a:xfrm>
            <a:off x="3423230" y="1622395"/>
            <a:ext cx="2318564" cy="2318564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764271" y="1622395"/>
            <a:ext cx="2318564" cy="2318564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777485" y="280014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436444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098330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944636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 userDrawn="1"/>
        </p:nvSpPr>
        <p:spPr>
          <a:xfrm>
            <a:off x="774821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>
              <a:defRPr/>
            </a:pPr>
            <a:endParaRPr lang="en-US" kern="0">
              <a:solidFill>
                <a:prstClr val="white"/>
              </a:solidFill>
              <a:latin typeface="Arial"/>
              <a:ea typeface="ＭＳ Ｐゴシック" charset="0"/>
              <a:cs typeface="ＭＳ Ｐゴシック" charset="0"/>
            </a:endParaRPr>
          </a:p>
        </p:txBody>
      </p:sp>
      <p:sp>
        <p:nvSpPr>
          <p:cNvPr id="44" name="Oval 43"/>
          <p:cNvSpPr/>
          <p:nvPr userDrawn="1"/>
        </p:nvSpPr>
        <p:spPr>
          <a:xfrm>
            <a:off x="3422842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>
              <a:defRPr/>
            </a:pPr>
            <a:endParaRPr lang="en-US" kern="0">
              <a:solidFill>
                <a:prstClr val="white"/>
              </a:solidFill>
              <a:latin typeface="Arial"/>
              <a:ea typeface="ＭＳ Ｐゴシック" charset="0"/>
              <a:cs typeface="ＭＳ Ｐゴシック" charset="0"/>
            </a:endParaRPr>
          </a:p>
        </p:txBody>
      </p:sp>
      <p:sp>
        <p:nvSpPr>
          <p:cNvPr id="45" name="Oval 44"/>
          <p:cNvSpPr/>
          <p:nvPr userDrawn="1"/>
        </p:nvSpPr>
        <p:spPr>
          <a:xfrm>
            <a:off x="6087359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>
              <a:defRPr/>
            </a:pPr>
            <a:endParaRPr lang="en-US" kern="0">
              <a:solidFill>
                <a:prstClr val="white"/>
              </a:solidFill>
              <a:latin typeface="Arial"/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788797" y="3873138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436818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101335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52256385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00063" y="3486478"/>
            <a:ext cx="8139112" cy="500992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172800" indent="0">
              <a:lnSpc>
                <a:spcPts val="3680"/>
              </a:lnSpc>
              <a:spcBef>
                <a:spcPts val="0"/>
              </a:spcBef>
              <a:buNone/>
              <a:defRPr sz="24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89129877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358" tIns="45679" rIns="91358" bIns="45679" anchor="b" anchorCtr="0">
            <a:noAutofit/>
          </a:bodyPr>
          <a:lstStyle>
            <a:lvl1pPr marL="0" indent="0" algn="l" defTabSz="60311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6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461" indent="-399661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3526194"/>
      </p:ext>
    </p:extLst>
  </p:cSld>
  <p:clrMapOvr>
    <a:masterClrMapping/>
  </p:clrMapOvr>
  <p:transition spd="med">
    <p:fade/>
  </p:transition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308013" y="301037"/>
            <a:ext cx="8563172" cy="254217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program identity imag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24525691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9364858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7696178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0" y="596900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0" y="3595688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065871" y="3655079"/>
            <a:ext cx="5074070" cy="628650"/>
          </a:xfrm>
        </p:spPr>
        <p:txBody>
          <a:bodyPr anchor="ctr"/>
          <a:lstStyle>
            <a:lvl1pPr>
              <a:defRPr sz="2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74340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800" y="233363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77" tIns="34289" rIns="68577" bIns="34289" rtlCol="0" anchor="ctr" anchorCtr="0">
            <a:normAutofit/>
          </a:bodyPr>
          <a:lstStyle>
            <a:lvl1pPr marL="0" indent="0" algn="ctr" defTabSz="6857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0935" y="2480693"/>
            <a:ext cx="6729865" cy="1614419"/>
          </a:xfrm>
        </p:spPr>
        <p:txBody>
          <a:bodyPr>
            <a:noAutofit/>
          </a:bodyPr>
          <a:lstStyle>
            <a:lvl1pPr marL="0" marR="0" indent="0" algn="l" defTabSz="6857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6109392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607"/>
            <a:ext cx="3630612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4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7669" y="546734"/>
            <a:ext cx="4349918" cy="813985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35856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3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63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8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3" y="2271713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5" y="2271713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8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8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5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18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2271718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609894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61628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38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551663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671929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8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4" y="1439073"/>
            <a:ext cx="3820348" cy="2265389"/>
          </a:xfrm>
        </p:spPr>
        <p:txBody>
          <a:bodyPr lIns="61669" tIns="34286" rIns="61669" bIns="34286" rtlCol="0" anchor="ctr">
            <a:noAutofit/>
          </a:bodyPr>
          <a:lstStyle>
            <a:lvl1pPr marL="0" indent="0" algn="l" defTabSz="685227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1" y="654518"/>
            <a:ext cx="3865880" cy="3840480"/>
          </a:xfrm>
          <a:prstGeom prst="rect">
            <a:avLst/>
          </a:prstGeom>
        </p:spPr>
        <p:txBody>
          <a:bodyPr lIns="91358" tIns="45679" rIns="91358" bIns="45679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527881647"/>
      </p:ext>
    </p:extLst>
  </p:cSld>
  <p:clrMapOvr>
    <a:masterClrMapping/>
  </p:clrMapOvr>
  <p:transition spd="slow">
    <p:wipe/>
  </p:transition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088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740389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62" tIns="34282" rIns="68562" bIns="34282" anchor="ctr"/>
          <a:lstStyle/>
          <a:p>
            <a:pPr defTabSz="457048"/>
            <a:endParaRPr lang="en-US">
              <a:solidFill>
                <a:srgbClr val="000000"/>
              </a:solidFill>
              <a:latin typeface="CiscoSansTT ExtraLight"/>
              <a:ea typeface="ＭＳ Ｐゴシック" charset="0"/>
              <a:cs typeface="ＭＳ Ｐゴシック" charset="0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62" tIns="34282" rIns="68562" bIns="34282" anchor="ctr"/>
          <a:lstStyle/>
          <a:p>
            <a:pPr defTabSz="457048"/>
            <a:endParaRPr lang="en-US">
              <a:solidFill>
                <a:srgbClr val="000000"/>
              </a:solidFill>
              <a:latin typeface="CiscoSansTT ExtraLight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45456" y="571579"/>
            <a:ext cx="8301718" cy="256994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6625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"/>
          <p:cNvSpPr>
            <a:spLocks noChangeArrowheads="1"/>
          </p:cNvSpPr>
          <p:nvPr userDrawn="1"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62" tIns="34282" rIns="68562" bIns="34282" anchor="ctr"/>
          <a:lstStyle/>
          <a:p>
            <a:pPr defTabSz="457048"/>
            <a:endParaRPr lang="en-US">
              <a:solidFill>
                <a:srgbClr val="000000"/>
              </a:solidFill>
              <a:latin typeface="CiscoSansTT ExtraLight"/>
              <a:ea typeface="ＭＳ Ｐゴシック" charset="0"/>
              <a:cs typeface="ＭＳ Ｐゴシック" charset="0"/>
            </a:endParaRPr>
          </a:p>
        </p:txBody>
      </p:sp>
      <p:sp>
        <p:nvSpPr>
          <p:cNvPr id="47" name="Rectangle 3"/>
          <p:cNvSpPr>
            <a:spLocks noChangeArrowheads="1"/>
          </p:cNvSpPr>
          <p:nvPr userDrawn="1"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none" lIns="68562" tIns="34282" rIns="68562" bIns="34282" anchor="ctr"/>
          <a:lstStyle/>
          <a:p>
            <a:pPr defTabSz="457048"/>
            <a:endParaRPr lang="en-US">
              <a:solidFill>
                <a:srgbClr val="000000"/>
              </a:solidFill>
              <a:latin typeface="CiscoSansTT ExtraLight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245456" y="571579"/>
            <a:ext cx="8301718" cy="2569946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00" b="0" i="0" spc="0" baseline="0">
                <a:gradFill>
                  <a:gsLst>
                    <a:gs pos="0">
                      <a:schemeClr val="accent1"/>
                    </a:gs>
                    <a:gs pos="100000">
                      <a:srgbClr val="01BBBB"/>
                    </a:gs>
                  </a:gsLst>
                  <a:lin ang="1200000" scaled="0"/>
                </a:gra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773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5456" y="1249964"/>
            <a:ext cx="8582751" cy="3266034"/>
          </a:xfrm>
          <a:prstGeom prst="rect">
            <a:avLst/>
          </a:prstGeom>
        </p:spPr>
        <p:txBody>
          <a:bodyPr lIns="90868" tIns="45434" rIns="90868" bIns="45434">
            <a:noAutofit/>
          </a:bodyPr>
          <a:lstStyle>
            <a:lvl1pPr marL="279273" indent="-222549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1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4997" indent="-214613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43280" indent="-17044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5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05802" indent="-170449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076240" indent="-167274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259742" y="303064"/>
            <a:ext cx="8659976" cy="72878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90000"/>
              </a:lnSpc>
              <a:defRPr sz="2400" b="0" i="0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 smtClean="0"/>
              <a:t>Bullet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9457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9723" y="1004809"/>
            <a:ext cx="8551441" cy="3724274"/>
          </a:xfrm>
          <a:prstGeom prst="rect">
            <a:avLst/>
          </a:prstGeom>
        </p:spPr>
        <p:txBody>
          <a:bodyPr lIns="91406" tIns="45703" rIns="91406" bIns="45703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349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79C93FC0-D7A1-8E4C-8533-7C135B39AD43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 charset="0"/>
                <a:cs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1/24/17</a:t>
            </a:fld>
            <a:endParaRPr lang="en-US">
              <a:solidFill>
                <a:prstClr val="black">
                  <a:tint val="75000"/>
                </a:prstClr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31D9AD60-7C02-B945-B30E-51A866DF33A7}" type="slidenum">
              <a:rPr lang="en-US" smtClean="0">
                <a:solidFill>
                  <a:prstClr val="black">
                    <a:tint val="75000"/>
                  </a:prstClr>
                </a:solidFill>
                <a:latin typeface="Arial" charset="0"/>
                <a:ea typeface="ＭＳ Ｐゴシック" charset="0"/>
                <a:cs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8127306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84177"/>
            <a:ext cx="8513064" cy="434974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04800" y="1165227"/>
            <a:ext cx="8513064" cy="33305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742950"/>
            <a:ext cx="8513064" cy="381000"/>
          </a:xfrm>
          <a:prstGeom prst="rect">
            <a:avLst/>
          </a:prstGeom>
        </p:spPr>
        <p:txBody>
          <a:bodyPr/>
          <a:lstStyle>
            <a:lvl1pPr marL="1785" indent="0">
              <a:buNone/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60"/>
            <a:ext cx="383410" cy="274637"/>
          </a:xfrm>
          <a:prstGeom prst="rect">
            <a:avLst/>
          </a:prstGeom>
        </p:spPr>
        <p:txBody>
          <a:bodyPr vert="horz" lIns="91432" tIns="45716" rIns="91432" bIns="45716" rtlCol="0" anchor="ctr"/>
          <a:lstStyle>
            <a:lvl1pPr marL="0" algn="ctr" defTabSz="458055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FFFFFF"/>
                </a:solidFill>
                <a:latin typeface="Arial"/>
              </a:rPr>
              <a:pPr/>
              <a:t>‹#›</a:t>
            </a:fld>
            <a:endParaRPr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861473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7348" cy="5143500"/>
          </a:xfrm>
          <a:prstGeom prst="rect">
            <a:avLst/>
          </a:prstGeom>
        </p:spPr>
      </p:pic>
      <p:sp>
        <p:nvSpPr>
          <p:cNvPr id="14" name="Text Placeholder 2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500063" y="3476219"/>
            <a:ext cx="8139112" cy="521510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b" anchorCtr="0" compatLnSpc="1">
            <a:prstTxWarp prst="textNoShape">
              <a:avLst/>
            </a:prstTxWarp>
            <a:spAutoFit/>
          </a:bodyPr>
          <a:lstStyle>
            <a:lvl1pPr marL="172800" indent="-180000">
              <a:lnSpc>
                <a:spcPts val="3680"/>
              </a:lnSpc>
              <a:spcBef>
                <a:spcPts val="0"/>
              </a:spcBef>
              <a:buNone/>
              <a:defRPr sz="32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  <p:pic>
        <p:nvPicPr>
          <p:cNvPr id="11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base">
              <a:spcBef>
                <a:spcPct val="0"/>
              </a:spcBef>
              <a:spcAft>
                <a:spcPct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latin typeface="Arial"/>
                <a:ea typeface="ＭＳ Ｐゴシック" charset="0"/>
                <a:cs typeface="CiscoSans Thin"/>
              </a:rPr>
              <a:pPr algn="r" defTabSz="610744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latin typeface="Arial"/>
              <a:ea typeface="ＭＳ Ｐゴシック" charset="0"/>
              <a:cs typeface="CiscoSans Thin"/>
            </a:endParaRPr>
          </a:p>
        </p:txBody>
      </p:sp>
      <p:sp>
        <p:nvSpPr>
          <p:cNvPr id="12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latin typeface="Arial" charset="0"/>
                <a:ea typeface="ＭＳ Ｐゴシック" charset="0"/>
                <a:cs typeface="CiscoSans Thin"/>
              </a:rPr>
              <a:t>© 2015  Cisco and/or its affiliates. All rights reserved.   Cisco Confidential</a:t>
            </a:r>
            <a:endParaRPr lang="en-US" sz="600" dirty="0">
              <a:solidFill>
                <a:srgbClr val="FFFFFF">
                  <a:alpha val="60000"/>
                </a:srgbClr>
              </a:solidFill>
              <a:latin typeface="Arial" charset="0"/>
              <a:ea typeface="ＭＳ Ｐゴシック" charset="0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3950007346"/>
      </p:ext>
    </p:extLst>
  </p:cSld>
  <p:clrMapOvr>
    <a:masterClrMapping/>
  </p:clrMapOvr>
  <p:transition spd="slow">
    <p:wipe/>
  </p:transition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 userDrawn="1"/>
        </p:nvSpPr>
        <p:spPr bwMode="ltGray">
          <a:xfrm>
            <a:off x="7986159" y="4938385"/>
            <a:ext cx="589492" cy="131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61593" tIns="30796" rIns="61593" bIns="30796" anchor="b">
            <a:spAutoFit/>
          </a:bodyPr>
          <a:lstStyle/>
          <a:p>
            <a:pPr algn="r" defTabSz="610791" fontAlgn="base">
              <a:spcBef>
                <a:spcPct val="0"/>
              </a:spcBef>
              <a:spcAft>
                <a:spcPct val="0"/>
              </a:spcAft>
            </a:pPr>
            <a:r>
              <a:rPr lang="en-US" sz="450" dirty="0">
                <a:solidFill>
                  <a:srgbClr val="C0C0C0"/>
                </a:solidFill>
                <a:latin typeface="Arial"/>
                <a:ea typeface="ＭＳ Ｐゴシック" charset="0"/>
                <a:cs typeface="ＭＳ Ｐゴシック" charset="0"/>
              </a:rPr>
              <a:t>Cisco Confidential</a:t>
            </a:r>
          </a:p>
        </p:txBody>
      </p:sp>
      <p:sp>
        <p:nvSpPr>
          <p:cNvPr id="4" name="Rectangle 7"/>
          <p:cNvSpPr>
            <a:spLocks noChangeArrowheads="1"/>
          </p:cNvSpPr>
          <p:nvPr userDrawn="1"/>
        </p:nvSpPr>
        <p:spPr bwMode="ltGray">
          <a:xfrm>
            <a:off x="8715038" y="4935307"/>
            <a:ext cx="194918" cy="131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93" tIns="30796" rIns="61593" bIns="30796" anchor="b">
            <a:spAutoFit/>
          </a:bodyPr>
          <a:lstStyle/>
          <a:p>
            <a:pPr algn="r" defTabSz="610791" fontAlgn="base">
              <a:spcBef>
                <a:spcPct val="0"/>
              </a:spcBef>
              <a:spcAft>
                <a:spcPct val="0"/>
              </a:spcAft>
            </a:pPr>
            <a:fld id="{DFCF27A5-1A5B-48D3-A060-2758FFBB1ADD}" type="slidenum">
              <a:rPr lang="en-US" sz="450">
                <a:solidFill>
                  <a:srgbClr val="C0C0C0"/>
                </a:solidFill>
                <a:latin typeface="Arial"/>
                <a:ea typeface="ＭＳ Ｐゴシック" charset="0"/>
                <a:cs typeface="ＭＳ Ｐゴシック" charset="0"/>
              </a:rPr>
              <a:pPr algn="r" defTabSz="610791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450" dirty="0">
              <a:solidFill>
                <a:srgbClr val="C0C0C0"/>
              </a:solidFill>
              <a:latin typeface="Arial"/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251375" y="4939685"/>
            <a:ext cx="3420515" cy="131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93" tIns="30796" rIns="61593" bIns="30796" anchor="b" anchorCtr="0">
            <a:spAutoFit/>
          </a:bodyPr>
          <a:lstStyle/>
          <a:p>
            <a:pPr defTabSz="610791" fontAlgn="base">
              <a:spcBef>
                <a:spcPct val="0"/>
              </a:spcBef>
              <a:spcAft>
                <a:spcPct val="0"/>
              </a:spcAft>
            </a:pPr>
            <a:r>
              <a:rPr lang="en-US" sz="450" dirty="0" smtClean="0">
                <a:solidFill>
                  <a:srgbClr val="C0C0C0"/>
                </a:solidFill>
                <a:latin typeface="Arial"/>
                <a:ea typeface="ＭＳ Ｐゴシック" charset="0"/>
                <a:cs typeface="ＭＳ Ｐゴシック" charset="0"/>
              </a:rPr>
              <a:t>© 2010 Cisco and/or its affiliates. All rights reserved.</a:t>
            </a:r>
            <a:endParaRPr lang="en-US" sz="450" dirty="0">
              <a:solidFill>
                <a:srgbClr val="C0C0C0"/>
              </a:solidFill>
              <a:latin typeface="Arial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305551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16" y="-2571"/>
            <a:ext cx="9150431" cy="5148643"/>
          </a:xfrm>
          <a:prstGeom prst="rect">
            <a:avLst/>
          </a:prstGeom>
        </p:spPr>
      </p:pic>
      <p:pic>
        <p:nvPicPr>
          <p:cNvPr id="17" name="Picture 16" descr="pref_1-line_logo+tagline-rt-white-CMYK.ai"/>
          <p:cNvPicPr>
            <a:picLocks noChangeAspect="1"/>
          </p:cNvPicPr>
          <p:nvPr userDrawn="1"/>
        </p:nvPicPr>
        <p:blipFill>
          <a:blip r:embed="rId3">
            <a:duotone>
              <a:prstClr val="black"/>
              <a:schemeClr val="accent3">
                <a:tint val="45000"/>
                <a:satMod val="400000"/>
              </a:schemeClr>
            </a:duotone>
            <a:lum bright="-100000" contrast="-100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745" y="1643634"/>
            <a:ext cx="8760510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47347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29" tIns="34286" rIns="68529" bIns="34286" anchor="ctr"/>
          <a:lstStyle/>
          <a:p>
            <a:pPr defTabSz="685324"/>
            <a:endParaRPr lang="en-US">
              <a:solidFill>
                <a:srgbClr val="676767"/>
              </a:solidFill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29" tIns="34286" rIns="68529" bIns="34286" anchor="ctr"/>
          <a:lstStyle/>
          <a:p>
            <a:pPr defTabSz="685324"/>
            <a:endParaRPr lang="en-US">
              <a:solidFill>
                <a:srgbClr val="676767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5951590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90"/>
            <a:ext cx="8345488" cy="2658728"/>
          </a:xfrm>
          <a:prstGeom prst="rect">
            <a:avLst/>
          </a:prstGeom>
        </p:spPr>
        <p:txBody>
          <a:bodyPr lIns="91358" tIns="45679" rIns="91358" bIns="45679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9" y="4148250"/>
            <a:ext cx="7180312" cy="326233"/>
          </a:xfrm>
          <a:prstGeom prst="rect">
            <a:avLst/>
          </a:prstGeom>
        </p:spPr>
        <p:txBody>
          <a:bodyPr wrap="square" lIns="91358" tIns="45679" rIns="91358" bIns="45679" anchor="b" anchorCtr="0">
            <a:noAutofit/>
          </a:bodyPr>
          <a:lstStyle>
            <a:lvl1pPr algn="l" defTabSz="60311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2" tIns="45681" rIns="91362" bIns="4568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0199447"/>
      </p:ext>
    </p:extLst>
  </p:cSld>
  <p:clrMapOvr>
    <a:masterClrMapping/>
  </p:clrMapOvr>
  <p:transition spd="med">
    <p:fade/>
  </p:transition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accent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292593"/>
      </p:ext>
    </p:extLst>
  </p:cSld>
  <p:clrMapOvr>
    <a:masterClrMapping/>
  </p:clrMapOvr>
  <p:transition spd="slow">
    <p:wipe/>
  </p:transition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412" y="324000"/>
            <a:ext cx="941172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898041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uck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572" y="-5999"/>
            <a:ext cx="9153144" cy="5155499"/>
          </a:xfrm>
          <a:prstGeom prst="rect">
            <a:avLst/>
          </a:prstGeom>
        </p:spPr>
      </p:pic>
      <p:pic>
        <p:nvPicPr>
          <p:cNvPr id="15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6047" y="320675"/>
            <a:ext cx="948131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4D4D4D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78551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63904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499625"/>
      </p:ext>
    </p:extLst>
  </p:cSld>
  <p:clrMapOvr>
    <a:masterClrMapping/>
  </p:clrMapOvr>
  <p:transition spd="slow">
    <p:wipe/>
  </p:transition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15" y="3209550"/>
            <a:ext cx="4684867" cy="288131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25" y="2462027"/>
            <a:ext cx="4712557" cy="766763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3263758"/>
      </p:ext>
    </p:extLst>
  </p:cSld>
  <p:clrMapOvr>
    <a:masterClrMapping/>
  </p:clrMapOvr>
  <p:transition spd="slow">
    <p:wipe/>
  </p:transition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cs typeface="CiscoSans Thin"/>
              </a:rPr>
              <a:t>2015  </a:t>
            </a: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print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291072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920135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1382081"/>
      </p:ext>
    </p:extLst>
  </p:cSld>
  <p:clrMapOvr>
    <a:masterClrMapping/>
  </p:clrMapOvr>
  <p:transition spd="med">
    <p:fade/>
  </p:transition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55671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3317469"/>
      </p:ext>
    </p:extLst>
  </p:cSld>
  <p:clrMapOvr>
    <a:masterClrMapping/>
  </p:clrMapOvr>
  <p:transition spd="med">
    <p:fade/>
  </p:transition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173862"/>
      </p:ext>
    </p:extLst>
  </p:cSld>
  <p:clrMapOvr>
    <a:masterClrMapping/>
  </p:clrMapOvr>
  <p:transition spd="med">
    <p:fade/>
  </p:transition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9660" y="895601"/>
            <a:ext cx="8398739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061700550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6"/>
            <a:ext cx="8345488" cy="2660650"/>
          </a:xfrm>
          <a:prstGeom prst="rect">
            <a:avLst/>
          </a:prstGeom>
        </p:spPr>
        <p:txBody>
          <a:bodyPr vert="horz" lIns="91358" tIns="45679" rIns="91358" bIns="45679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9" y="4148250"/>
            <a:ext cx="7180312" cy="326233"/>
          </a:xfrm>
          <a:prstGeom prst="rect">
            <a:avLst/>
          </a:prstGeom>
        </p:spPr>
        <p:txBody>
          <a:bodyPr wrap="square" lIns="91358" tIns="45679" rIns="91358" bIns="45679" anchor="b" anchorCtr="0">
            <a:noAutofit/>
          </a:bodyPr>
          <a:lstStyle>
            <a:lvl1pPr algn="l" defTabSz="60311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2" tIns="45681" rIns="91362" bIns="4568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9489154"/>
      </p:ext>
    </p:extLst>
  </p:cSld>
  <p:clrMapOvr>
    <a:masterClrMapping/>
  </p:clrMapOvr>
  <p:transition spd="med">
    <p:fade/>
  </p:transition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12400" indent="-392400">
              <a:lnSpc>
                <a:spcPts val="444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44777040"/>
      </p:ext>
    </p:extLst>
  </p:cSld>
  <p:clrMapOvr>
    <a:masterClrMapping/>
  </p:clrMapOvr>
  <p:transition spd="med">
    <p:fade/>
  </p:transition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4303737"/>
      </p:ext>
    </p:extLst>
  </p:cSld>
  <p:clrMapOvr>
    <a:masterClrMapping/>
  </p:clrMapOvr>
  <p:transition spd="med">
    <p:fade/>
  </p:transition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0164322"/>
      </p:ext>
    </p:extLst>
  </p:cSld>
  <p:clrMapOvr>
    <a:masterClrMapping/>
  </p:clrMapOvr>
  <p:transition spd="med">
    <p:fade/>
  </p:transition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970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928" y="302505"/>
            <a:ext cx="3715995" cy="826447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905964" y="302506"/>
            <a:ext cx="3715995" cy="826446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928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905964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106180"/>
      </p:ext>
    </p:extLst>
  </p:cSld>
  <p:clrMapOvr>
    <a:masterClrMapping/>
  </p:clrMapOvr>
  <p:transition spd="med">
    <p:fade/>
  </p:transition>
  <p:hf hdr="0" ftr="0" dt="0"/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0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0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1963" y="22831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77728" y="22783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354813" y="22047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1963" y="1201094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54812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79322471"/>
      </p:ext>
    </p:extLst>
  </p:cSld>
  <p:clrMapOvr>
    <a:masterClrMapping/>
  </p:clrMapOvr>
  <p:transition spd="med">
    <p:fade/>
  </p:transition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5" y="1330326"/>
            <a:ext cx="3712779" cy="31019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8" indent="-85718" algn="l" defTabSz="68572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148706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6294457"/>
      </p:ext>
    </p:extLst>
  </p:cSld>
  <p:clrMapOvr>
    <a:masterClrMapping/>
  </p:clrMapOvr>
  <p:transition spd="med">
    <p:fade/>
  </p:transition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0897767"/>
      </p:ext>
    </p:extLst>
  </p:cSld>
  <p:clrMapOvr>
    <a:masterClrMapping/>
  </p:clrMapOvr>
  <p:transition spd="med">
    <p:fade/>
  </p:transition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600" indent="-399968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6202837"/>
      </p:ext>
    </p:extLst>
  </p:cSld>
  <p:clrMapOvr>
    <a:masterClrMapping/>
  </p:clrMapOvr>
  <p:transition spd="med">
    <p:fade/>
  </p:transition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3" y="1439060"/>
            <a:ext cx="3820348" cy="2265389"/>
          </a:xfrm>
        </p:spPr>
        <p:txBody>
          <a:bodyPr lIns="61715" tIns="34288" rIns="61715" bIns="34288" rtlCol="0" anchor="ctr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601002912"/>
      </p:ext>
    </p:extLst>
  </p:cSld>
  <p:clrMapOvr>
    <a:masterClrMapping/>
  </p:clrMapOvr>
  <p:transition spd="slow">
    <p:wipe/>
  </p:transition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8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noProof="0" smtClean="0"/>
              <a:t>Tabelle durch Klicken auf Symbol hinzufügen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6631581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8" y="1349456"/>
            <a:ext cx="4007001" cy="3040773"/>
          </a:xfrm>
          <a:prstGeom prst="rect">
            <a:avLst/>
          </a:prstGeom>
        </p:spPr>
        <p:txBody>
          <a:bodyPr lIns="91358" tIns="45679" rIns="91358" bIns="45679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99"/>
            <a:ext cx="4073346" cy="3039397"/>
          </a:xfrm>
          <a:prstGeom prst="rect">
            <a:avLst/>
          </a:prstGeom>
        </p:spPr>
        <p:txBody>
          <a:bodyPr vert="horz" lIns="91358" tIns="45679" rIns="91358" bIns="45679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2" tIns="45681" rIns="91362" bIns="4568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5330158"/>
      </p:ext>
    </p:extLst>
  </p:cSld>
  <p:clrMapOvr>
    <a:masterClrMapping/>
  </p:clrMapOvr>
  <p:transition spd="med">
    <p:fade/>
  </p:transition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5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Diagramm durch Klicken auf Symbol hinzufügen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5037284"/>
      </p:ext>
    </p:extLst>
  </p:cSld>
  <p:clrMapOvr>
    <a:masterClrMapping/>
  </p:clrMapOvr>
  <p:transition spd="med">
    <p:fade/>
  </p:transition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456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4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Diagramm durch Klicken auf Symbol hinzufügen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6593846"/>
      </p:ext>
    </p:extLst>
  </p:cSld>
  <p:clrMapOvr>
    <a:masterClrMapping/>
  </p:clrMapOvr>
  <p:transition spd="med">
    <p:fade/>
  </p:transition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3093700"/>
      </p:ext>
    </p:extLst>
  </p:cSld>
  <p:clrMapOvr>
    <a:masterClrMapping/>
  </p:clrMapOvr>
  <p:transition spd="med">
    <p:fade/>
  </p:transition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en-US"/>
          </a:p>
        </p:txBody>
      </p:sp>
      <p:sp>
        <p:nvSpPr>
          <p:cNvPr id="3" name="Oval 2"/>
          <p:cNvSpPr/>
          <p:nvPr userDrawn="1"/>
        </p:nvSpPr>
        <p:spPr>
          <a:xfrm>
            <a:off x="6085116" y="1622395"/>
            <a:ext cx="2318564" cy="2318564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Oval 3"/>
          <p:cNvSpPr/>
          <p:nvPr userDrawn="1"/>
        </p:nvSpPr>
        <p:spPr>
          <a:xfrm>
            <a:off x="3423230" y="1622395"/>
            <a:ext cx="2318564" cy="2318564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764271" y="1622395"/>
            <a:ext cx="2318564" cy="2318564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777485" y="280014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436444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098330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431552"/>
      </p:ext>
    </p:extLst>
  </p:cSld>
  <p:clrMapOvr>
    <a:masterClrMapping/>
  </p:clrMapOvr>
  <p:transition spd="slow">
    <p:wipe/>
  </p:transition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 userDrawn="1"/>
        </p:nvSpPr>
        <p:spPr>
          <a:xfrm>
            <a:off x="774821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44" name="Oval 43"/>
          <p:cNvSpPr/>
          <p:nvPr userDrawn="1"/>
        </p:nvSpPr>
        <p:spPr>
          <a:xfrm>
            <a:off x="3422842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45" name="Oval 44"/>
          <p:cNvSpPr/>
          <p:nvPr userDrawn="1"/>
        </p:nvSpPr>
        <p:spPr>
          <a:xfrm>
            <a:off x="6087359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788797" y="3873138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436818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101335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475175252"/>
      </p:ext>
    </p:extLst>
  </p:cSld>
  <p:clrMapOvr>
    <a:masterClrMapping/>
  </p:clrMapOvr>
  <p:transition spd="slow">
    <p:wipe/>
  </p:transition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00063" y="3486478"/>
            <a:ext cx="8139112" cy="500992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172800" indent="0">
              <a:lnSpc>
                <a:spcPts val="3680"/>
              </a:lnSpc>
              <a:spcBef>
                <a:spcPts val="0"/>
              </a:spcBef>
              <a:buNone/>
              <a:defRPr sz="24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349589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3" y="301037"/>
            <a:ext cx="8563172" cy="254217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5558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62143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58101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0" y="596900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0" y="3595688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065871" y="3655079"/>
            <a:ext cx="5074070" cy="628650"/>
          </a:xfrm>
        </p:spPr>
        <p:txBody>
          <a:bodyPr anchor="ctr"/>
          <a:lstStyle>
            <a:lvl1pPr>
              <a:defRPr sz="2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3446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8" y="1349354"/>
            <a:ext cx="4003995" cy="3040875"/>
          </a:xfrm>
          <a:prstGeom prst="rect">
            <a:avLst/>
          </a:prstGeom>
        </p:spPr>
        <p:txBody>
          <a:bodyPr lIns="91358" tIns="45679" rIns="91358" bIns="45679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358" tIns="45679" rIns="91358" bIns="45679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2" tIns="45681" rIns="91362" bIns="4568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5131539"/>
      </p:ext>
    </p:extLst>
  </p:cSld>
  <p:clrMapOvr>
    <a:masterClrMapping/>
  </p:clrMapOvr>
  <p:transition spd="med">
    <p:fade/>
  </p:transition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800" y="233363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77" tIns="34289" rIns="68577" bIns="34289" rtlCol="0" anchor="ctr" anchorCtr="0">
            <a:normAutofit/>
          </a:bodyPr>
          <a:lstStyle>
            <a:lvl1pPr marL="0" indent="0" algn="ctr" defTabSz="6857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0935" y="2480693"/>
            <a:ext cx="6729865" cy="1614419"/>
          </a:xfrm>
        </p:spPr>
        <p:txBody>
          <a:bodyPr>
            <a:noAutofit/>
          </a:bodyPr>
          <a:lstStyle>
            <a:lvl1pPr marL="0" marR="0" indent="0" algn="l" defTabSz="6857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0529457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607"/>
            <a:ext cx="3630612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4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7669" y="546734"/>
            <a:ext cx="4349918" cy="813985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0898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3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63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8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3" y="2271713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5" y="2271713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8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8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5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18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2271718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306967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01321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38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de-DE" noProof="0" smtClean="0"/>
              <a:t>Medien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26775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de-DE" noProof="0" smtClean="0"/>
              <a:t>Medien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229703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76545" y="1646238"/>
            <a:ext cx="1990911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3027799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16" y="-2571"/>
            <a:ext cx="9150431" cy="514864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1660" y="1643634"/>
            <a:ext cx="2080678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754558"/>
      </p:ext>
    </p:extLst>
  </p:cSld>
  <p:clrMapOvr>
    <a:masterClrMapping/>
  </p:clrMapOvr>
  <p:transition spd="slow">
    <p:wipe/>
  </p:transition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cs typeface="CiscoSans Thin"/>
              </a:rPr>
              <a:t>2015  </a:t>
            </a: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print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880782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Blank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72355" y="5000626"/>
            <a:ext cx="1714500" cy="14287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>
                <a:solidFill>
                  <a:srgbClr val="FFFFFF">
                    <a:lumMod val="50000"/>
                  </a:srgbClr>
                </a:solidFill>
                <a:ea typeface="ＭＳ Ｐゴシック" charset="0"/>
              </a:rPr>
              <a:t>Cisco Confidential</a:t>
            </a:r>
            <a:endParaRPr lang="en-US" dirty="0">
              <a:solidFill>
                <a:srgbClr val="FFFFFF">
                  <a:lumMod val="50000"/>
                </a:srgbClr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1732621"/>
      </p:ext>
    </p:extLst>
  </p:cSld>
  <p:clrMapOvr>
    <a:masterClrMapping/>
  </p:clrMapOvr>
  <p:transition spd="slow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 userDrawn="1"/>
        </p:nvSpPr>
        <p:spPr>
          <a:xfrm>
            <a:off x="6085117" y="1622395"/>
            <a:ext cx="2318564" cy="2318564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8" tIns="45689" rIns="91378" bIns="45689" rtlCol="0" anchor="ctr"/>
          <a:lstStyle/>
          <a:p>
            <a:pPr algn="ctr" defTabSz="456833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Oval 3"/>
          <p:cNvSpPr/>
          <p:nvPr userDrawn="1"/>
        </p:nvSpPr>
        <p:spPr>
          <a:xfrm>
            <a:off x="3423232" y="1622395"/>
            <a:ext cx="2318564" cy="2318564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8" tIns="45689" rIns="91378" bIns="45689" rtlCol="0" anchor="ctr"/>
          <a:lstStyle/>
          <a:p>
            <a:pPr algn="ctr" defTabSz="456833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764272" y="1622395"/>
            <a:ext cx="2318564" cy="2318564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8" tIns="45689" rIns="91378" bIns="45689" rtlCol="0" anchor="ctr"/>
          <a:lstStyle/>
          <a:p>
            <a:pPr algn="ctr" defTabSz="456833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777486" y="2800172"/>
            <a:ext cx="2292136" cy="603661"/>
          </a:xfrm>
          <a:prstGeom prst="rect">
            <a:avLst/>
          </a:prstGeom>
        </p:spPr>
        <p:txBody>
          <a:bodyPr lIns="91358" tIns="45679" rIns="91358" bIns="45679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436446" y="2798225"/>
            <a:ext cx="2292136" cy="603661"/>
          </a:xfrm>
          <a:prstGeom prst="rect">
            <a:avLst/>
          </a:prstGeom>
        </p:spPr>
        <p:txBody>
          <a:bodyPr lIns="91358" tIns="45679" rIns="91358" bIns="45679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098331" y="2798225"/>
            <a:ext cx="2292136" cy="603661"/>
          </a:xfrm>
          <a:prstGeom prst="rect">
            <a:avLst/>
          </a:prstGeom>
        </p:spPr>
        <p:txBody>
          <a:bodyPr lIns="91358" tIns="45679" rIns="91358" bIns="45679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 lIns="91378" tIns="45689" rIns="91378" bIns="45689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 lIns="91378" tIns="45689" rIns="91378" bIns="45689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 lIns="91378" tIns="45689" rIns="91378" bIns="45689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5124369"/>
      </p:ext>
    </p:extLst>
  </p:cSld>
  <p:clrMapOvr>
    <a:masterClrMapping/>
  </p:clrMapOvr>
  <p:transition spd="slow">
    <p:wipe/>
  </p:transition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441DB5E-112B-4282-A81D-4DF513D509F3}" type="datetimeFigureOut">
              <a:rPr lang="en-US" smtClean="0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1/24/17</a:t>
            </a:fld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B4050076-0F80-48CC-9558-ACB9C7645F84}" type="slidenum">
              <a:rPr lang="en-US" smtClean="0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8650837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7275" y="206276"/>
            <a:ext cx="7800556" cy="8572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7275" y="1157287"/>
            <a:ext cx="7800556" cy="3394175"/>
          </a:xfrm>
          <a:prstGeom prst="rect">
            <a:avLst/>
          </a:prstGeom>
        </p:spPr>
        <p:txBody>
          <a:bodyPr/>
          <a:lstStyle>
            <a:lvl1pPr>
              <a:spcBef>
                <a:spcPts val="675"/>
              </a:spcBef>
              <a:defRPr/>
            </a:lvl1pPr>
            <a:lvl2pPr>
              <a:spcBef>
                <a:spcPts val="675"/>
              </a:spcBef>
              <a:defRPr sz="1600"/>
            </a:lvl2pPr>
            <a:lvl3pPr>
              <a:spcBef>
                <a:spcPts val="675"/>
              </a:spcBef>
              <a:defRPr/>
            </a:lvl3pPr>
            <a:lvl4pPr>
              <a:spcBef>
                <a:spcPts val="675"/>
              </a:spcBef>
              <a:defRPr/>
            </a:lvl4pPr>
            <a:lvl5pPr>
              <a:spcBef>
                <a:spcPts val="675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57275" y="642937"/>
            <a:ext cx="7800556" cy="3857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700" dirty="0" smtClean="0">
                <a:solidFill>
                  <a:schemeClr val="accent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28408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cs typeface="CiscoSans Thin"/>
              </a:rPr>
              <a:t>2015  </a:t>
            </a: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print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91420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8947"/>
            <a:ext cx="8513064" cy="765432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04800" y="1077914"/>
            <a:ext cx="8513064" cy="3398837"/>
          </a:xfrm>
          <a:prstGeom prst="rect">
            <a:avLst/>
          </a:prstGeom>
        </p:spPr>
        <p:txBody>
          <a:bodyPr lIns="91436" tIns="45718" rIns="91436" bIns="45718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59"/>
            <a:ext cx="383410" cy="27463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marL="0" algn="ctr" defTabSz="458074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57312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412" y="324000"/>
            <a:ext cx="941172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734600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uck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572" y="-5999"/>
            <a:ext cx="9153144" cy="5155499"/>
          </a:xfrm>
          <a:prstGeom prst="rect">
            <a:avLst/>
          </a:prstGeom>
        </p:spPr>
      </p:pic>
      <p:pic>
        <p:nvPicPr>
          <p:cNvPr id="15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6047" y="320675"/>
            <a:ext cx="948131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4D4D4D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78551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63904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3996120"/>
      </p:ext>
    </p:extLst>
  </p:cSld>
  <p:clrMapOvr>
    <a:masterClrMapping/>
  </p:clrMapOvr>
  <p:transition spd="slow">
    <p:wipe/>
  </p:transition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15" y="3209550"/>
            <a:ext cx="4684867" cy="288131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25" y="2462027"/>
            <a:ext cx="4712557" cy="766763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50243533"/>
      </p:ext>
    </p:extLst>
  </p:cSld>
  <p:clrMapOvr>
    <a:masterClrMapping/>
  </p:clrMapOvr>
  <p:transition spd="slow">
    <p:wipe/>
  </p:transition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cs typeface="CiscoSans Thin"/>
              </a:rPr>
              <a:t>2015  </a:t>
            </a: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print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69925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274344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0448323"/>
      </p:ext>
    </p:extLst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 userDrawn="1"/>
        </p:nvSpPr>
        <p:spPr>
          <a:xfrm>
            <a:off x="774851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31" tIns="34286" rIns="68531" bIns="34286" anchor="ctr"/>
          <a:lstStyle/>
          <a:p>
            <a:pPr algn="ctr" defTabSz="913709">
              <a:defRPr/>
            </a:pPr>
            <a:endParaRPr lang="en-US" kern="0">
              <a:solidFill>
                <a:prstClr val="white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44" name="Oval 43"/>
          <p:cNvSpPr/>
          <p:nvPr userDrawn="1"/>
        </p:nvSpPr>
        <p:spPr>
          <a:xfrm>
            <a:off x="3422849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31" tIns="34286" rIns="68531" bIns="34286" anchor="ctr"/>
          <a:lstStyle/>
          <a:p>
            <a:pPr algn="ctr" defTabSz="913709">
              <a:defRPr/>
            </a:pPr>
            <a:endParaRPr lang="en-US" kern="0">
              <a:solidFill>
                <a:prstClr val="white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45" name="Oval 44"/>
          <p:cNvSpPr/>
          <p:nvPr userDrawn="1"/>
        </p:nvSpPr>
        <p:spPr>
          <a:xfrm>
            <a:off x="6087387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31" tIns="34286" rIns="68531" bIns="34286" anchor="ctr"/>
          <a:lstStyle/>
          <a:p>
            <a:pPr algn="ctr" defTabSz="913709">
              <a:defRPr/>
            </a:pPr>
            <a:endParaRPr lang="en-US" kern="0">
              <a:solidFill>
                <a:prstClr val="white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2" tIns="45681" rIns="91362" bIns="4568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77496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362" tIns="45681" rIns="91362" bIns="45681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362" tIns="45681" rIns="91362" bIns="45681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362" tIns="45681" rIns="91362" bIns="45681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788799" y="3873168"/>
            <a:ext cx="2292136" cy="603661"/>
          </a:xfrm>
          <a:prstGeom prst="rect">
            <a:avLst/>
          </a:prstGeom>
        </p:spPr>
        <p:txBody>
          <a:bodyPr lIns="91358" tIns="45679" rIns="91358" bIns="45679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436818" y="3871221"/>
            <a:ext cx="2292136" cy="603661"/>
          </a:xfrm>
          <a:prstGeom prst="rect">
            <a:avLst/>
          </a:prstGeom>
        </p:spPr>
        <p:txBody>
          <a:bodyPr lIns="91358" tIns="45679" rIns="91358" bIns="45679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101337" y="3871221"/>
            <a:ext cx="2292136" cy="603661"/>
          </a:xfrm>
          <a:prstGeom prst="rect">
            <a:avLst/>
          </a:prstGeom>
        </p:spPr>
        <p:txBody>
          <a:bodyPr lIns="91358" tIns="45679" rIns="91358" bIns="45679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259048853"/>
      </p:ext>
    </p:extLst>
  </p:cSld>
  <p:clrMapOvr>
    <a:masterClrMapping/>
  </p:clrMapOvr>
  <p:transition spd="slow">
    <p:wipe/>
  </p:transition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55671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2190714"/>
      </p:ext>
    </p:extLst>
  </p:cSld>
  <p:clrMapOvr>
    <a:masterClrMapping/>
  </p:clrMapOvr>
  <p:transition spd="med">
    <p:fade/>
  </p:transition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1011085"/>
      </p:ext>
    </p:extLst>
  </p:cSld>
  <p:clrMapOvr>
    <a:masterClrMapping/>
  </p:clrMapOvr>
  <p:transition spd="med">
    <p:fade/>
  </p:transition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9660" y="895601"/>
            <a:ext cx="8398739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14089483"/>
      </p:ext>
    </p:extLst>
  </p:cSld>
  <p:clrMapOvr>
    <a:masterClrMapping/>
  </p:clrMapOvr>
  <p:transition spd="med">
    <p:fade/>
  </p:transition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12400" indent="-392400">
              <a:lnSpc>
                <a:spcPts val="444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874432422"/>
      </p:ext>
    </p:extLst>
  </p:cSld>
  <p:clrMapOvr>
    <a:masterClrMapping/>
  </p:clrMapOvr>
  <p:transition spd="med">
    <p:fade/>
  </p:transition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7446060"/>
      </p:ext>
    </p:extLst>
  </p:cSld>
  <p:clrMapOvr>
    <a:masterClrMapping/>
  </p:clrMapOvr>
  <p:transition spd="med">
    <p:fade/>
  </p:transition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6974657"/>
      </p:ext>
    </p:extLst>
  </p:cSld>
  <p:clrMapOvr>
    <a:masterClrMapping/>
  </p:clrMapOvr>
  <p:transition spd="med">
    <p:fade/>
  </p:transition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970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928" y="302505"/>
            <a:ext cx="3715995" cy="826447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905964" y="302506"/>
            <a:ext cx="3715995" cy="826446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928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905964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6054325"/>
      </p:ext>
    </p:extLst>
  </p:cSld>
  <p:clrMapOvr>
    <a:masterClrMapping/>
  </p:clrMapOvr>
  <p:transition spd="med">
    <p:fade/>
  </p:transition>
  <p:hf hdr="0" ftr="0" dt="0"/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0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0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1963" y="22831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77728" y="22783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354813" y="22047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1963" y="1201094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54812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965996871"/>
      </p:ext>
    </p:extLst>
  </p:cSld>
  <p:clrMapOvr>
    <a:masterClrMapping/>
  </p:clrMapOvr>
  <p:transition spd="med">
    <p:fade/>
  </p:transition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5" y="1330326"/>
            <a:ext cx="3712779" cy="31019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8" indent="-85718" algn="l" defTabSz="68572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148706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1879002"/>
      </p:ext>
    </p:extLst>
  </p:cSld>
  <p:clrMapOvr>
    <a:masterClrMapping/>
  </p:clrMapOvr>
  <p:transition spd="med">
    <p:fade/>
  </p:transition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1037094"/>
      </p:ext>
    </p:extLst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5" y="462918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358" tIns="45679" rIns="91358" bIns="45679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00064" y="3476652"/>
            <a:ext cx="8139112" cy="520648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7909" tIns="0" rIns="91378" bIns="45689" numCol="1" anchor="ctr" anchorCtr="0" compatLnSpc="1">
            <a:prstTxWarp prst="textNoShape">
              <a:avLst/>
            </a:prstTxWarp>
            <a:spAutoFit/>
          </a:bodyPr>
          <a:lstStyle>
            <a:lvl1pPr marL="172677" indent="0">
              <a:lnSpc>
                <a:spcPts val="3680"/>
              </a:lnSpc>
              <a:spcBef>
                <a:spcPts val="0"/>
              </a:spcBef>
              <a:buNone/>
              <a:defRPr sz="24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218870868"/>
      </p:ext>
    </p:extLst>
  </p:cSld>
  <p:clrMapOvr>
    <a:masterClrMapping/>
  </p:clrMapOvr>
  <p:transition spd="slow">
    <p:wipe/>
  </p:transition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600" indent="-399968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540376"/>
      </p:ext>
    </p:extLst>
  </p:cSld>
  <p:clrMapOvr>
    <a:masterClrMapping/>
  </p:clrMapOvr>
  <p:transition spd="med">
    <p:fade/>
  </p:transition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3" y="1439060"/>
            <a:ext cx="3820348" cy="2265389"/>
          </a:xfrm>
        </p:spPr>
        <p:txBody>
          <a:bodyPr lIns="61715" tIns="34288" rIns="61715" bIns="34288" rtlCol="0" anchor="ctr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702435514"/>
      </p:ext>
    </p:extLst>
  </p:cSld>
  <p:clrMapOvr>
    <a:masterClrMapping/>
  </p:clrMapOvr>
  <p:transition spd="slow">
    <p:wipe/>
  </p:transition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8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noProof="0" smtClean="0"/>
              <a:t>Tabelle durch Klicken auf Symbol hinzufügen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1175975"/>
      </p:ext>
    </p:extLst>
  </p:cSld>
  <p:clrMapOvr>
    <a:masterClrMapping/>
  </p:clrMapOvr>
  <p:transition spd="med">
    <p:fade/>
  </p:transition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5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Diagramm durch Klicken auf Symbol hinzufügen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791985"/>
      </p:ext>
    </p:extLst>
  </p:cSld>
  <p:clrMapOvr>
    <a:masterClrMapping/>
  </p:clrMapOvr>
  <p:transition spd="med">
    <p:fade/>
  </p:transition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456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4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Diagramm durch Klicken auf Symbol hinzufügen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4303732"/>
      </p:ext>
    </p:extLst>
  </p:cSld>
  <p:clrMapOvr>
    <a:masterClrMapping/>
  </p:clrMapOvr>
  <p:transition spd="med">
    <p:fade/>
  </p:transition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8373450"/>
      </p:ext>
    </p:extLst>
  </p:cSld>
  <p:clrMapOvr>
    <a:masterClrMapping/>
  </p:clrMapOvr>
  <p:transition spd="med">
    <p:fade/>
  </p:transition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en-US"/>
          </a:p>
        </p:txBody>
      </p:sp>
      <p:sp>
        <p:nvSpPr>
          <p:cNvPr id="3" name="Oval 2"/>
          <p:cNvSpPr/>
          <p:nvPr userDrawn="1"/>
        </p:nvSpPr>
        <p:spPr>
          <a:xfrm>
            <a:off x="6085116" y="1622395"/>
            <a:ext cx="2318564" cy="2318564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Oval 3"/>
          <p:cNvSpPr/>
          <p:nvPr userDrawn="1"/>
        </p:nvSpPr>
        <p:spPr>
          <a:xfrm>
            <a:off x="3423230" y="1622395"/>
            <a:ext cx="2318564" cy="2318564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764271" y="1622395"/>
            <a:ext cx="2318564" cy="2318564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777485" y="280014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436444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098330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1545278"/>
      </p:ext>
    </p:extLst>
  </p:cSld>
  <p:clrMapOvr>
    <a:masterClrMapping/>
  </p:clrMapOvr>
  <p:transition spd="slow">
    <p:wipe/>
  </p:transition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 userDrawn="1"/>
        </p:nvSpPr>
        <p:spPr>
          <a:xfrm>
            <a:off x="774821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44" name="Oval 43"/>
          <p:cNvSpPr/>
          <p:nvPr userDrawn="1"/>
        </p:nvSpPr>
        <p:spPr>
          <a:xfrm>
            <a:off x="3422842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45" name="Oval 44"/>
          <p:cNvSpPr/>
          <p:nvPr userDrawn="1"/>
        </p:nvSpPr>
        <p:spPr>
          <a:xfrm>
            <a:off x="6087359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788797" y="3873138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436818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101335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630434428"/>
      </p:ext>
    </p:extLst>
  </p:cSld>
  <p:clrMapOvr>
    <a:masterClrMapping/>
  </p:clrMapOvr>
  <p:transition spd="slow">
    <p:wipe/>
  </p:transition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00063" y="3486478"/>
            <a:ext cx="8139112" cy="500992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172800" indent="0">
              <a:lnSpc>
                <a:spcPts val="3680"/>
              </a:lnSpc>
              <a:spcBef>
                <a:spcPts val="0"/>
              </a:spcBef>
              <a:buNone/>
              <a:defRPr sz="24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490532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3" y="301037"/>
            <a:ext cx="8563172" cy="254217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226823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4" y="301067"/>
            <a:ext cx="8563172" cy="2542175"/>
          </a:xfrm>
          <a:prstGeom prst="rect">
            <a:avLst/>
          </a:prstGeom>
        </p:spPr>
        <p:txBody>
          <a:bodyPr vert="horz" lIns="91358" tIns="45679" rIns="91358" bIns="45679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6" y="3054548"/>
            <a:ext cx="8364236" cy="564257"/>
          </a:xfrm>
          <a:prstGeom prst="rect">
            <a:avLst/>
          </a:prstGeom>
        </p:spPr>
        <p:txBody>
          <a:bodyPr vert="horz" wrap="square" lIns="91378" tIns="45689" rIns="91378" bIns="45689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981487182"/>
      </p:ext>
    </p:extLst>
  </p:cSld>
  <p:clrMapOvr>
    <a:masterClrMapping/>
  </p:clrMapOvr>
  <p:transition spd="slow">
    <p:wipe/>
  </p:transition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33427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05582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0" y="596900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0" y="3595688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065871" y="3655079"/>
            <a:ext cx="5074070" cy="628650"/>
          </a:xfrm>
        </p:spPr>
        <p:txBody>
          <a:bodyPr anchor="ctr"/>
          <a:lstStyle>
            <a:lvl1pPr>
              <a:defRPr sz="2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9325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800" y="233363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77" tIns="34289" rIns="68577" bIns="34289" rtlCol="0" anchor="ctr" anchorCtr="0">
            <a:normAutofit/>
          </a:bodyPr>
          <a:lstStyle>
            <a:lvl1pPr marL="0" indent="0" algn="ctr" defTabSz="6857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0935" y="2480693"/>
            <a:ext cx="6729865" cy="1614419"/>
          </a:xfrm>
        </p:spPr>
        <p:txBody>
          <a:bodyPr>
            <a:noAutofit/>
          </a:bodyPr>
          <a:lstStyle>
            <a:lvl1pPr marL="0" marR="0" indent="0" algn="l" defTabSz="6857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8987135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607"/>
            <a:ext cx="3630612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4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7669" y="546734"/>
            <a:ext cx="4349918" cy="813985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72111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3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63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8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3" y="2271713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5" y="2271713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8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8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5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18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2271718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519982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28619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38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de-DE" noProof="0" smtClean="0"/>
              <a:t>Medien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669933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de-DE" noProof="0" smtClean="0"/>
              <a:t>Medien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82365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76545" y="1646238"/>
            <a:ext cx="1990911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3886244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5" y="462918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358" tIns="45679" rIns="91358" bIns="45679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3837696"/>
      </p:ext>
    </p:extLst>
  </p:cSld>
  <p:clrMapOvr>
    <a:masterClrMapping/>
  </p:clrMapOvr>
  <p:transition spd="slow">
    <p:wipe/>
  </p:transition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16" y="-2571"/>
            <a:ext cx="9150431" cy="514864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1660" y="1643634"/>
            <a:ext cx="2080678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450150"/>
      </p:ext>
    </p:extLst>
  </p:cSld>
  <p:clrMapOvr>
    <a:masterClrMapping/>
  </p:clrMapOvr>
  <p:transition spd="slow">
    <p:wipe/>
  </p:transition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cs typeface="CiscoSans Thin"/>
              </a:rPr>
              <a:t>2015  </a:t>
            </a: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print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134516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Blank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72355" y="5000626"/>
            <a:ext cx="1714500" cy="14287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>
                <a:solidFill>
                  <a:srgbClr val="FFFFFF">
                    <a:lumMod val="50000"/>
                  </a:srgbClr>
                </a:solidFill>
                <a:ea typeface="ＭＳ Ｐゴシック" charset="0"/>
              </a:rPr>
              <a:t>Cisco Confidential</a:t>
            </a:r>
            <a:endParaRPr lang="en-US" dirty="0">
              <a:solidFill>
                <a:srgbClr val="FFFFFF">
                  <a:lumMod val="50000"/>
                </a:srgbClr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3655303"/>
      </p:ext>
    </p:extLst>
  </p:cSld>
  <p:clrMapOvr>
    <a:masterClrMapping/>
  </p:clrMapOvr>
  <p:transition spd="slow">
    <p:fade/>
  </p:transition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441DB5E-112B-4282-A81D-4DF513D509F3}" type="datetimeFigureOut">
              <a:rPr lang="en-US" smtClean="0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1/24/17</a:t>
            </a:fld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B4050076-0F80-48CC-9558-ACB9C7645F84}" type="slidenum">
              <a:rPr lang="en-US" smtClean="0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000933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7275" y="206276"/>
            <a:ext cx="7800556" cy="8572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7275" y="1157287"/>
            <a:ext cx="7800556" cy="3394175"/>
          </a:xfrm>
          <a:prstGeom prst="rect">
            <a:avLst/>
          </a:prstGeom>
        </p:spPr>
        <p:txBody>
          <a:bodyPr/>
          <a:lstStyle>
            <a:lvl1pPr>
              <a:spcBef>
                <a:spcPts val="675"/>
              </a:spcBef>
              <a:defRPr/>
            </a:lvl1pPr>
            <a:lvl2pPr>
              <a:spcBef>
                <a:spcPts val="675"/>
              </a:spcBef>
              <a:defRPr sz="1600"/>
            </a:lvl2pPr>
            <a:lvl3pPr>
              <a:spcBef>
                <a:spcPts val="675"/>
              </a:spcBef>
              <a:defRPr/>
            </a:lvl3pPr>
            <a:lvl4pPr>
              <a:spcBef>
                <a:spcPts val="675"/>
              </a:spcBef>
              <a:defRPr/>
            </a:lvl4pPr>
            <a:lvl5pPr>
              <a:spcBef>
                <a:spcPts val="675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57275" y="642937"/>
            <a:ext cx="7800556" cy="3857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700" dirty="0" smtClean="0">
                <a:solidFill>
                  <a:schemeClr val="accent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02241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cs typeface="CiscoSans Thin"/>
              </a:rPr>
              <a:t>2015  </a:t>
            </a: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print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918999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8947"/>
            <a:ext cx="8513064" cy="765432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04800" y="1077914"/>
            <a:ext cx="8513064" cy="3398837"/>
          </a:xfrm>
          <a:prstGeom prst="rect">
            <a:avLst/>
          </a:prstGeom>
        </p:spPr>
        <p:txBody>
          <a:bodyPr lIns="91436" tIns="45718" rIns="91436" bIns="45718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59"/>
            <a:ext cx="383410" cy="27463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marL="0" algn="ctr" defTabSz="458074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4596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412" y="324000"/>
            <a:ext cx="941172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667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uck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572" y="-5999"/>
            <a:ext cx="9153144" cy="5155499"/>
          </a:xfrm>
          <a:prstGeom prst="rect">
            <a:avLst/>
          </a:prstGeom>
        </p:spPr>
      </p:pic>
      <p:pic>
        <p:nvPicPr>
          <p:cNvPr id="15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6047" y="320675"/>
            <a:ext cx="948131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4D4D4D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78551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63904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6326787"/>
      </p:ext>
    </p:extLst>
  </p:cSld>
  <p:clrMapOvr>
    <a:masterClrMapping/>
  </p:clrMapOvr>
  <p:transition spd="slow">
    <p:wipe/>
  </p:transition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15" y="3209550"/>
            <a:ext cx="4684867" cy="288131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25" y="2462027"/>
            <a:ext cx="4712557" cy="766763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3270796"/>
      </p:ext>
    </p:extLst>
  </p:cSld>
  <p:clrMapOvr>
    <a:masterClrMapping/>
  </p:clrMapOvr>
  <p:transition spd="slow">
    <p:wip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3"/>
            <a:ext cx="8480388" cy="4266646"/>
          </a:xfrm>
          <a:prstGeom prst="rect">
            <a:avLst/>
          </a:prstGeom>
        </p:spPr>
        <p:txBody>
          <a:bodyPr vert="horz" lIns="91362" tIns="45681" rIns="91362" bIns="45681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40108355"/>
      </p:ext>
    </p:extLst>
  </p:cSld>
  <p:clrMapOvr>
    <a:masterClrMapping/>
  </p:clrMapOvr>
  <p:transition spd="slow">
    <p:wipe/>
  </p:transition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cs typeface="CiscoSans Thin"/>
              </a:rPr>
              <a:t>2015  </a:t>
            </a: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print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824225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960927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5077456"/>
      </p:ext>
    </p:extLst>
  </p:cSld>
  <p:clrMapOvr>
    <a:masterClrMapping/>
  </p:clrMapOvr>
  <p:transition spd="med">
    <p:fade/>
  </p:transition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55671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9716543"/>
      </p:ext>
    </p:extLst>
  </p:cSld>
  <p:clrMapOvr>
    <a:masterClrMapping/>
  </p:clrMapOvr>
  <p:transition spd="med">
    <p:fade/>
  </p:transition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8807136"/>
      </p:ext>
    </p:extLst>
  </p:cSld>
  <p:clrMapOvr>
    <a:masterClrMapping/>
  </p:clrMapOvr>
  <p:transition spd="med">
    <p:fade/>
  </p:transition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9660" y="895601"/>
            <a:ext cx="8398739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722899420"/>
      </p:ext>
    </p:extLst>
  </p:cSld>
  <p:clrMapOvr>
    <a:masterClrMapping/>
  </p:clrMapOvr>
  <p:transition spd="med">
    <p:fade/>
  </p:transition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12400" indent="-392400">
              <a:lnSpc>
                <a:spcPts val="444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932615014"/>
      </p:ext>
    </p:extLst>
  </p:cSld>
  <p:clrMapOvr>
    <a:masterClrMapping/>
  </p:clrMapOvr>
  <p:transition spd="med">
    <p:fade/>
  </p:transition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8054598"/>
      </p:ext>
    </p:extLst>
  </p:cSld>
  <p:clrMapOvr>
    <a:masterClrMapping/>
  </p:clrMapOvr>
  <p:transition spd="med">
    <p:fade/>
  </p:transition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605455"/>
      </p:ext>
    </p:extLst>
  </p:cSld>
  <p:clrMapOvr>
    <a:masterClrMapping/>
  </p:clrMapOvr>
  <p:transition spd="med">
    <p:fade/>
  </p:transition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970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928" y="302505"/>
            <a:ext cx="3715995" cy="826447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905964" y="302506"/>
            <a:ext cx="3715995" cy="826446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928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905964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2022738"/>
      </p:ext>
    </p:extLst>
  </p:cSld>
  <p:clrMapOvr>
    <a:masterClrMapping/>
  </p:clrMapOvr>
  <p:transition spd="med">
    <p:fade/>
  </p:transition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4662" y="1347790"/>
            <a:ext cx="8280057" cy="3073946"/>
          </a:xfrm>
          <a:prstGeom prst="rect">
            <a:avLst/>
          </a:prstGeom>
        </p:spPr>
        <p:txBody>
          <a:bodyPr lIns="68523" tIns="34283" rIns="68523" bIns="34283">
            <a:noAutofit/>
          </a:bodyPr>
          <a:lstStyle>
            <a:lvl1pPr marL="285487" marR="0" indent="-285487" algn="ctr" defTabSz="45675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6" tIns="34283" rIns="68526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407583"/>
      </p:ext>
    </p:extLst>
  </p:cSld>
  <p:clrMapOvr>
    <a:masterClrMapping/>
  </p:clrMapOvr>
  <p:transition spd="med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2" y="596901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1" tIns="34286" rIns="68531" bIns="34286" anchor="ctr"/>
          <a:lstStyle/>
          <a:p>
            <a:pPr algn="ctr" defTabSz="456833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1" y="3595689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1" tIns="34286" rIns="68531" bIns="34286" anchor="ctr"/>
          <a:lstStyle/>
          <a:p>
            <a:pPr algn="ctr" defTabSz="456833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40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362" tIns="45681" rIns="91362" bIns="45681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065873" y="3655079"/>
            <a:ext cx="5074070" cy="628650"/>
          </a:xfrm>
        </p:spPr>
        <p:txBody>
          <a:bodyPr anchor="ctr"/>
          <a:lstStyle>
            <a:lvl1pPr>
              <a:defRPr sz="2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37627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0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0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1963" y="22831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77728" y="22783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354813" y="22047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1963" y="1201094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54812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632589124"/>
      </p:ext>
    </p:extLst>
  </p:cSld>
  <p:clrMapOvr>
    <a:masterClrMapping/>
  </p:clrMapOvr>
  <p:transition spd="med">
    <p:fade/>
  </p:transition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5" y="1330326"/>
            <a:ext cx="3712779" cy="31019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8" indent="-85718" algn="l" defTabSz="68572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148706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484898"/>
      </p:ext>
    </p:extLst>
  </p:cSld>
  <p:clrMapOvr>
    <a:masterClrMapping/>
  </p:clrMapOvr>
  <p:transition spd="med">
    <p:fade/>
  </p:transition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826597"/>
      </p:ext>
    </p:extLst>
  </p:cSld>
  <p:clrMapOvr>
    <a:masterClrMapping/>
  </p:clrMapOvr>
  <p:transition spd="med">
    <p:fade/>
  </p:transition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600" indent="-399968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0542975"/>
      </p:ext>
    </p:extLst>
  </p:cSld>
  <p:clrMapOvr>
    <a:masterClrMapping/>
  </p:clrMapOvr>
  <p:transition spd="med">
    <p:fade/>
  </p:transition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3" y="1439060"/>
            <a:ext cx="3820348" cy="2265389"/>
          </a:xfrm>
        </p:spPr>
        <p:txBody>
          <a:bodyPr lIns="61715" tIns="34288" rIns="61715" bIns="34288" rtlCol="0" anchor="ctr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198806780"/>
      </p:ext>
    </p:extLst>
  </p:cSld>
  <p:clrMapOvr>
    <a:masterClrMapping/>
  </p:clrMapOvr>
  <p:transition spd="slow">
    <p:wipe/>
  </p:transition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8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noProof="0" smtClean="0"/>
              <a:t>Tabelle durch Klicken auf Symbol hinzufügen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1662596"/>
      </p:ext>
    </p:extLst>
  </p:cSld>
  <p:clrMapOvr>
    <a:masterClrMapping/>
  </p:clrMapOvr>
  <p:transition spd="med">
    <p:fade/>
  </p:transition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5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Diagramm durch Klicken auf Symbol hinzufügen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3102351"/>
      </p:ext>
    </p:extLst>
  </p:cSld>
  <p:clrMapOvr>
    <a:masterClrMapping/>
  </p:clrMapOvr>
  <p:transition spd="med">
    <p:fade/>
  </p:transition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456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4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Diagramm durch Klicken auf Symbol hinzufügen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520381"/>
      </p:ext>
    </p:extLst>
  </p:cSld>
  <p:clrMapOvr>
    <a:masterClrMapping/>
  </p:clrMapOvr>
  <p:transition spd="med">
    <p:fade/>
  </p:transition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1004465"/>
      </p:ext>
    </p:extLst>
  </p:cSld>
  <p:clrMapOvr>
    <a:masterClrMapping/>
  </p:clrMapOvr>
  <p:transition spd="med">
    <p:fade/>
  </p:transition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en-US"/>
          </a:p>
        </p:txBody>
      </p:sp>
      <p:sp>
        <p:nvSpPr>
          <p:cNvPr id="3" name="Oval 2"/>
          <p:cNvSpPr/>
          <p:nvPr userDrawn="1"/>
        </p:nvSpPr>
        <p:spPr>
          <a:xfrm>
            <a:off x="6085116" y="1622395"/>
            <a:ext cx="2318564" cy="2318564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Oval 3"/>
          <p:cNvSpPr/>
          <p:nvPr userDrawn="1"/>
        </p:nvSpPr>
        <p:spPr>
          <a:xfrm>
            <a:off x="3423230" y="1622395"/>
            <a:ext cx="2318564" cy="2318564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764271" y="1622395"/>
            <a:ext cx="2318564" cy="2318564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777485" y="280014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436444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098330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1958560"/>
      </p:ext>
    </p:extLst>
  </p:cSld>
  <p:clrMapOvr>
    <a:masterClrMapping/>
  </p:clrMapOvr>
  <p:transition spd="slow">
    <p:wip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829" y="233393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1" tIns="34286" rIns="68531" bIns="34286" anchor="ctr"/>
          <a:lstStyle/>
          <a:p>
            <a:pPr algn="ctr" defTabSz="456833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2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31" tIns="34286" rIns="68531" bIns="34286" rtlCol="0" anchor="ctr" anchorCtr="0">
            <a:normAutofit/>
          </a:bodyPr>
          <a:lstStyle>
            <a:lvl1pPr marL="0" indent="0" algn="ctr" defTabSz="685255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0965" y="2480723"/>
            <a:ext cx="6729865" cy="1614419"/>
          </a:xfrm>
        </p:spPr>
        <p:txBody>
          <a:bodyPr>
            <a:noAutofit/>
          </a:bodyPr>
          <a:lstStyle>
            <a:lvl1pPr marL="0" marR="0" indent="0" algn="l" defTabSz="68525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9333389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 userDrawn="1"/>
        </p:nvSpPr>
        <p:spPr>
          <a:xfrm>
            <a:off x="774821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44" name="Oval 43"/>
          <p:cNvSpPr/>
          <p:nvPr userDrawn="1"/>
        </p:nvSpPr>
        <p:spPr>
          <a:xfrm>
            <a:off x="3422842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45" name="Oval 44"/>
          <p:cNvSpPr/>
          <p:nvPr userDrawn="1"/>
        </p:nvSpPr>
        <p:spPr>
          <a:xfrm>
            <a:off x="6087359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788797" y="3873138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436818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101335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026640104"/>
      </p:ext>
    </p:extLst>
  </p:cSld>
  <p:clrMapOvr>
    <a:masterClrMapping/>
  </p:clrMapOvr>
  <p:transition spd="slow">
    <p:wipe/>
  </p:transition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00063" y="3486478"/>
            <a:ext cx="8139112" cy="500992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172800" indent="0">
              <a:lnSpc>
                <a:spcPts val="3680"/>
              </a:lnSpc>
              <a:spcBef>
                <a:spcPts val="0"/>
              </a:spcBef>
              <a:buNone/>
              <a:defRPr sz="24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072088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3" y="301037"/>
            <a:ext cx="8563172" cy="254217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95286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68723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3058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0" y="596900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0" y="3595688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065871" y="3655079"/>
            <a:ext cx="5074070" cy="628650"/>
          </a:xfrm>
        </p:spPr>
        <p:txBody>
          <a:bodyPr anchor="ctr"/>
          <a:lstStyle>
            <a:lvl1pPr>
              <a:defRPr sz="2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7612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800" y="233363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77" tIns="34289" rIns="68577" bIns="34289" rtlCol="0" anchor="ctr" anchorCtr="0">
            <a:normAutofit/>
          </a:bodyPr>
          <a:lstStyle>
            <a:lvl1pPr marL="0" indent="0" algn="ctr" defTabSz="6857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0935" y="2480693"/>
            <a:ext cx="6729865" cy="1614419"/>
          </a:xfrm>
        </p:spPr>
        <p:txBody>
          <a:bodyPr>
            <a:noAutofit/>
          </a:bodyPr>
          <a:lstStyle>
            <a:lvl1pPr marL="0" marR="0" indent="0" algn="l" defTabSz="6857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5135654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607"/>
            <a:ext cx="3630612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4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7669" y="546734"/>
            <a:ext cx="4349918" cy="813985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5659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3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63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8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3" y="2271713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5" y="2271713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8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8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5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18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2271718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335820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69687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609"/>
            <a:ext cx="3630612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31" tIns="34286" rIns="68531" bIns="34286" anchor="ctr"/>
          <a:lstStyle/>
          <a:p>
            <a:pPr algn="ctr" defTabSz="456833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5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362" tIns="45681" rIns="91362" bIns="45681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7670" y="546764"/>
            <a:ext cx="4349918" cy="813985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49238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38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de-DE" noProof="0" smtClean="0"/>
              <a:t>Medien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552387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de-DE" noProof="0" smtClean="0"/>
              <a:t>Medien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084856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76545" y="1646238"/>
            <a:ext cx="1990911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3065523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16" y="-2571"/>
            <a:ext cx="9150431" cy="514864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1660" y="1643634"/>
            <a:ext cx="2080678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510927"/>
      </p:ext>
    </p:extLst>
  </p:cSld>
  <p:clrMapOvr>
    <a:masterClrMapping/>
  </p:clrMapOvr>
  <p:transition spd="slow">
    <p:wipe/>
  </p:transition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cs typeface="CiscoSans Thin"/>
              </a:rPr>
              <a:t>2015  </a:t>
            </a: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print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228405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Blank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72355" y="5000626"/>
            <a:ext cx="1714500" cy="14287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>
                <a:solidFill>
                  <a:srgbClr val="FFFFFF">
                    <a:lumMod val="50000"/>
                  </a:srgbClr>
                </a:solidFill>
                <a:ea typeface="ＭＳ Ｐゴシック" charset="0"/>
              </a:rPr>
              <a:t>Cisco Confidential</a:t>
            </a:r>
            <a:endParaRPr lang="en-US" dirty="0">
              <a:solidFill>
                <a:srgbClr val="FFFFFF">
                  <a:lumMod val="50000"/>
                </a:srgbClr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7504392"/>
      </p:ext>
    </p:extLst>
  </p:cSld>
  <p:clrMapOvr>
    <a:masterClrMapping/>
  </p:clrMapOvr>
  <p:transition spd="slow">
    <p:fade/>
  </p:transition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441DB5E-112B-4282-A81D-4DF513D509F3}" type="datetimeFigureOut">
              <a:rPr lang="en-US" smtClean="0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1/24/17</a:t>
            </a:fld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B4050076-0F80-48CC-9558-ACB9C7645F84}" type="slidenum">
              <a:rPr lang="en-US" smtClean="0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0423026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7275" y="206276"/>
            <a:ext cx="7800556" cy="8572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7275" y="1157287"/>
            <a:ext cx="7800556" cy="3394175"/>
          </a:xfrm>
          <a:prstGeom prst="rect">
            <a:avLst/>
          </a:prstGeom>
        </p:spPr>
        <p:txBody>
          <a:bodyPr/>
          <a:lstStyle>
            <a:lvl1pPr>
              <a:spcBef>
                <a:spcPts val="675"/>
              </a:spcBef>
              <a:defRPr/>
            </a:lvl1pPr>
            <a:lvl2pPr>
              <a:spcBef>
                <a:spcPts val="675"/>
              </a:spcBef>
              <a:defRPr sz="1600"/>
            </a:lvl2pPr>
            <a:lvl3pPr>
              <a:spcBef>
                <a:spcPts val="675"/>
              </a:spcBef>
              <a:defRPr/>
            </a:lvl3pPr>
            <a:lvl4pPr>
              <a:spcBef>
                <a:spcPts val="675"/>
              </a:spcBef>
              <a:defRPr/>
            </a:lvl4pPr>
            <a:lvl5pPr>
              <a:spcBef>
                <a:spcPts val="675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57275" y="642937"/>
            <a:ext cx="7800556" cy="3857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700" dirty="0" smtClean="0">
                <a:solidFill>
                  <a:schemeClr val="accent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09192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cs typeface="CiscoSans Thin"/>
              </a:rPr>
              <a:t>2015  </a:t>
            </a: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print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49609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8947"/>
            <a:ext cx="8513064" cy="765432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04800" y="1077914"/>
            <a:ext cx="8513064" cy="3398837"/>
          </a:xfrm>
          <a:prstGeom prst="rect">
            <a:avLst/>
          </a:prstGeom>
        </p:spPr>
        <p:txBody>
          <a:bodyPr lIns="91436" tIns="45718" rIns="91436" bIns="45718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59"/>
            <a:ext cx="383410" cy="274637"/>
          </a:xfrm>
          <a:prstGeom prst="rect">
            <a:avLst/>
          </a:prstGeom>
        </p:spPr>
        <p:txBody>
          <a:bodyPr vert="horz" lIns="91436" tIns="45718" rIns="91436" bIns="45718" rtlCol="0" anchor="ctr"/>
          <a:lstStyle>
            <a:lvl1pPr marL="0" algn="ctr" defTabSz="458074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700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98681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93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28" tIns="34286" rIns="68528" bIns="34286" anchor="ctr"/>
          <a:lstStyle/>
          <a:p>
            <a:pPr algn="ctr" defTabSz="456833">
              <a:defRPr/>
            </a:pPr>
            <a:endParaRPr lang="en-US" sz="1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93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28" tIns="34286" rIns="68528" bIns="34286" anchor="ctr"/>
          <a:lstStyle/>
          <a:p>
            <a:pPr algn="ctr" defTabSz="456833">
              <a:defRPr/>
            </a:pPr>
            <a:endParaRPr lang="en-US" sz="1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40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28" tIns="34286" rIns="68528" bIns="34286" anchor="ctr"/>
          <a:lstStyle/>
          <a:p>
            <a:pPr algn="ctr" defTabSz="456833">
              <a:defRPr/>
            </a:pPr>
            <a:endParaRPr lang="en-US" sz="1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93" y="2271743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28" tIns="34286" rIns="68528" bIns="34286" anchor="ctr"/>
          <a:lstStyle/>
          <a:p>
            <a:pPr algn="ctr" defTabSz="456833">
              <a:defRPr/>
            </a:pPr>
            <a:endParaRPr lang="en-US" sz="1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7" y="2271743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28" tIns="34286" rIns="68528" bIns="34286" anchor="ctr"/>
          <a:lstStyle/>
          <a:p>
            <a:pPr algn="ctr" defTabSz="456833">
              <a:defRPr/>
            </a:pPr>
            <a:endParaRPr lang="en-US" sz="1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40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28" tIns="34286" rIns="68528" bIns="34286" anchor="ctr"/>
          <a:lstStyle/>
          <a:p>
            <a:pPr algn="ctr" defTabSz="456833">
              <a:defRPr/>
            </a:pPr>
            <a:endParaRPr lang="en-US" sz="1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40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28" tIns="34286" rIns="68528" bIns="34286" anchor="ctr"/>
          <a:lstStyle/>
          <a:p>
            <a:pPr algn="ctr" defTabSz="456833">
              <a:defRPr/>
            </a:pPr>
            <a:endParaRPr lang="en-US" sz="1400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6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28" tIns="34286" rIns="68528" bIns="34286" rtlCol="0" anchor="ctr" anchorCtr="0">
            <a:normAutofit/>
          </a:bodyPr>
          <a:lstStyle>
            <a:lvl1pPr marL="0" indent="0" algn="ctr" defTabSz="68522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31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28" tIns="34286" rIns="68528" bIns="34286" rtlCol="0" anchor="ctr" anchorCtr="0">
            <a:normAutofit/>
          </a:bodyPr>
          <a:lstStyle>
            <a:lvl1pPr marL="0" indent="0" algn="ctr" defTabSz="68522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28" tIns="34286" rIns="68528" bIns="34286" rtlCol="0" anchor="ctr" anchorCtr="0">
            <a:normAutofit/>
          </a:bodyPr>
          <a:lstStyle>
            <a:lvl1pPr marL="0" indent="0" algn="ctr" defTabSz="68522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48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28" tIns="34286" rIns="68528" bIns="34286" rtlCol="0" anchor="ctr" anchorCtr="0">
            <a:normAutofit/>
          </a:bodyPr>
          <a:lstStyle>
            <a:lvl1pPr marL="0" indent="0" algn="ctr" defTabSz="68522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6" y="2271748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28" tIns="34286" rIns="68528" bIns="34286" rtlCol="0" anchor="ctr" anchorCtr="0">
            <a:normAutofit/>
          </a:bodyPr>
          <a:lstStyle>
            <a:lvl1pPr marL="0" indent="0" algn="ctr" defTabSz="68522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28" tIns="34286" rIns="68528" bIns="34286" rtlCol="0" anchor="ctr" anchorCtr="0">
            <a:normAutofit/>
          </a:bodyPr>
          <a:lstStyle>
            <a:lvl1pPr marL="0" indent="0" algn="ctr" defTabSz="68522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28" tIns="34286" rIns="68528" bIns="34286" rtlCol="0" anchor="ctr" anchorCtr="0">
            <a:normAutofit/>
          </a:bodyPr>
          <a:lstStyle>
            <a:lvl1pPr marL="0" indent="0" algn="ctr" defTabSz="68522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72306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412" y="324000"/>
            <a:ext cx="941172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846823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uck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572" y="-5999"/>
            <a:ext cx="9153144" cy="5155499"/>
          </a:xfrm>
          <a:prstGeom prst="rect">
            <a:avLst/>
          </a:prstGeom>
        </p:spPr>
      </p:pic>
      <p:pic>
        <p:nvPicPr>
          <p:cNvPr id="15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6047" y="320675"/>
            <a:ext cx="948131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4D4D4D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78551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63904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8457089"/>
      </p:ext>
    </p:extLst>
  </p:cSld>
  <p:clrMapOvr>
    <a:masterClrMapping/>
  </p:clrMapOvr>
  <p:transition spd="slow">
    <p:wipe/>
  </p:transition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15" y="3209550"/>
            <a:ext cx="4684867" cy="288131"/>
          </a:xfrm>
          <a:prstGeom prst="rect">
            <a:avLst/>
          </a:prstGeom>
        </p:spPr>
        <p:txBody>
          <a:bodyPr vert="horz" lIns="68574" tIns="34288" rIns="68574" bIns="34288" rtlCol="0">
            <a:noAutofit/>
          </a:bodyPr>
          <a:lstStyle>
            <a:lvl1pPr marL="0" indent="0" algn="l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1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9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25" y="2462027"/>
            <a:ext cx="4712557" cy="766763"/>
          </a:xfrm>
        </p:spPr>
        <p:txBody>
          <a:bodyPr lIns="61715" tIns="34288" rIns="61715" bIns="34288" rtlCol="0" anchor="b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1" y="1438276"/>
            <a:ext cx="2676525" cy="2166938"/>
          </a:xfrm>
          <a:prstGeom prst="rect">
            <a:avLst/>
          </a:prstGeom>
        </p:spPr>
        <p:txBody>
          <a:bodyPr lIns="91420" tIns="45710" rIns="91420" bIns="45710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43059227"/>
      </p:ext>
    </p:extLst>
  </p:cSld>
  <p:clrMapOvr>
    <a:masterClrMapping/>
  </p:clrMapOvr>
  <p:transition spd="slow">
    <p:wipe/>
  </p:transition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cs typeface="CiscoSans Thin"/>
              </a:rPr>
              <a:t>2015  </a:t>
            </a: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print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924526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0462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7926920"/>
      </p:ext>
    </p:extLst>
  </p:cSld>
  <p:clrMapOvr>
    <a:masterClrMapping/>
  </p:clrMapOvr>
  <p:transition spd="med">
    <p:fade/>
  </p:transition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55671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3439451"/>
      </p:ext>
    </p:extLst>
  </p:cSld>
  <p:clrMapOvr>
    <a:masterClrMapping/>
  </p:clrMapOvr>
  <p:transition spd="med">
    <p:fade/>
  </p:transition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8376384"/>
      </p:ext>
    </p:extLst>
  </p:cSld>
  <p:clrMapOvr>
    <a:masterClrMapping/>
  </p:clrMapOvr>
  <p:transition spd="med">
    <p:fade/>
  </p:transition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9660" y="895601"/>
            <a:ext cx="8398739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233347880"/>
      </p:ext>
    </p:extLst>
  </p:cSld>
  <p:clrMapOvr>
    <a:masterClrMapping/>
  </p:clrMapOvr>
  <p:transition spd="med">
    <p:fade/>
  </p:transition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12400" indent="-392400">
              <a:lnSpc>
                <a:spcPts val="444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14097876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55703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7250991"/>
      </p:ext>
    </p:extLst>
  </p:cSld>
  <p:clrMapOvr>
    <a:masterClrMapping/>
  </p:clrMapOvr>
  <p:transition spd="med">
    <p:fade/>
  </p:transition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7526704"/>
      </p:ext>
    </p:extLst>
  </p:cSld>
  <p:clrMapOvr>
    <a:masterClrMapping/>
  </p:clrMapOvr>
  <p:transition spd="med">
    <p:fade/>
  </p:transition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970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928" y="302505"/>
            <a:ext cx="3715995" cy="826447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905964" y="302506"/>
            <a:ext cx="3715995" cy="826446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928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905964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5237367"/>
      </p:ext>
    </p:extLst>
  </p:cSld>
  <p:clrMapOvr>
    <a:masterClrMapping/>
  </p:clrMapOvr>
  <p:transition spd="med">
    <p:fade/>
  </p:transition>
  <p:hf hdr="0" ftr="0" dt="0"/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0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0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1963" y="22831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77728" y="22783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354813" y="22047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1963" y="1201094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54812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416652773"/>
      </p:ext>
    </p:extLst>
  </p:cSld>
  <p:clrMapOvr>
    <a:masterClrMapping/>
  </p:clrMapOvr>
  <p:transition spd="med">
    <p:fade/>
  </p:transition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5" y="1330326"/>
            <a:ext cx="3712779" cy="31019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8" indent="-85718" algn="l" defTabSz="68572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148706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2877793"/>
      </p:ext>
    </p:extLst>
  </p:cSld>
  <p:clrMapOvr>
    <a:masterClrMapping/>
  </p:clrMapOvr>
  <p:transition spd="med">
    <p:fade/>
  </p:transition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85696927"/>
      </p:ext>
    </p:extLst>
  </p:cSld>
  <p:clrMapOvr>
    <a:masterClrMapping/>
  </p:clrMapOvr>
  <p:transition spd="med">
    <p:fade/>
  </p:transition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600" indent="-399968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2630970"/>
      </p:ext>
    </p:extLst>
  </p:cSld>
  <p:clrMapOvr>
    <a:masterClrMapping/>
  </p:clrMapOvr>
  <p:transition spd="med">
    <p:fade/>
  </p:transition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3" y="1439060"/>
            <a:ext cx="3820348" cy="2265389"/>
          </a:xfrm>
        </p:spPr>
        <p:txBody>
          <a:bodyPr lIns="61715" tIns="34288" rIns="61715" bIns="34288" rtlCol="0" anchor="ctr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381613493"/>
      </p:ext>
    </p:extLst>
  </p:cSld>
  <p:clrMapOvr>
    <a:masterClrMapping/>
  </p:clrMapOvr>
  <p:transition spd="slow">
    <p:wipe/>
  </p:transition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8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de-DE" noProof="0" smtClean="0"/>
              <a:t>Tabelle durch Klicken auf Symbol hinzufügen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4283603"/>
      </p:ext>
    </p:extLst>
  </p:cSld>
  <p:clrMapOvr>
    <a:masterClrMapping/>
  </p:clrMapOvr>
  <p:transition spd="med">
    <p:fade/>
  </p:transition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5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Diagramm durch Klicken auf Symbol hinzufügen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85992524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68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28" tIns="34286" rIns="68528" bIns="34286" rtlCol="0" anchor="ctr">
            <a:normAutofit/>
          </a:bodyPr>
          <a:lstStyle>
            <a:lvl1pPr marL="0" indent="0" algn="ctr" defTabSz="68522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246134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456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4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Diagramm durch Klicken auf Symbol hinzufügen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0838094"/>
      </p:ext>
    </p:extLst>
  </p:cSld>
  <p:clrMapOvr>
    <a:masterClrMapping/>
  </p:clrMapOvr>
  <p:transition spd="med">
    <p:fade/>
  </p:transition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3943010"/>
      </p:ext>
    </p:extLst>
  </p:cSld>
  <p:clrMapOvr>
    <a:masterClrMapping/>
  </p:clrMapOvr>
  <p:transition spd="med">
    <p:fade/>
  </p:transition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en-US"/>
          </a:p>
        </p:txBody>
      </p:sp>
      <p:sp>
        <p:nvSpPr>
          <p:cNvPr id="3" name="Oval 2"/>
          <p:cNvSpPr/>
          <p:nvPr userDrawn="1"/>
        </p:nvSpPr>
        <p:spPr>
          <a:xfrm>
            <a:off x="6085116" y="1622395"/>
            <a:ext cx="2318564" cy="2318564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Oval 3"/>
          <p:cNvSpPr/>
          <p:nvPr userDrawn="1"/>
        </p:nvSpPr>
        <p:spPr>
          <a:xfrm>
            <a:off x="3423230" y="1622395"/>
            <a:ext cx="2318564" cy="2318564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764271" y="1622395"/>
            <a:ext cx="2318564" cy="2318564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777485" y="280014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436444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098330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527085"/>
      </p:ext>
    </p:extLst>
  </p:cSld>
  <p:clrMapOvr>
    <a:masterClrMapping/>
  </p:clrMapOvr>
  <p:transition spd="slow">
    <p:wipe/>
  </p:transition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 userDrawn="1"/>
        </p:nvSpPr>
        <p:spPr>
          <a:xfrm>
            <a:off x="774821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44" name="Oval 43"/>
          <p:cNvSpPr/>
          <p:nvPr userDrawn="1"/>
        </p:nvSpPr>
        <p:spPr>
          <a:xfrm>
            <a:off x="3422842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45" name="Oval 44"/>
          <p:cNvSpPr/>
          <p:nvPr userDrawn="1"/>
        </p:nvSpPr>
        <p:spPr>
          <a:xfrm>
            <a:off x="6087359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788797" y="3873138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436818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101335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88180149"/>
      </p:ext>
    </p:extLst>
  </p:cSld>
  <p:clrMapOvr>
    <a:masterClrMapping/>
  </p:clrMapOvr>
  <p:transition spd="slow">
    <p:wipe/>
  </p:transition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00063" y="3486478"/>
            <a:ext cx="8139112" cy="500992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172800" indent="0">
              <a:lnSpc>
                <a:spcPts val="3680"/>
              </a:lnSpc>
              <a:spcBef>
                <a:spcPts val="0"/>
              </a:spcBef>
              <a:buNone/>
              <a:defRPr sz="24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829418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3" y="301037"/>
            <a:ext cx="8563172" cy="254217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76572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20670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53954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0" y="596900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0" y="3595688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065871" y="3655079"/>
            <a:ext cx="5074070" cy="628650"/>
          </a:xfrm>
        </p:spPr>
        <p:txBody>
          <a:bodyPr anchor="ctr"/>
          <a:lstStyle>
            <a:lvl1pPr>
              <a:defRPr sz="2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10475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800" y="233363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77" tIns="34289" rIns="68577" bIns="34289" rtlCol="0" anchor="ctr" anchorCtr="0">
            <a:normAutofit/>
          </a:bodyPr>
          <a:lstStyle>
            <a:lvl1pPr marL="0" indent="0" algn="ctr" defTabSz="6857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0935" y="2480693"/>
            <a:ext cx="6729865" cy="1614419"/>
          </a:xfrm>
        </p:spPr>
        <p:txBody>
          <a:bodyPr>
            <a:noAutofit/>
          </a:bodyPr>
          <a:lstStyle>
            <a:lvl1pPr marL="0" marR="0" indent="0" algn="l" defTabSz="6857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064255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28" tIns="34286" rIns="68528" bIns="34286" rtlCol="0" anchor="ctr">
            <a:normAutofit/>
          </a:bodyPr>
          <a:lstStyle>
            <a:lvl1pPr marL="0" indent="0" algn="ctr" defTabSz="68522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143859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607"/>
            <a:ext cx="3630612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4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7669" y="546734"/>
            <a:ext cx="4349918" cy="813985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81304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3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63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8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3" y="2271713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5" y="2271713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8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8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5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18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2271718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de-DE" noProof="0" smtClean="0"/>
              <a:t>Bild auf Platzhalter ziehen oder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757981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49894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38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de-DE" noProof="0" smtClean="0"/>
              <a:t>Medien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778887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de-DE" noProof="0" smtClean="0"/>
              <a:t>Medien durch Klicken auf Symbol hinzufügen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394886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76545" y="1646238"/>
            <a:ext cx="1990911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253282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16" y="-2571"/>
            <a:ext cx="9150431" cy="514864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1660" y="1643634"/>
            <a:ext cx="2080678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312806"/>
      </p:ext>
    </p:extLst>
  </p:cSld>
  <p:clrMapOvr>
    <a:masterClrMapping/>
  </p:clrMapOvr>
  <p:transition spd="slow">
    <p:wipe/>
  </p:transition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cs typeface="CiscoSans Thin"/>
              </a:rPr>
              <a:t>2015  </a:t>
            </a: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print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431086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Blank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72355" y="5000626"/>
            <a:ext cx="1714500" cy="14287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>
                <a:solidFill>
                  <a:srgbClr val="FFFFFF">
                    <a:lumMod val="50000"/>
                  </a:srgbClr>
                </a:solidFill>
                <a:ea typeface="ＭＳ Ｐゴシック" charset="0"/>
              </a:rPr>
              <a:t>Cisco Confidential</a:t>
            </a:r>
            <a:endParaRPr lang="en-US" dirty="0">
              <a:solidFill>
                <a:srgbClr val="FFFFFF">
                  <a:lumMod val="50000"/>
                </a:srgbClr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4079692"/>
      </p:ext>
    </p:extLst>
  </p:cSld>
  <p:clrMapOvr>
    <a:masterClrMapping/>
  </p:clrMapOvr>
  <p:transition spd="slow">
    <p:fade/>
  </p:transition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441DB5E-112B-4282-A81D-4DF513D509F3}" type="datetimeFigureOut">
              <a:rPr lang="en-US" smtClean="0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1/24/17</a:t>
            </a:fld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B4050076-0F80-48CC-9558-ACB9C7645F84}" type="slidenum">
              <a:rPr lang="en-US" smtClean="0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312150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115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310162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7275" y="206276"/>
            <a:ext cx="7800556" cy="8572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7275" y="1157287"/>
            <a:ext cx="7800556" cy="3394175"/>
          </a:xfrm>
          <a:prstGeom prst="rect">
            <a:avLst/>
          </a:prstGeom>
        </p:spPr>
        <p:txBody>
          <a:bodyPr/>
          <a:lstStyle>
            <a:lvl1pPr>
              <a:spcBef>
                <a:spcPts val="675"/>
              </a:spcBef>
              <a:defRPr/>
            </a:lvl1pPr>
            <a:lvl2pPr>
              <a:spcBef>
                <a:spcPts val="675"/>
              </a:spcBef>
              <a:defRPr sz="1600"/>
            </a:lvl2pPr>
            <a:lvl3pPr>
              <a:spcBef>
                <a:spcPts val="675"/>
              </a:spcBef>
              <a:defRPr/>
            </a:lvl3pPr>
            <a:lvl4pPr>
              <a:spcBef>
                <a:spcPts val="675"/>
              </a:spcBef>
              <a:defRPr/>
            </a:lvl4pPr>
            <a:lvl5pPr>
              <a:spcBef>
                <a:spcPts val="675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57275" y="642937"/>
            <a:ext cx="7800556" cy="3857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700" dirty="0" smtClean="0">
                <a:solidFill>
                  <a:schemeClr val="accent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82512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cs typeface="CiscoSans Thin"/>
              </a:rPr>
              <a:t>2015  </a:t>
            </a: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print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59288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412" y="324000"/>
            <a:ext cx="941172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502" y="3793202"/>
            <a:ext cx="8296421" cy="288131"/>
          </a:xfrm>
          <a:prstGeom prst="rect">
            <a:avLst/>
          </a:prstGeom>
        </p:spPr>
        <p:txBody>
          <a:bodyPr lIns="91408" tIns="45704" rIns="91408" bIns="45704" anchor="b" anchorCtr="0">
            <a:noAutofit/>
          </a:bodyPr>
          <a:lstStyle>
            <a:lvl1pPr marL="0" indent="0" algn="l">
              <a:buNone/>
              <a:defRPr sz="1399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5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2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7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0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502" y="4033196"/>
            <a:ext cx="8296421" cy="288131"/>
          </a:xfrm>
          <a:prstGeom prst="rect">
            <a:avLst/>
          </a:prstGeom>
        </p:spPr>
        <p:txBody>
          <a:bodyPr lIns="91408" tIns="45704" rIns="91408" bIns="45704"/>
          <a:lstStyle>
            <a:lvl1pPr marL="0" indent="0" algn="l">
              <a:buFontTx/>
              <a:buNone/>
              <a:defRPr lang="en-US" sz="1399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499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499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499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499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502" y="4273192"/>
            <a:ext cx="8296421" cy="288131"/>
          </a:xfrm>
          <a:prstGeom prst="rect">
            <a:avLst/>
          </a:prstGeom>
        </p:spPr>
        <p:txBody>
          <a:bodyPr lIns="91408" tIns="45704" rIns="91408" bIns="45704"/>
          <a:lstStyle>
            <a:lvl1pPr marL="0" indent="0" algn="l">
              <a:buFontTx/>
              <a:buNone/>
              <a:defRPr lang="en-US" sz="1399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499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499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499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499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304" y="3211463"/>
            <a:ext cx="8302625" cy="299001"/>
          </a:xfrm>
          <a:prstGeom prst="rect">
            <a:avLst/>
          </a:prstGeom>
        </p:spPr>
        <p:txBody>
          <a:bodyPr lIns="91408" tIns="45704" rIns="91408" bIns="45704"/>
          <a:lstStyle>
            <a:lvl1pPr marL="0" indent="0">
              <a:buFont typeface="Arial" panose="020B0604020202020204" pitchFamily="34" charset="0"/>
              <a:buNone/>
              <a:defRPr sz="2198" baseline="0">
                <a:solidFill>
                  <a:srgbClr val="FFFFFE"/>
                </a:solidFill>
                <a:latin typeface="+mj-lt"/>
              </a:defRPr>
            </a:lvl1pPr>
            <a:lvl2pPr marL="304466" indent="0">
              <a:buNone/>
              <a:defRPr/>
            </a:lvl2pPr>
            <a:lvl3pPr marL="426959" indent="0">
              <a:buNone/>
              <a:defRPr/>
            </a:lvl3pPr>
            <a:lvl4pPr marL="516160" indent="0">
              <a:buNone/>
              <a:defRPr/>
            </a:lvl4pPr>
            <a:lvl5pPr marL="600600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4000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195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3418525"/>
      </p:ext>
    </p:extLst>
  </p:cSld>
  <p:clrMapOvr>
    <a:masterClrMapping/>
  </p:clrMapOvr>
  <p:transition spd="slow">
    <p:wipe/>
  </p:transition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uck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572" y="-5968"/>
            <a:ext cx="9153144" cy="5155499"/>
          </a:xfrm>
          <a:prstGeom prst="rect">
            <a:avLst/>
          </a:prstGeom>
        </p:spPr>
      </p:pic>
      <p:pic>
        <p:nvPicPr>
          <p:cNvPr id="15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6071" y="320675"/>
            <a:ext cx="948131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>
                    <a:alpha val="81960"/>
                  </a:srgbClr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502" y="3793202"/>
            <a:ext cx="8296421" cy="288131"/>
          </a:xfrm>
          <a:prstGeom prst="rect">
            <a:avLst/>
          </a:prstGeom>
        </p:spPr>
        <p:txBody>
          <a:bodyPr lIns="91408" tIns="45704" rIns="91408" bIns="45704" anchor="b" anchorCtr="0">
            <a:noAutofit/>
          </a:bodyPr>
          <a:lstStyle>
            <a:lvl1pPr marL="0" indent="0" algn="l">
              <a:buNone/>
              <a:defRPr sz="1399" b="0" i="0">
                <a:solidFill>
                  <a:srgbClr val="4D4D4D"/>
                </a:solidFill>
                <a:latin typeface="+mn-lt"/>
                <a:cs typeface="CiscoSans"/>
              </a:defRPr>
            </a:lvl1pPr>
            <a:lvl2pPr marL="3425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25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75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00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2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502" y="4078551"/>
            <a:ext cx="8296421" cy="288131"/>
          </a:xfrm>
          <a:prstGeom prst="rect">
            <a:avLst/>
          </a:prstGeom>
        </p:spPr>
        <p:txBody>
          <a:bodyPr lIns="91408" tIns="45704" rIns="91408" bIns="45704"/>
          <a:lstStyle>
            <a:lvl1pPr marL="0" indent="0" algn="l">
              <a:buFontTx/>
              <a:buNone/>
              <a:defRPr lang="en-US" sz="1399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499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499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499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499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3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502" y="4363905"/>
            <a:ext cx="8296421" cy="288131"/>
          </a:xfrm>
          <a:prstGeom prst="rect">
            <a:avLst/>
          </a:prstGeom>
        </p:spPr>
        <p:txBody>
          <a:bodyPr lIns="91408" tIns="45704" rIns="91408" bIns="45704"/>
          <a:lstStyle>
            <a:lvl1pPr marL="0" indent="0" algn="l">
              <a:buFontTx/>
              <a:buNone/>
              <a:defRPr lang="en-US" sz="1399" b="0" i="0" kern="1200" dirty="0" smtClean="0">
                <a:solidFill>
                  <a:srgbClr val="4D4D4D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499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499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499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499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304" y="3211463"/>
            <a:ext cx="8302625" cy="299001"/>
          </a:xfrm>
          <a:prstGeom prst="rect">
            <a:avLst/>
          </a:prstGeom>
        </p:spPr>
        <p:txBody>
          <a:bodyPr lIns="91408" tIns="45704" rIns="91408" bIns="45704"/>
          <a:lstStyle>
            <a:lvl1pPr marL="0" indent="0">
              <a:buFont typeface="Arial" panose="020B0604020202020204" pitchFamily="34" charset="0"/>
              <a:buNone/>
              <a:defRPr sz="2198" baseline="0">
                <a:solidFill>
                  <a:srgbClr val="4D4D4D"/>
                </a:solidFill>
                <a:latin typeface="+mj-lt"/>
              </a:defRPr>
            </a:lvl1pPr>
            <a:lvl2pPr marL="304466" indent="0">
              <a:buNone/>
              <a:defRPr/>
            </a:lvl2pPr>
            <a:lvl3pPr marL="426959" indent="0">
              <a:buNone/>
              <a:defRPr/>
            </a:lvl3pPr>
            <a:lvl4pPr marL="516160" indent="0">
              <a:buNone/>
              <a:defRPr/>
            </a:lvl4pPr>
            <a:lvl5pPr marL="600600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4000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195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2491152"/>
      </p:ext>
    </p:extLst>
  </p:cSld>
  <p:clrMapOvr>
    <a:masterClrMapping/>
  </p:clrMapOvr>
  <p:transition spd="slow">
    <p:wipe/>
  </p:transition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10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596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5708" y="4742908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21" tIns="30760" rIns="61521" bIns="30760" anchor="b">
            <a:spAutoFit/>
          </a:bodyPr>
          <a:lstStyle/>
          <a:p>
            <a:pPr algn="r" defTabSz="610113">
              <a:defRPr/>
            </a:pPr>
            <a:fld id="{4ABDCABE-3F10-B64C-92F1-862014417034}" type="slidenum">
              <a:rPr lang="en-US" sz="599">
                <a:solidFill>
                  <a:srgbClr val="FFFFFF">
                    <a:alpha val="60000"/>
                  </a:srgbClr>
                </a:solidFill>
                <a:cs typeface="CiscoSans Thin"/>
              </a:rPr>
              <a:pPr algn="r" defTabSz="610113">
                <a:defRPr/>
              </a:pPr>
              <a:t>‹#›</a:t>
            </a:fld>
            <a:endParaRPr lang="en-US" sz="599" dirty="0">
              <a:solidFill>
                <a:srgbClr val="FFFFFF">
                  <a:alpha val="60000"/>
                </a:srgbClr>
              </a:solidFill>
              <a:cs typeface="CiscoSans Thin"/>
            </a:endParaRP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5867508" y="4741684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21" tIns="30760" rIns="61521" bIns="30760" anchor="b">
            <a:spAutoFit/>
          </a:bodyPr>
          <a:lstStyle/>
          <a:p>
            <a:pPr defTabSz="610113">
              <a:defRPr/>
            </a:pPr>
            <a:r>
              <a:rPr lang="en-US" sz="599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</a:t>
            </a:r>
            <a:r>
              <a:rPr lang="en-US" sz="599" dirty="0" smtClean="0">
                <a:solidFill>
                  <a:srgbClr val="FFFFFF">
                    <a:alpha val="60000"/>
                  </a:srgbClr>
                </a:solidFill>
                <a:cs typeface="CiscoSans Thin"/>
              </a:rPr>
              <a:t>2015  </a:t>
            </a:r>
            <a:r>
              <a:rPr lang="en-US" sz="599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print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99070663"/>
      </p:ext>
    </p:extLst>
  </p:cSld>
  <p:clrMapOvr>
    <a:masterClrMapping/>
  </p:clrMapOvr>
  <p:transition spd="slow">
    <p:wipe/>
  </p:transition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2" tIns="45706" rIns="91412" bIns="4570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122623"/>
      </p:ext>
    </p:extLst>
  </p:cSld>
  <p:clrMapOvr>
    <a:masterClrMapping/>
  </p:clrMapOvr>
  <p:transition spd="med">
    <p:fade/>
  </p:transition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71609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1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76557" y="1646268"/>
            <a:ext cx="1990911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92591148"/>
      </p:ext>
    </p:extLst>
  </p:cSld>
  <p:clrMapOvr>
    <a:masterClrMapping/>
  </p:clrMapOvr>
  <p:transition spd="slow">
    <p:wipe/>
  </p:transition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losing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216" y="-2571"/>
            <a:ext cx="9150431" cy="5148642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1660" y="1643635"/>
            <a:ext cx="2080678" cy="185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976997"/>
      </p:ext>
    </p:extLst>
  </p:cSld>
  <p:clrMapOvr>
    <a:masterClrMapping/>
  </p:clrMapOvr>
  <p:transition spd="slow">
    <p:wipe/>
  </p:transition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18948"/>
            <a:ext cx="8513064" cy="765432"/>
          </a:xfrm>
        </p:spPr>
        <p:txBody>
          <a:bodyPr/>
          <a:lstStyle>
            <a:lvl1pPr>
              <a:defRPr baseline="0"/>
            </a:lvl1pPr>
          </a:lstStyle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04800" y="1077915"/>
            <a:ext cx="8513064" cy="3398837"/>
          </a:xfrm>
          <a:prstGeom prst="rect">
            <a:avLst/>
          </a:prstGeom>
        </p:spPr>
        <p:txBody>
          <a:bodyPr lIns="121899" tIns="60949" rIns="121899" bIns="60949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354895" y="4888860"/>
            <a:ext cx="383410" cy="274637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marL="0" algn="ctr" defTabSz="457601" rtl="0" eaLnBrk="1" fontAlgn="base" latinLnBrk="0" hangingPunct="1">
              <a:spcBef>
                <a:spcPct val="0"/>
              </a:spcBef>
              <a:spcAft>
                <a:spcPct val="0"/>
              </a:spcAft>
              <a:defRPr lang="en-US" sz="674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3945D0FD-48F1-4D72-80C5-FFB60B92A834}" type="slidenum">
              <a:rPr>
                <a:solidFill>
                  <a:srgbClr val="FFFFFF"/>
                </a:solidFill>
              </a:rPr>
              <a:pPr/>
              <a:t>‹#›</a:t>
            </a:fld>
            <a:endParaRPr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17001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Blue Background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-2379" y="-9014"/>
            <a:ext cx="9146380" cy="5144264"/>
            <a:chOff x="0" y="-1014"/>
            <a:chExt cx="12191997" cy="6859018"/>
          </a:xfrm>
        </p:grpSpPr>
        <p:grpSp>
          <p:nvGrpSpPr>
            <p:cNvPr id="11" name="Group 141"/>
            <p:cNvGrpSpPr>
              <a:grpSpLocks/>
            </p:cNvGrpSpPr>
            <p:nvPr/>
          </p:nvGrpSpPr>
          <p:grpSpPr bwMode="auto">
            <a:xfrm>
              <a:off x="0" y="-1014"/>
              <a:ext cx="12191997" cy="6859014"/>
              <a:chOff x="0" y="609"/>
              <a:chExt cx="12188825" cy="6857391"/>
            </a:xfrm>
          </p:grpSpPr>
          <p:sp>
            <p:nvSpPr>
              <p:cNvPr id="16" name="Rectangle 15"/>
              <p:cNvSpPr/>
              <p:nvPr/>
            </p:nvSpPr>
            <p:spPr>
              <a:xfrm>
                <a:off x="0" y="609"/>
                <a:ext cx="12188825" cy="4835096"/>
              </a:xfrm>
              <a:prstGeom prst="rect">
                <a:avLst/>
              </a:prstGeom>
              <a:gradFill flip="none" rotWithShape="1">
                <a:gsLst>
                  <a:gs pos="0">
                    <a:srgbClr val="030B13"/>
                  </a:gs>
                  <a:gs pos="100000">
                    <a:srgbClr val="061B37"/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6833">
                  <a:defRPr/>
                </a:pPr>
                <a:endParaRPr lang="en-US" sz="14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0" y="4805545"/>
                <a:ext cx="12188825" cy="2052455"/>
              </a:xfrm>
              <a:prstGeom prst="rect">
                <a:avLst/>
              </a:prstGeom>
              <a:gradFill flip="none" rotWithShape="1">
                <a:gsLst>
                  <a:gs pos="0">
                    <a:srgbClr val="09192C"/>
                  </a:gs>
                  <a:gs pos="100000">
                    <a:srgbClr val="0E366B"/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6833">
                  <a:defRPr/>
                </a:pPr>
                <a:endParaRPr lang="en-US" sz="14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0" y="3780111"/>
                <a:ext cx="12188825" cy="2052455"/>
              </a:xfrm>
              <a:prstGeom prst="rect">
                <a:avLst/>
              </a:prstGeom>
              <a:gradFill flip="none" rotWithShape="1">
                <a:gsLst>
                  <a:gs pos="73000">
                    <a:srgbClr val="0E366B">
                      <a:alpha val="0"/>
                    </a:srgbClr>
                  </a:gs>
                  <a:gs pos="51000">
                    <a:srgbClr val="09192C"/>
                  </a:gs>
                  <a:gs pos="0">
                    <a:srgbClr val="FFFFFF">
                      <a:alpha val="0"/>
                    </a:srgb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6833">
                  <a:defRPr/>
                </a:pPr>
                <a:endParaRPr lang="en-US" sz="14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" name="Oval 18"/>
              <p:cNvSpPr/>
              <p:nvPr/>
            </p:nvSpPr>
            <p:spPr>
              <a:xfrm>
                <a:off x="0" y="5023990"/>
                <a:ext cx="12188825" cy="1453100"/>
              </a:xfrm>
              <a:prstGeom prst="ellipse">
                <a:avLst/>
              </a:prstGeom>
              <a:gradFill flip="none" rotWithShape="1">
                <a:gsLst>
                  <a:gs pos="9000">
                    <a:srgbClr val="2969B2"/>
                  </a:gs>
                  <a:gs pos="100000">
                    <a:srgbClr val="FFFFFF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56833">
                  <a:defRPr/>
                </a:pPr>
                <a:endParaRPr lang="en-US" sz="140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4" name="Rectangle 13"/>
            <p:cNvSpPr/>
            <p:nvPr/>
          </p:nvSpPr>
          <p:spPr>
            <a:xfrm>
              <a:off x="0" y="0"/>
              <a:ext cx="12188825" cy="6858000"/>
            </a:xfrm>
            <a:prstGeom prst="rect">
              <a:avLst/>
            </a:prstGeom>
            <a:gradFill>
              <a:gsLst>
                <a:gs pos="99000">
                  <a:srgbClr val="09192C">
                    <a:alpha val="60000"/>
                  </a:srgbClr>
                </a:gs>
                <a:gs pos="34000">
                  <a:srgbClr val="09192C">
                    <a:alpha val="0"/>
                  </a:srgbClr>
                </a:gs>
              </a:gsLst>
              <a:lin ang="5400000" scaled="0"/>
            </a:gradFill>
            <a:ln>
              <a:noFill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121899" tIns="60949" rIns="121899" bIns="60949" rtlCol="0" anchor="ctr"/>
            <a:lstStyle/>
            <a:p>
              <a:pPr algn="ctr" defTabSz="456473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 rot="5400000">
              <a:off x="2665413" y="-2665409"/>
              <a:ext cx="6858000" cy="12188825"/>
            </a:xfrm>
            <a:prstGeom prst="rect">
              <a:avLst/>
            </a:prstGeom>
            <a:gradFill>
              <a:gsLst>
                <a:gs pos="99000">
                  <a:srgbClr val="09192C">
                    <a:alpha val="60000"/>
                  </a:srgbClr>
                </a:gs>
                <a:gs pos="0">
                  <a:srgbClr val="09192C">
                    <a:alpha val="60000"/>
                  </a:srgbClr>
                </a:gs>
                <a:gs pos="30000">
                  <a:srgbClr val="09192C">
                    <a:alpha val="0"/>
                  </a:srgbClr>
                </a:gs>
                <a:gs pos="70000">
                  <a:srgbClr val="09192C">
                    <a:alpha val="0"/>
                  </a:srgbClr>
                </a:gs>
              </a:gsLst>
              <a:lin ang="16200000" scaled="0"/>
            </a:gradFill>
            <a:ln>
              <a:noFill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121899" tIns="60949" rIns="121899" bIns="60949" rtlCol="0" anchor="ctr"/>
            <a:lstStyle/>
            <a:p>
              <a:pPr algn="ctr" defTabSz="456473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>
                <a:solidFill>
                  <a:srgbClr val="FFFFFF"/>
                </a:solidFill>
              </a:endParaRPr>
            </a:p>
          </p:txBody>
        </p:sp>
      </p:grpSp>
      <p:sp>
        <p:nvSpPr>
          <p:cNvPr id="9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433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86" tIns="45643" rIns="91286" bIns="45643" numCol="1" anchor="ctr" anchorCtr="0" compatLnSpc="1">
            <a:prstTxWarp prst="textNoShape">
              <a:avLst/>
            </a:prstTxWarp>
          </a:bodyPr>
          <a:lstStyle>
            <a:lvl1pPr>
              <a:defRPr sz="2400">
                <a:solidFill>
                  <a:schemeClr val="bg2"/>
                </a:solidFill>
                <a:effectLst/>
              </a:defRPr>
            </a:lvl1pPr>
          </a:lstStyle>
          <a:p>
            <a:pPr lvl="0"/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6" name="Rectangle 7"/>
          <p:cNvSpPr>
            <a:spLocks noChangeArrowheads="1"/>
          </p:cNvSpPr>
          <p:nvPr userDrawn="1"/>
        </p:nvSpPr>
        <p:spPr bwMode="ltGray">
          <a:xfrm>
            <a:off x="8513532" y="4742920"/>
            <a:ext cx="220590" cy="154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483" tIns="30761" rIns="61483" bIns="30761" anchor="b">
            <a:spAutoFit/>
          </a:bodyPr>
          <a:lstStyle/>
          <a:p>
            <a:pPr algn="r" defTabSz="609800" fontAlgn="base">
              <a:spcBef>
                <a:spcPct val="0"/>
              </a:spcBef>
              <a:spcAft>
                <a:spcPct val="0"/>
              </a:spcAft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pPr algn="r" defTabSz="6098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ea typeface="ＭＳ Ｐゴシック" charset="0"/>
              <a:cs typeface="CiscoSans Thin"/>
            </a:endParaRPr>
          </a:p>
        </p:txBody>
      </p:sp>
      <p:pic>
        <p:nvPicPr>
          <p:cNvPr id="8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8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oup 19"/>
          <p:cNvGrpSpPr/>
          <p:nvPr userDrawn="1"/>
        </p:nvGrpSpPr>
        <p:grpSpPr>
          <a:xfrm rot="10800000">
            <a:off x="72834" y="4902885"/>
            <a:ext cx="122310" cy="169451"/>
            <a:chOff x="1038286" y="1218564"/>
            <a:chExt cx="163037" cy="225934"/>
          </a:xfrm>
          <a:noFill/>
        </p:grpSpPr>
        <p:sp>
          <p:nvSpPr>
            <p:cNvPr id="21" name="Left-Up Arrow 20"/>
            <p:cNvSpPr/>
            <p:nvPr/>
          </p:nvSpPr>
          <p:spPr>
            <a:xfrm>
              <a:off x="1038286" y="1218564"/>
              <a:ext cx="145875" cy="145885"/>
            </a:xfrm>
            <a:prstGeom prst="leftUpArrow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33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 smtClean="0">
                <a:solidFill>
                  <a:srgbClr val="FFFFFF"/>
                </a:solidFill>
              </a:endParaRPr>
            </a:p>
          </p:txBody>
        </p:sp>
        <p:cxnSp>
          <p:nvCxnSpPr>
            <p:cNvPr id="22" name="Straight Connector 21"/>
            <p:cNvCxnSpPr/>
            <p:nvPr/>
          </p:nvCxnSpPr>
          <p:spPr>
            <a:xfrm flipV="1">
              <a:off x="1124095" y="1295801"/>
              <a:ext cx="77228" cy="94396"/>
            </a:xfrm>
            <a:prstGeom prst="line">
              <a:avLst/>
            </a:prstGeom>
            <a:grpFill/>
            <a:ln>
              <a:noFill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Oval 22"/>
            <p:cNvSpPr/>
            <p:nvPr/>
          </p:nvSpPr>
          <p:spPr>
            <a:xfrm>
              <a:off x="1055448" y="1398778"/>
              <a:ext cx="45719" cy="45720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33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 smtClean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520128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8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349" indent="-171261">
              <a:lnSpc>
                <a:spcPct val="95000"/>
              </a:lnSpc>
              <a:spcBef>
                <a:spcPts val="1109"/>
              </a:spcBef>
              <a:buClr>
                <a:schemeClr val="tx1"/>
              </a:buClr>
              <a:buSzPct val="80000"/>
              <a:buFont typeface="Arial"/>
              <a:buChar char="•"/>
              <a:defRPr sz="1998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694" indent="-21566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798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7954" indent="-171261">
              <a:buClr>
                <a:schemeClr val="tx1"/>
              </a:buClr>
              <a:buSzPct val="80000"/>
              <a:buFont typeface="Arial"/>
              <a:buChar char="•"/>
              <a:defRPr sz="1599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214" indent="-171261">
              <a:buClr>
                <a:schemeClr val="tx1"/>
              </a:buClr>
              <a:buSzPct val="80000"/>
              <a:buFont typeface="Arial"/>
              <a:buChar char="•"/>
              <a:defRPr sz="1399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473" indent="-171261">
              <a:buClr>
                <a:schemeClr val="tx1"/>
              </a:buClr>
              <a:buSzPct val="80000"/>
              <a:buFont typeface="Arial"/>
              <a:buChar char="•"/>
              <a:defRPr sz="1199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349" indent="-171261">
              <a:lnSpc>
                <a:spcPct val="95000"/>
              </a:lnSpc>
              <a:spcBef>
                <a:spcPts val="1109"/>
              </a:spcBef>
              <a:buClr>
                <a:schemeClr val="tx1"/>
              </a:buClr>
              <a:buSzPct val="80000"/>
              <a:buFont typeface="Arial"/>
              <a:buChar char="•"/>
              <a:defRPr sz="1998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694" indent="-21566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798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7954" indent="-171261">
              <a:buClr>
                <a:schemeClr val="tx1"/>
              </a:buClr>
              <a:buSzPct val="80000"/>
              <a:buFont typeface="Arial"/>
              <a:buChar char="•"/>
              <a:defRPr sz="1599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214" indent="-171261">
              <a:buClr>
                <a:schemeClr val="tx1"/>
              </a:buClr>
              <a:buSzPct val="80000"/>
              <a:buFont typeface="Arial"/>
              <a:buChar char="•"/>
              <a:defRPr sz="1399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473" indent="-171261">
              <a:buClr>
                <a:schemeClr val="tx1"/>
              </a:buClr>
              <a:buSzPct val="80000"/>
              <a:buFont typeface="Arial"/>
              <a:buChar char="•"/>
              <a:defRPr sz="1199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4872452"/>
      </p:ext>
    </p:extLst>
  </p:cSld>
  <p:clrMapOvr>
    <a:masterClrMapping/>
  </p:clrMapOvr>
  <p:transition spd="med">
    <p:fade/>
  </p:transition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ullet_Dir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7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grpSp>
        <p:nvGrpSpPr>
          <p:cNvPr id="9" name="Group 95"/>
          <p:cNvGrpSpPr/>
          <p:nvPr userDrawn="1"/>
        </p:nvGrpSpPr>
        <p:grpSpPr>
          <a:xfrm>
            <a:off x="0" y="1073154"/>
            <a:ext cx="9144000" cy="2689225"/>
            <a:chOff x="0" y="1069979"/>
            <a:chExt cx="9144000" cy="2689225"/>
          </a:xfrm>
        </p:grpSpPr>
        <p:sp>
          <p:nvSpPr>
            <p:cNvPr id="10" name="Rectangle 9"/>
            <p:cNvSpPr/>
            <p:nvPr/>
          </p:nvSpPr>
          <p:spPr>
            <a:xfrm>
              <a:off x="0" y="1069979"/>
              <a:ext cx="9144000" cy="2689225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20000"/>
                    <a:lumOff val="80000"/>
                  </a:schemeClr>
                </a:gs>
                <a:gs pos="39000">
                  <a:schemeClr val="bg1">
                    <a:lumMod val="95000"/>
                    <a:alpha val="0"/>
                  </a:schemeClr>
                </a:gs>
              </a:gsLst>
              <a:lin ang="36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207"/>
              <a:endParaRPr lang="en-US" sz="1399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 flipH="1">
              <a:off x="0" y="1069979"/>
              <a:ext cx="9144000" cy="2689225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20000"/>
                    <a:lumOff val="80000"/>
                  </a:schemeClr>
                </a:gs>
                <a:gs pos="39000">
                  <a:schemeClr val="bg1">
                    <a:lumMod val="95000"/>
                    <a:alpha val="0"/>
                  </a:schemeClr>
                </a:gs>
              </a:gsLst>
              <a:lin ang="3600000" scaled="0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207"/>
              <a:endParaRPr lang="en-US" sz="1399" dirty="0" smtClean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8749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5412" y="324000"/>
            <a:ext cx="941172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513" y="3793201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513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513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315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0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0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99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/>
  </p:cSld>
  <p:clrMapOvr>
    <a:masterClrMapping/>
  </p:clrMapOvr>
  <p:transition spd="slow">
    <p:wipe/>
  </p:transition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576574" y="1646260"/>
            <a:ext cx="1990911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/>
  </p:cSld>
  <p:clrMapOvr>
    <a:masterClrMapping/>
  </p:clrMapOvr>
  <p:transition spd="slow">
    <p:wipe/>
  </p:transition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6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79006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1358"/>
            <a:ext cx="8229600" cy="353326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2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524" y="3793227"/>
            <a:ext cx="8296421" cy="288131"/>
          </a:xfrm>
          <a:prstGeom prst="rect">
            <a:avLst/>
          </a:prstGeom>
        </p:spPr>
        <p:txBody>
          <a:bodyPr lIns="91360" tIns="45680" rIns="91360" bIns="4568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5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2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8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0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6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08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524" y="4033224"/>
            <a:ext cx="8296421" cy="288131"/>
          </a:xfrm>
          <a:prstGeom prst="rect">
            <a:avLst/>
          </a:prstGeom>
        </p:spPr>
        <p:txBody>
          <a:bodyPr lIns="91360" tIns="45680" rIns="91360" bIns="4568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524" y="4273221"/>
            <a:ext cx="8296421" cy="288131"/>
          </a:xfrm>
          <a:prstGeom prst="rect">
            <a:avLst/>
          </a:prstGeom>
        </p:spPr>
        <p:txBody>
          <a:bodyPr lIns="91360" tIns="45680" rIns="91360" bIns="4568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320" y="3211463"/>
            <a:ext cx="8302625" cy="299001"/>
          </a:xfrm>
          <a:prstGeom prst="rect">
            <a:avLst/>
          </a:prstGeom>
        </p:spPr>
        <p:txBody>
          <a:bodyPr lIns="91360" tIns="45680" rIns="91360" bIns="4568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559" indent="0">
              <a:buNone/>
              <a:defRPr/>
            </a:lvl2pPr>
            <a:lvl3pPr marL="427089" indent="0">
              <a:buNone/>
              <a:defRPr/>
            </a:lvl3pPr>
            <a:lvl4pPr marL="516309" indent="0">
              <a:buNone/>
              <a:defRPr/>
            </a:lvl4pPr>
            <a:lvl5pPr marL="600776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7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66640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5366" y="4690921"/>
            <a:ext cx="1537194" cy="289637"/>
          </a:xfrm>
          <a:prstGeom prst="rect">
            <a:avLst/>
          </a:prstGeom>
        </p:spPr>
      </p:pic>
      <p:pic>
        <p:nvPicPr>
          <p:cNvPr id="7" name="Picture 6" descr="logo_black.ai"/>
          <p:cNvPicPr>
            <a:picLocks noChangeAspect="1"/>
          </p:cNvPicPr>
          <p:nvPr/>
        </p:nvPicPr>
        <p:blipFill>
          <a:blip r:embed="rId3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lum bright="100000" contras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200" y="324000"/>
            <a:ext cx="949596" cy="585216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</p:spTree>
    <p:extLst/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4D4D4D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Presentation Title Goes Her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676767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6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7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-8626" y="0"/>
            <a:ext cx="7502697" cy="1846053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42315" y="0"/>
            <a:ext cx="3301675" cy="1847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066" y="133350"/>
            <a:ext cx="672860" cy="35527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88" y="1230828"/>
            <a:ext cx="3412389" cy="599050"/>
          </a:xfrm>
          <a:prstGeom prst="rect">
            <a:avLst/>
          </a:prstGeom>
        </p:spPr>
      </p:pic>
    </p:spTree>
    <p:extLst/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1" tIns="34286" rIns="68571" bIns="34286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226644" y="2061713"/>
            <a:ext cx="7598042" cy="75912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ssion Title</a:t>
            </a:r>
            <a:endParaRPr lang="en-US" dirty="0"/>
          </a:p>
        </p:txBody>
      </p:sp>
      <p:sp>
        <p:nvSpPr>
          <p:cNvPr id="5" name="Rectangle 3"/>
          <p:cNvSpPr>
            <a:spLocks noChangeArrowheads="1"/>
          </p:cNvSpPr>
          <p:nvPr userDrawn="1"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 userDrawn="1"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74" tIns="34288" rIns="68574" bIns="34288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-8626" y="0"/>
            <a:ext cx="7502697" cy="1846053"/>
          </a:xfrm>
          <a:prstGeom prst="rect">
            <a:avLst/>
          </a:pr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003">
            <a:schemeClr val="dk2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42315" y="0"/>
            <a:ext cx="3301675" cy="1847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066" y="133350"/>
            <a:ext cx="672860" cy="355270"/>
          </a:xfrm>
          <a:prstGeom prst="rect">
            <a:avLst/>
          </a:prstGeom>
        </p:spPr>
      </p:pic>
      <p:sp>
        <p:nvSpPr>
          <p:cNvPr id="12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220440" y="3099325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4D4D4D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 smtClean="0"/>
              <a:t>Subtitle Goes Here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26644" y="3681060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676767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Speaker Name</a:t>
            </a:r>
            <a:endParaRPr lang="en-US" dirty="0"/>
          </a:p>
        </p:txBody>
      </p:sp>
      <p:sp>
        <p:nvSpPr>
          <p:cNvPr id="14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226644" y="3921057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Speaker Title</a:t>
            </a:r>
          </a:p>
        </p:txBody>
      </p:sp>
      <p:sp>
        <p:nvSpPr>
          <p:cNvPr id="15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226644" y="4161054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676767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Da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188" y="1230828"/>
            <a:ext cx="3412389" cy="599050"/>
          </a:xfrm>
          <a:prstGeom prst="rect">
            <a:avLst/>
          </a:prstGeom>
        </p:spPr>
      </p:pic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760134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Why are we here today?</a:t>
            </a:r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2822449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cs typeface="CiscoSans Thin"/>
              </a:rPr>
              <a:t>2015  </a:t>
            </a: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print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5366" y="4690921"/>
            <a:ext cx="1537194" cy="289637"/>
          </a:xfrm>
          <a:prstGeom prst="rect">
            <a:avLst/>
          </a:prstGeom>
        </p:spPr>
      </p:pic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lvl="0"/>
            <a:r>
              <a:rPr lang="en-US" dirty="0" smtClean="0"/>
              <a:t>Why are we here today?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9660" y="895601"/>
            <a:ext cx="8398739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12400" indent="-392400">
              <a:lnSpc>
                <a:spcPts val="444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68523" tIns="34283" rIns="68523" bIns="34283">
            <a:noAutofit/>
          </a:bodyPr>
          <a:lstStyle>
            <a:lvl1pPr marL="280725" indent="-223619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545" indent="-215681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035" indent="-171299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382" indent="-171299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1667" indent="-168124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6" tIns="34283" rIns="68526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1837945"/>
      </p:ext>
    </p:extLst>
  </p:cSld>
  <p:clrMapOvr>
    <a:masterClrMapping/>
  </p:clrMapOvr>
  <p:transition spd="med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m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29" tIns="34286" rIns="68529" bIns="34286" anchor="ctr"/>
          <a:lstStyle/>
          <a:p>
            <a:pPr defTabSz="456845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29" tIns="34286" rIns="68529" bIns="34286" anchor="ctr"/>
          <a:lstStyle/>
          <a:p>
            <a:pPr defTabSz="456845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9944" y="3209579"/>
            <a:ext cx="4684867" cy="288131"/>
          </a:xfrm>
          <a:prstGeom prst="rect">
            <a:avLst/>
          </a:prstGeom>
        </p:spPr>
        <p:txBody>
          <a:bodyPr vert="horz" lIns="68529" tIns="34286" rIns="68529" bIns="34286" rtlCol="0">
            <a:noAutofit/>
          </a:bodyPr>
          <a:lstStyle>
            <a:lvl1pPr marL="0" indent="0" algn="l" defTabSz="685244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800" kern="1200" baseline="0" dirty="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3426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2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78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1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57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3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0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Presenter Name and Title Go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9551" y="2462028"/>
            <a:ext cx="4712557" cy="766763"/>
          </a:xfrm>
        </p:spPr>
        <p:txBody>
          <a:bodyPr lIns="61670" tIns="34286" rIns="61670" bIns="34286" rtlCol="0" anchor="b">
            <a:noAutofit/>
          </a:bodyPr>
          <a:lstStyle>
            <a:lvl1pPr marL="0" indent="0" algn="l" defTabSz="685244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5200" b="0" kern="1200" spc="0" baseline="0" dirty="0">
                <a:solidFill>
                  <a:srgbClr val="3E6BB4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Demo Title</a:t>
            </a:r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5540384" y="1438276"/>
            <a:ext cx="2676525" cy="2166938"/>
          </a:xfrm>
          <a:prstGeom prst="rect">
            <a:avLst/>
          </a:prstGeom>
        </p:spPr>
        <p:txBody>
          <a:bodyPr lIns="91360" tIns="45680" rIns="91360" bIns="45680" anchor="ctr" anchorCtr="1"/>
          <a:lstStyle>
            <a:lvl1pPr marL="0" indent="0" algn="ctr">
              <a:buNone/>
              <a:defRPr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10558705"/>
      </p:ext>
    </p:extLst>
  </p:cSld>
  <p:clrMapOvr>
    <a:masterClrMapping/>
  </p:clrMapOvr>
  <p:transition spd="slow">
    <p:wipe/>
  </p:transition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4" y="1347788"/>
            <a:ext cx="4218460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970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928" y="302505"/>
            <a:ext cx="3715995" cy="826447"/>
          </a:xfrm>
          <a:prstGeom prst="rect">
            <a:avLst/>
          </a:prstGeom>
        </p:spPr>
        <p:txBody>
          <a:bodyPr lIns="61712" tIns="34286" rIns="61712" bIns="34286" rtlCol="0">
            <a:noAutofit/>
          </a:bodyPr>
          <a:lstStyle>
            <a:lvl1pPr algn="l" defTabSz="68572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905964" y="302506"/>
            <a:ext cx="3715995" cy="826446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928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905964" y="1347788"/>
            <a:ext cx="3715995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0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0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1963" y="22831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77728" y="22783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354813" y="220478"/>
            <a:ext cx="2337109" cy="77046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marR="0" indent="0" algn="l" defTabSz="68572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1963" y="1201094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77728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54812" y="1200321"/>
            <a:ext cx="2337110" cy="331490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3316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910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5" y="1330326"/>
            <a:ext cx="3712779" cy="31019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0" rIns="91420" bIns="45710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85718" indent="-85718" algn="l" defTabSz="685720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718" indent="-85718" algn="l" defTabSz="685720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148706" y="3552444"/>
            <a:ext cx="3506245" cy="2537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3901123" cy="3083094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555" indent="-17141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710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520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934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1347" indent="-171415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600" indent="-399968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0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3" y="1439060"/>
            <a:ext cx="3820348" cy="2265389"/>
          </a:xfrm>
        </p:spPr>
        <p:txBody>
          <a:bodyPr lIns="61715" tIns="34288" rIns="61715" bIns="34288" rtlCol="0" anchor="ctr">
            <a:noAutofit/>
          </a:bodyPr>
          <a:lstStyle>
            <a:lvl1pPr marL="0" indent="0" algn="l" defTabSz="685748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0" y="654518"/>
            <a:ext cx="3865880" cy="3840480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/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88"/>
            <a:ext cx="8345488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5"/>
            <a:ext cx="8345488" cy="266065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36A4D7"/>
            </a:gs>
            <a:gs pos="99001">
              <a:srgbClr val="2D5AA3"/>
            </a:gs>
            <a:gs pos="100000">
              <a:srgbClr val="2D5AA3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ltGray">
          <a:xfrm>
            <a:off x="8513531" y="4742917"/>
            <a:ext cx="220590" cy="154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41" tIns="30791" rIns="61541" bIns="30791" anchor="b">
            <a:spAutoFit/>
          </a:bodyPr>
          <a:lstStyle/>
          <a:p>
            <a:pPr algn="r" defTabSz="610299">
              <a:defRPr/>
            </a:pPr>
            <a:fld id="{4ABDCABE-3F10-B64C-92F1-862014417034}" type="slidenum">
              <a:rPr lang="en-US" sz="60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pPr algn="r" defTabSz="610299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ea typeface="ＭＳ Ｐゴシック" charset="0"/>
              <a:cs typeface="CiscoSans Thin"/>
            </a:endParaRPr>
          </a:p>
        </p:txBody>
      </p:sp>
      <p:pic>
        <p:nvPicPr>
          <p:cNvPr id="10" name="Picture 2" descr="C:\Users\spius\Pictures\cisco logo blue gradient.png"/>
          <p:cNvPicPr>
            <a:picLocks noChangeAspect="1" noChangeArrowheads="1"/>
          </p:cNvPicPr>
          <p:nvPr userDrawn="1"/>
        </p:nvPicPr>
        <p:blipFill>
          <a:blip r:embed="rId2" cstate="screen">
            <a:biLevel thresh="25000"/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8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7045667"/>
      </p:ext>
    </p:extLst>
  </p:cSld>
  <p:clrMapOvr>
    <a:masterClrMapping/>
  </p:clrMapOvr>
  <p:transition spd="med">
    <p:fade/>
  </p:transition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456"/>
            <a:ext cx="4007001" cy="3040773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74"/>
            <a:ext cx="4073346" cy="303939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6" y="1349354"/>
            <a:ext cx="4003995" cy="3040875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Oval 2"/>
          <p:cNvSpPr/>
          <p:nvPr userDrawn="1"/>
        </p:nvSpPr>
        <p:spPr>
          <a:xfrm>
            <a:off x="6085116" y="1622395"/>
            <a:ext cx="2318564" cy="2318564"/>
          </a:xfrm>
          <a:prstGeom prst="ellipse">
            <a:avLst/>
          </a:prstGeom>
          <a:solidFill>
            <a:srgbClr val="32B2D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4" name="Oval 3"/>
          <p:cNvSpPr/>
          <p:nvPr userDrawn="1"/>
        </p:nvSpPr>
        <p:spPr>
          <a:xfrm>
            <a:off x="3423230" y="1622395"/>
            <a:ext cx="2318564" cy="2318564"/>
          </a:xfrm>
          <a:prstGeom prst="ellipse">
            <a:avLst/>
          </a:prstGeom>
          <a:solidFill>
            <a:srgbClr val="21479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Oval 6"/>
          <p:cNvSpPr/>
          <p:nvPr userDrawn="1"/>
        </p:nvSpPr>
        <p:spPr>
          <a:xfrm>
            <a:off x="764271" y="1622395"/>
            <a:ext cx="2318564" cy="2318564"/>
          </a:xfrm>
          <a:prstGeom prst="ellipse">
            <a:avLst/>
          </a:prstGeom>
          <a:solidFill>
            <a:srgbClr val="57B74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777485" y="2800142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3436444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6098330" y="2798195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rgbClr val="FFFFFF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4" hasCustomPrompt="1"/>
          </p:nvPr>
        </p:nvSpPr>
        <p:spPr>
          <a:xfrm>
            <a:off x="1520825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5" hasCustomPrompt="1"/>
          </p:nvPr>
        </p:nvSpPr>
        <p:spPr>
          <a:xfrm>
            <a:off x="4202870" y="215280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  <p:sp>
        <p:nvSpPr>
          <p:cNvPr id="2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6841860" y="2143029"/>
            <a:ext cx="788988" cy="788988"/>
          </a:xfrm>
          <a:prstGeom prst="rect">
            <a:avLst/>
          </a:prstGeom>
        </p:spPr>
        <p:txBody>
          <a:bodyPr vert="horz"/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con</a:t>
            </a:r>
            <a:endParaRPr lang="en-US" dirty="0"/>
          </a:p>
        </p:txBody>
      </p:sp>
    </p:spTree>
    <p:extLst/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/>
          <p:cNvSpPr/>
          <p:nvPr userDrawn="1"/>
        </p:nvSpPr>
        <p:spPr>
          <a:xfrm>
            <a:off x="774821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44" name="Oval 43"/>
          <p:cNvSpPr/>
          <p:nvPr userDrawn="1"/>
        </p:nvSpPr>
        <p:spPr>
          <a:xfrm>
            <a:off x="3422842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45" name="Oval 44"/>
          <p:cNvSpPr/>
          <p:nvPr userDrawn="1"/>
        </p:nvSpPr>
        <p:spPr>
          <a:xfrm>
            <a:off x="6087359" y="1622395"/>
            <a:ext cx="2306251" cy="2305968"/>
          </a:xfrm>
          <a:prstGeom prst="ellipse">
            <a:avLst/>
          </a:prstGeom>
          <a:solidFill>
            <a:sysClr val="windowText" lastClr="000000">
              <a:alpha val="30000"/>
            </a:sysClr>
          </a:solidFill>
          <a:ln w="25400" cap="flat" cmpd="sng" algn="ctr">
            <a:noFill/>
            <a:prstDash val="solid"/>
          </a:ln>
          <a:effectLst/>
        </p:spPr>
        <p:txBody>
          <a:bodyPr lIns="68577" tIns="34289" rIns="68577" bIns="34289" anchor="ctr"/>
          <a:lstStyle/>
          <a:p>
            <a:pPr algn="ctr" defTabSz="914400">
              <a:defRPr/>
            </a:pPr>
            <a:endParaRPr lang="en-US" kern="0">
              <a:solidFill>
                <a:prstClr val="white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10" hasCustomPrompt="1"/>
          </p:nvPr>
        </p:nvSpPr>
        <p:spPr>
          <a:xfrm>
            <a:off x="774965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</a:t>
            </a:r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11" hasCustomPrompt="1"/>
          </p:nvPr>
        </p:nvSpPr>
        <p:spPr>
          <a:xfrm>
            <a:off x="3422986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12" hasCustomPrompt="1"/>
          </p:nvPr>
        </p:nvSpPr>
        <p:spPr>
          <a:xfrm>
            <a:off x="6087503" y="1622395"/>
            <a:ext cx="2305968" cy="2305968"/>
          </a:xfrm>
          <a:prstGeom prst="ellipse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txBody>
          <a:bodyPr lIns="91424" tIns="45712" rIns="91424" bIns="45712" anchor="ctr" anchorCtr="0"/>
          <a:lstStyle>
            <a:lvl1pPr algn="l">
              <a:buFontTx/>
              <a:buNone/>
              <a:defRPr sz="13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 smtClean="0"/>
              <a:t>	</a:t>
            </a:r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endParaRPr lang="en-US" noProof="0" dirty="0" smtClean="0"/>
          </a:p>
          <a:p>
            <a:pPr lvl="0"/>
            <a:r>
              <a:rPr lang="en-US" noProof="0" dirty="0" smtClean="0"/>
              <a:t>	Drag picture to placeholder or click icon to add</a:t>
            </a:r>
            <a:endParaRPr lang="en-US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788797" y="3873138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3436818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Text Placeholder 17"/>
          <p:cNvSpPr>
            <a:spLocks noGrp="1"/>
          </p:cNvSpPr>
          <p:nvPr>
            <p:ph type="body" sz="quarter" idx="15" hasCustomPrompt="1"/>
          </p:nvPr>
        </p:nvSpPr>
        <p:spPr>
          <a:xfrm>
            <a:off x="6101335" y="3871191"/>
            <a:ext cx="2292136" cy="603661"/>
          </a:xfrm>
          <a:prstGeom prst="rect">
            <a:avLst/>
          </a:prstGeom>
        </p:spPr>
        <p:txBody>
          <a:bodyPr lIns="91420" tIns="45710" rIns="91420" bIns="45710" anchor="ctr" anchorCtr="0">
            <a:noAutofit/>
          </a:bodyPr>
          <a:lstStyle>
            <a:lvl1pPr marL="0" indent="0" algn="ctr">
              <a:buNone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/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500063" y="3486478"/>
            <a:ext cx="8139112" cy="500992"/>
          </a:xfrm>
          <a:prstGeom prst="rect">
            <a:avLst/>
          </a:prstGeom>
          <a:solidFill>
            <a:schemeClr val="bg1">
              <a:alpha val="70000"/>
            </a:schemeClr>
          </a:solidFill>
          <a:extLst/>
        </p:spPr>
        <p:txBody>
          <a:bodyPr wrap="square" lIns="108000" tIns="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172800" indent="0">
              <a:lnSpc>
                <a:spcPts val="3680"/>
              </a:lnSpc>
              <a:spcBef>
                <a:spcPts val="0"/>
              </a:spcBef>
              <a:buNone/>
              <a:defRPr sz="2400" i="1"/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/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 hasCustomPrompt="1"/>
          </p:nvPr>
        </p:nvSpPr>
        <p:spPr>
          <a:xfrm>
            <a:off x="308013" y="301037"/>
            <a:ext cx="8563172" cy="2542175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dirty="0" smtClean="0"/>
              <a:t>Click icon to add program identity imag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rgbClr val="676767"/>
                </a:solidFill>
              </a:defRPr>
            </a:lvl1pPr>
          </a:lstStyle>
          <a:p>
            <a:pPr lvl="0"/>
            <a:r>
              <a:rPr lang="en-GB" dirty="0" smtClean="0"/>
              <a:t>Text Goes Here</a:t>
            </a:r>
          </a:p>
        </p:txBody>
      </p:sp>
    </p:spTree>
    <p:extLst/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0813" y="4629150"/>
            <a:ext cx="7334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/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/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photo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892300" y="596900"/>
            <a:ext cx="5348288" cy="300355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892300" y="3595688"/>
            <a:ext cx="5346700" cy="747712"/>
          </a:xfrm>
          <a:prstGeom prst="rect">
            <a:avLst/>
          </a:prstGeom>
          <a:noFill/>
          <a:ln>
            <a:noFill/>
          </a:ln>
          <a:effectLst>
            <a:outerShdw blurRad="1143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1900238" y="596646"/>
            <a:ext cx="5329238" cy="300380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065871" y="3655079"/>
            <a:ext cx="5074070" cy="628650"/>
          </a:xfrm>
        </p:spPr>
        <p:txBody>
          <a:bodyPr anchor="ctr"/>
          <a:lstStyle>
            <a:lvl1pPr>
              <a:defRPr sz="20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photo_top lef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49800" y="233363"/>
            <a:ext cx="3273425" cy="18446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549991" y="233172"/>
            <a:ext cx="3273552" cy="184480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676767"/>
            </a:solidFill>
          </a:ln>
          <a:effectLst/>
        </p:spPr>
        <p:txBody>
          <a:bodyPr vert="horz" lIns="68577" tIns="34289" rIns="68577" bIns="34289" rtlCol="0" anchor="ctr" anchorCtr="0">
            <a:normAutofit/>
          </a:bodyPr>
          <a:lstStyle>
            <a:lvl1pPr marL="0" indent="0" algn="ctr" defTabSz="685777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0935" y="2480693"/>
            <a:ext cx="6729865" cy="1614419"/>
          </a:xfrm>
        </p:spPr>
        <p:txBody>
          <a:bodyPr>
            <a:noAutofit/>
          </a:bodyPr>
          <a:lstStyle>
            <a:lvl1pPr marL="0" marR="0" indent="0" algn="l" defTabSz="68577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500">
                <a:solidFill>
                  <a:srgbClr val="676767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 smtClean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white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26" tIns="34283" rIns="68526" bIns="34283" anchor="ctr"/>
          <a:lstStyle/>
          <a:p>
            <a:pPr defTabSz="456845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hidden">
          <a:xfrm>
            <a:off x="0" y="0"/>
            <a:ext cx="9144000" cy="133350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26" tIns="34283" rIns="68526" bIns="34283" anchor="ctr"/>
          <a:lstStyle/>
          <a:p>
            <a:pPr defTabSz="456845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8918099"/>
      </p:ext>
    </p:extLst>
  </p:cSld>
  <p:clrMapOvr>
    <a:masterClrMapping/>
  </p:clrMapOvr>
  <p:transition spd="med">
    <p:fade/>
  </p:transition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rait photo_right s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992688" y="546607"/>
            <a:ext cx="3630612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7" tIns="34289" rIns="68577" bIns="34289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4992624" y="546734"/>
            <a:ext cx="3630168" cy="386981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rgbClr val="2968AF"/>
            </a:solidFill>
          </a:ln>
          <a:effectLst/>
        </p:spPr>
        <p:txBody>
          <a:bodyPr lIns="91424" tIns="45712" rIns="91424" bIns="45712" anchor="ctr" anchorCtr="0"/>
          <a:lstStyle>
            <a:lvl1pPr algn="ctr">
              <a:buFontTx/>
              <a:buNone/>
              <a:defRPr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7669" y="546734"/>
            <a:ext cx="4349918" cy="813985"/>
          </a:xfrm>
        </p:spPr>
        <p:txBody>
          <a:bodyPr wrap="none" anchor="t" anchorCtr="0">
            <a:noAutofit/>
          </a:bodyPr>
          <a:lstStyle>
            <a:lvl1pPr>
              <a:lnSpc>
                <a:spcPct val="90000"/>
              </a:lnSpc>
              <a:defRPr sz="25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title</a:t>
            </a:r>
            <a:endParaRPr lang="en-US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ultipl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8713" y="233363"/>
            <a:ext cx="326866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4963" y="233363"/>
            <a:ext cx="3287712" cy="1995487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980238" y="233363"/>
            <a:ext cx="1838325" cy="9810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4963" y="2271713"/>
            <a:ext cx="2522537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11475" y="2271713"/>
            <a:ext cx="4025900" cy="2593975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980238" y="1262063"/>
            <a:ext cx="1838325" cy="2582862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980238" y="3887788"/>
            <a:ext cx="1838325" cy="9779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4" tIns="34288" rIns="68574" bIns="34288" anchor="ctr"/>
          <a:lstStyle/>
          <a:p>
            <a:pPr algn="ctr" defTabSz="457200">
              <a:defRPr/>
            </a:pPr>
            <a:endParaRPr lang="en-US">
              <a:solidFill>
                <a:srgbClr val="FFFFFF"/>
              </a:solidFill>
              <a:latin typeface="CiscoSans"/>
              <a:cs typeface="CiscoSans"/>
            </a:endParaRPr>
          </a:p>
        </p:txBody>
      </p:sp>
      <p:sp>
        <p:nvSpPr>
          <p:cNvPr id="49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3668995" y="233363"/>
            <a:ext cx="326786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baseline="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0"/>
          </p:nvPr>
        </p:nvSpPr>
        <p:spPr>
          <a:xfrm>
            <a:off x="320828" y="233363"/>
            <a:ext cx="3302001" cy="1995489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1" name="Picture Placeholder 25"/>
          <p:cNvSpPr>
            <a:spLocks noGrp="1"/>
          </p:cNvSpPr>
          <p:nvPr>
            <p:ph type="pic" sz="quarter" idx="12"/>
          </p:nvPr>
        </p:nvSpPr>
        <p:spPr>
          <a:xfrm>
            <a:off x="6979833" y="233363"/>
            <a:ext cx="1838730" cy="981076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3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320824" y="2271718"/>
            <a:ext cx="2537420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5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908334" y="2271718"/>
            <a:ext cx="4028516" cy="2594201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7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6979833" y="1257301"/>
            <a:ext cx="1838730" cy="2587058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6979833" y="3887223"/>
            <a:ext cx="1838730" cy="978694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solidFill>
              <a:schemeClr val="bg2"/>
            </a:solidFill>
          </a:ln>
          <a:effectLst/>
        </p:spPr>
        <p:txBody>
          <a:bodyPr vert="horz" lIns="68574" tIns="34288" rIns="68574" bIns="34288" rtlCol="0" anchor="ctr" anchorCtr="0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500" b="0" i="0" kern="1200" dirty="0">
                <a:solidFill>
                  <a:schemeClr val="tx2"/>
                </a:solidFill>
                <a:latin typeface="+mn-lt"/>
                <a:ea typeface="+mn-ea"/>
                <a:cs typeface="Broadway" panose="04040905080B02020502" pitchFamily="82" charset="0"/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Media Placeholder 39"/>
          <p:cNvSpPr>
            <a:spLocks noGrp="1"/>
          </p:cNvSpPr>
          <p:nvPr>
            <p:ph type="media" sz="quarter" idx="11"/>
          </p:nvPr>
        </p:nvSpPr>
        <p:spPr>
          <a:xfrm>
            <a:off x="528638" y="582930"/>
            <a:ext cx="8164931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 baseline="0" smtClean="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Media Placeholder 20"/>
          <p:cNvSpPr>
            <a:spLocks noGrp="1"/>
          </p:cNvSpPr>
          <p:nvPr>
            <p:ph type="media" sz="quarter" idx="10"/>
          </p:nvPr>
        </p:nvSpPr>
        <p:spPr>
          <a:xfrm>
            <a:off x="2179339" y="584002"/>
            <a:ext cx="4424562" cy="331927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8574" tIns="34288" rIns="68574" bIns="34288" rtlCol="0" anchor="ctr">
            <a:normAutofit/>
          </a:bodyPr>
          <a:lstStyle>
            <a:lvl1pPr marL="0" indent="0" algn="ctr" defTabSz="685748" rtl="0" eaLnBrk="1" latinLnBrk="0" hangingPunct="1">
              <a:lnSpc>
                <a:spcPct val="95000"/>
              </a:lnSpc>
              <a:spcBef>
                <a:spcPts val="1080"/>
              </a:spcBef>
              <a:buClr>
                <a:srgbClr val="92D050"/>
              </a:buClr>
              <a:buSzPct val="90000"/>
              <a:buFont typeface="Arial" pitchFamily="34" charset="0"/>
              <a:buNone/>
              <a:tabLst/>
              <a:defRPr lang="en-US" sz="1400" kern="1200">
                <a:solidFill>
                  <a:schemeClr val="lt1"/>
                </a:solidFill>
                <a:latin typeface="+mn-lt"/>
                <a:ea typeface="+mn-ea"/>
                <a:cs typeface="CiscoSans"/>
              </a:defRPr>
            </a:lvl1pPr>
          </a:lstStyle>
          <a:p>
            <a:pPr lvl="0"/>
            <a:r>
              <a:rPr lang="en-US" noProof="0" smtClean="0"/>
              <a:t>Click icon to add media</a:t>
            </a:r>
            <a:endParaRPr lang="en-US" noProof="0" dirty="0"/>
          </a:p>
        </p:txBody>
      </p:sp>
    </p:spTree>
    <p:extLst/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35A2D6"/>
            </a:gs>
            <a:gs pos="999">
              <a:srgbClr val="35A2D6"/>
            </a:gs>
            <a:gs pos="100000">
              <a:srgbClr val="2968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6" descr="pref_1-line_logo+tagline-rt-white-CMYK.ai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2088" y="1643063"/>
            <a:ext cx="87598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/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518E73DC-22E8-4B5D-A24C-C8DDBC4ED465}" type="datetimeFigureOut">
              <a:rPr lang="en-US" smtClean="0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1/24/17</a:t>
            </a:fld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B7CCF442-15F4-4699-8BE4-E435B0B7C1FA}" type="slidenum">
              <a:rPr lang="en-US" smtClean="0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</p:spTree>
    <p:extLst/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5638" y="342900"/>
            <a:ext cx="8145462" cy="6286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55648" y="1335883"/>
            <a:ext cx="3894137" cy="2678906"/>
          </a:xfrm>
          <a:prstGeom prst="rect">
            <a:avLst/>
          </a:prstGeom>
        </p:spPr>
        <p:txBody>
          <a:bodyPr lIns="68577" tIns="34292" rIns="68577" bIns="34292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2175" y="1335883"/>
            <a:ext cx="3894138" cy="2678906"/>
          </a:xfrm>
          <a:prstGeom prst="rect">
            <a:avLst/>
          </a:prstGeom>
        </p:spPr>
        <p:txBody>
          <a:bodyPr lIns="68577" tIns="34292" rIns="68577" bIns="34292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/>
  </p:cSld>
  <p:clrMapOvr>
    <a:masterClrMapping/>
  </p:clrMapOvr>
  <p:transition spd="slow">
    <p:wipe/>
  </p:transition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Slide Title Goes Here</a:t>
            </a:r>
            <a:endParaRPr lang="en-US" dirty="0"/>
          </a:p>
        </p:txBody>
      </p:sp>
      <p:sp>
        <p:nvSpPr>
          <p:cNvPr id="5" name="Rectangle 7"/>
          <p:cNvSpPr>
            <a:spLocks noChangeArrowheads="1"/>
          </p:cNvSpPr>
          <p:nvPr userDrawn="1"/>
        </p:nvSpPr>
        <p:spPr bwMode="ltGray">
          <a:xfrm>
            <a:off x="8594415" y="4909071"/>
            <a:ext cx="322583" cy="2368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82103" tIns="41049" rIns="82103" bIns="41049" anchor="b">
            <a:spAutoFit/>
          </a:bodyPr>
          <a:lstStyle/>
          <a:p>
            <a:pPr algn="r" defTabSz="814166" fontAlgn="base">
              <a:spcBef>
                <a:spcPct val="0"/>
              </a:spcBef>
              <a:spcAft>
                <a:spcPct val="0"/>
              </a:spcAft>
            </a:pPr>
            <a:fld id="{DFCF27A5-1A5B-48D3-A060-2758FFBB1ADD}" type="slidenum">
              <a:rPr lang="en-US" sz="1000">
                <a:solidFill>
                  <a:srgbClr val="8E8E95"/>
                </a:solidFill>
              </a:rPr>
              <a:pPr algn="r" defTabSz="814166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8E8E95"/>
              </a:solidFill>
            </a:endParaRPr>
          </a:p>
        </p:txBody>
      </p:sp>
    </p:spTree>
    <p:extLst/>
  </p:cSld>
  <p:clrMapOvr>
    <a:masterClrMapping/>
  </p:clrMapOvr>
  <p:transition spd="slow">
    <p:wipe/>
  </p:transition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-animated gradient">
    <p:bg>
      <p:bgPr>
        <a:gradFill>
          <a:gsLst>
            <a:gs pos="0">
              <a:srgbClr val="049FD9"/>
            </a:gs>
            <a:gs pos="100000">
              <a:srgbClr val="004BAF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50" y="323850"/>
            <a:ext cx="941388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 spd="slow">
    <p:wip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4665" y="1347790"/>
            <a:ext cx="8280057" cy="3073946"/>
          </a:xfrm>
          <a:prstGeom prst="rect">
            <a:avLst/>
          </a:prstGeom>
        </p:spPr>
        <p:txBody>
          <a:bodyPr lIns="91360" tIns="45680" rIns="91360" bIns="45680">
            <a:noAutofit/>
          </a:bodyPr>
          <a:lstStyle>
            <a:lvl1pPr marL="285482" marR="0" indent="-285482" algn="ctr" defTabSz="45675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4" tIns="45682" rIns="91364" bIns="4568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240382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gue">
    <p:bg>
      <p:bgPr>
        <a:gradFill rotWithShape="0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/>
  </p:cSld>
  <p:clrMapOvr>
    <a:masterClrMapping/>
  </p:clrMapOvr>
  <p:transition spd="slow">
    <p:wipe/>
  </p:transition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egue custom">
    <p:bg>
      <p:bgPr>
        <a:gradFill rotWithShape="0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509F5890-BE05-4D5D-AADF-DD6FDB4C472B}" type="slidenum">
              <a:rPr lang="en-US" sz="60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ea typeface="ＭＳ Ｐゴシック" charset="0"/>
                <a:cs typeface="CiscoSans Thin"/>
              </a:rPr>
              <a:t>© 2016  Cisco and/or its affiliates. All rights reserved.   Cisco Confidential</a:t>
            </a:r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1943254"/>
            <a:ext cx="7598042" cy="1970725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>
            <a:alphaModFix amt="60000"/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23"/>
          <p:cNvSpPr>
            <a:spLocks noEditPoints="1"/>
          </p:cNvSpPr>
          <p:nvPr userDrawn="1"/>
        </p:nvSpPr>
        <p:spPr bwMode="auto">
          <a:xfrm>
            <a:off x="477679" y="735531"/>
            <a:ext cx="981326" cy="991454"/>
          </a:xfrm>
          <a:custGeom>
            <a:avLst/>
            <a:gdLst>
              <a:gd name="T0" fmla="*/ 522 w 769"/>
              <a:gd name="T1" fmla="*/ 674 h 769"/>
              <a:gd name="T2" fmla="*/ 513 w 769"/>
              <a:gd name="T3" fmla="*/ 655 h 769"/>
              <a:gd name="T4" fmla="*/ 494 w 769"/>
              <a:gd name="T5" fmla="*/ 485 h 769"/>
              <a:gd name="T6" fmla="*/ 377 w 769"/>
              <a:gd name="T7" fmla="*/ 395 h 769"/>
              <a:gd name="T8" fmla="*/ 208 w 769"/>
              <a:gd name="T9" fmla="*/ 197 h 769"/>
              <a:gd name="T10" fmla="*/ 247 w 769"/>
              <a:gd name="T11" fmla="*/ 103 h 769"/>
              <a:gd name="T12" fmla="*/ 265 w 769"/>
              <a:gd name="T13" fmla="*/ 118 h 769"/>
              <a:gd name="T14" fmla="*/ 277 w 769"/>
              <a:gd name="T15" fmla="*/ 288 h 769"/>
              <a:gd name="T16" fmla="*/ 390 w 769"/>
              <a:gd name="T17" fmla="*/ 376 h 769"/>
              <a:gd name="T18" fmla="*/ 511 w 769"/>
              <a:gd name="T19" fmla="*/ 469 h 769"/>
              <a:gd name="T20" fmla="*/ 532 w 769"/>
              <a:gd name="T21" fmla="*/ 669 h 769"/>
              <a:gd name="T22" fmla="*/ 384 w 769"/>
              <a:gd name="T23" fmla="*/ 557 h 769"/>
              <a:gd name="T24" fmla="*/ 384 w 769"/>
              <a:gd name="T25" fmla="*/ 531 h 769"/>
              <a:gd name="T26" fmla="*/ 223 w 769"/>
              <a:gd name="T27" fmla="*/ 544 h 769"/>
              <a:gd name="T28" fmla="*/ 384 w 769"/>
              <a:gd name="T29" fmla="*/ 557 h 769"/>
              <a:gd name="T30" fmla="*/ 352 w 769"/>
              <a:gd name="T31" fmla="*/ 439 h 769"/>
              <a:gd name="T32" fmla="*/ 352 w 769"/>
              <a:gd name="T33" fmla="*/ 419 h 769"/>
              <a:gd name="T34" fmla="*/ 319 w 769"/>
              <a:gd name="T35" fmla="*/ 429 h 769"/>
              <a:gd name="T36" fmla="*/ 352 w 769"/>
              <a:gd name="T37" fmla="*/ 439 h 769"/>
              <a:gd name="T38" fmla="*/ 359 w 769"/>
              <a:gd name="T39" fmla="*/ 495 h 769"/>
              <a:gd name="T40" fmla="*/ 359 w 769"/>
              <a:gd name="T41" fmla="*/ 475 h 769"/>
              <a:gd name="T42" fmla="*/ 254 w 769"/>
              <a:gd name="T43" fmla="*/ 485 h 769"/>
              <a:gd name="T44" fmla="*/ 359 w 769"/>
              <a:gd name="T45" fmla="*/ 495 h 769"/>
              <a:gd name="T46" fmla="*/ 429 w 769"/>
              <a:gd name="T47" fmla="*/ 613 h 769"/>
              <a:gd name="T48" fmla="*/ 429 w 769"/>
              <a:gd name="T49" fmla="*/ 587 h 769"/>
              <a:gd name="T50" fmla="*/ 213 w 769"/>
              <a:gd name="T51" fmla="*/ 600 h 769"/>
              <a:gd name="T52" fmla="*/ 429 w 769"/>
              <a:gd name="T53" fmla="*/ 613 h 769"/>
              <a:gd name="T54" fmla="*/ 464 w 769"/>
              <a:gd name="T55" fmla="*/ 669 h 769"/>
              <a:gd name="T56" fmla="*/ 464 w 769"/>
              <a:gd name="T57" fmla="*/ 643 h 769"/>
              <a:gd name="T58" fmla="*/ 244 w 769"/>
              <a:gd name="T59" fmla="*/ 656 h 769"/>
              <a:gd name="T60" fmla="*/ 464 w 769"/>
              <a:gd name="T61" fmla="*/ 669 h 769"/>
              <a:gd name="T62" fmla="*/ 535 w 769"/>
              <a:gd name="T63" fmla="*/ 240 h 769"/>
              <a:gd name="T64" fmla="*/ 535 w 769"/>
              <a:gd name="T65" fmla="*/ 220 h 769"/>
              <a:gd name="T66" fmla="*/ 375 w 769"/>
              <a:gd name="T67" fmla="*/ 230 h 769"/>
              <a:gd name="T68" fmla="*/ 535 w 769"/>
              <a:gd name="T69" fmla="*/ 240 h 769"/>
              <a:gd name="T70" fmla="*/ 438 w 769"/>
              <a:gd name="T71" fmla="*/ 357 h 769"/>
              <a:gd name="T72" fmla="*/ 438 w 769"/>
              <a:gd name="T73" fmla="*/ 332 h 769"/>
              <a:gd name="T74" fmla="*/ 405 w 769"/>
              <a:gd name="T75" fmla="*/ 345 h 769"/>
              <a:gd name="T76" fmla="*/ 438 w 769"/>
              <a:gd name="T77" fmla="*/ 357 h 769"/>
              <a:gd name="T78" fmla="*/ 505 w 769"/>
              <a:gd name="T79" fmla="*/ 301 h 769"/>
              <a:gd name="T80" fmla="*/ 505 w 769"/>
              <a:gd name="T81" fmla="*/ 276 h 769"/>
              <a:gd name="T82" fmla="*/ 400 w 769"/>
              <a:gd name="T83" fmla="*/ 289 h 769"/>
              <a:gd name="T84" fmla="*/ 505 w 769"/>
              <a:gd name="T85" fmla="*/ 301 h 769"/>
              <a:gd name="T86" fmla="*/ 545 w 769"/>
              <a:gd name="T87" fmla="*/ 184 h 769"/>
              <a:gd name="T88" fmla="*/ 545 w 769"/>
              <a:gd name="T89" fmla="*/ 163 h 769"/>
              <a:gd name="T90" fmla="*/ 329 w 769"/>
              <a:gd name="T91" fmla="*/ 174 h 769"/>
              <a:gd name="T92" fmla="*/ 545 w 769"/>
              <a:gd name="T93" fmla="*/ 184 h 769"/>
              <a:gd name="T94" fmla="*/ 515 w 769"/>
              <a:gd name="T95" fmla="*/ 128 h 769"/>
              <a:gd name="T96" fmla="*/ 515 w 769"/>
              <a:gd name="T97" fmla="*/ 102 h 769"/>
              <a:gd name="T98" fmla="*/ 294 w 769"/>
              <a:gd name="T99" fmla="*/ 115 h 769"/>
              <a:gd name="T100" fmla="*/ 515 w 769"/>
              <a:gd name="T101" fmla="*/ 128 h 769"/>
              <a:gd name="T102" fmla="*/ 385 w 769"/>
              <a:gd name="T103" fmla="*/ 0 h 769"/>
              <a:gd name="T104" fmla="*/ 385 w 769"/>
              <a:gd name="T105" fmla="*/ 769 h 769"/>
              <a:gd name="T106" fmla="*/ 385 w 769"/>
              <a:gd name="T107" fmla="*/ 0 h 7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769" h="769">
                <a:moveTo>
                  <a:pt x="522" y="674"/>
                </a:moveTo>
                <a:cubicBezTo>
                  <a:pt x="522" y="674"/>
                  <a:pt x="522" y="674"/>
                  <a:pt x="522" y="674"/>
                </a:cubicBezTo>
                <a:cubicBezTo>
                  <a:pt x="520" y="674"/>
                  <a:pt x="518" y="673"/>
                  <a:pt x="515" y="672"/>
                </a:cubicBezTo>
                <a:cubicBezTo>
                  <a:pt x="510" y="668"/>
                  <a:pt x="509" y="661"/>
                  <a:pt x="513" y="655"/>
                </a:cubicBezTo>
                <a:cubicBezTo>
                  <a:pt x="530" y="632"/>
                  <a:pt x="538" y="608"/>
                  <a:pt x="538" y="583"/>
                </a:cubicBezTo>
                <a:cubicBezTo>
                  <a:pt x="538" y="549"/>
                  <a:pt x="524" y="517"/>
                  <a:pt x="494" y="485"/>
                </a:cubicBezTo>
                <a:cubicBezTo>
                  <a:pt x="467" y="457"/>
                  <a:pt x="431" y="432"/>
                  <a:pt x="400" y="411"/>
                </a:cubicBezTo>
                <a:cubicBezTo>
                  <a:pt x="392" y="405"/>
                  <a:pt x="384" y="400"/>
                  <a:pt x="377" y="395"/>
                </a:cubicBezTo>
                <a:cubicBezTo>
                  <a:pt x="372" y="391"/>
                  <a:pt x="366" y="388"/>
                  <a:pt x="361" y="384"/>
                </a:cubicBezTo>
                <a:cubicBezTo>
                  <a:pt x="293" y="337"/>
                  <a:pt x="208" y="278"/>
                  <a:pt x="208" y="197"/>
                </a:cubicBezTo>
                <a:cubicBezTo>
                  <a:pt x="208" y="180"/>
                  <a:pt x="212" y="163"/>
                  <a:pt x="219" y="146"/>
                </a:cubicBezTo>
                <a:cubicBezTo>
                  <a:pt x="226" y="132"/>
                  <a:pt x="235" y="117"/>
                  <a:pt x="247" y="103"/>
                </a:cubicBezTo>
                <a:cubicBezTo>
                  <a:pt x="252" y="98"/>
                  <a:pt x="259" y="97"/>
                  <a:pt x="264" y="101"/>
                </a:cubicBezTo>
                <a:cubicBezTo>
                  <a:pt x="269" y="105"/>
                  <a:pt x="269" y="113"/>
                  <a:pt x="265" y="118"/>
                </a:cubicBezTo>
                <a:cubicBezTo>
                  <a:pt x="243" y="144"/>
                  <a:pt x="232" y="170"/>
                  <a:pt x="232" y="197"/>
                </a:cubicBezTo>
                <a:cubicBezTo>
                  <a:pt x="232" y="227"/>
                  <a:pt x="246" y="257"/>
                  <a:pt x="277" y="288"/>
                </a:cubicBezTo>
                <a:cubicBezTo>
                  <a:pt x="305" y="316"/>
                  <a:pt x="342" y="342"/>
                  <a:pt x="374" y="364"/>
                </a:cubicBezTo>
                <a:cubicBezTo>
                  <a:pt x="380" y="368"/>
                  <a:pt x="385" y="372"/>
                  <a:pt x="390" y="376"/>
                </a:cubicBezTo>
                <a:cubicBezTo>
                  <a:pt x="398" y="381"/>
                  <a:pt x="405" y="386"/>
                  <a:pt x="413" y="391"/>
                </a:cubicBezTo>
                <a:cubicBezTo>
                  <a:pt x="446" y="414"/>
                  <a:pt x="483" y="439"/>
                  <a:pt x="511" y="469"/>
                </a:cubicBezTo>
                <a:cubicBezTo>
                  <a:pt x="545" y="505"/>
                  <a:pt x="562" y="542"/>
                  <a:pt x="562" y="583"/>
                </a:cubicBezTo>
                <a:cubicBezTo>
                  <a:pt x="562" y="612"/>
                  <a:pt x="552" y="641"/>
                  <a:pt x="532" y="669"/>
                </a:cubicBezTo>
                <a:cubicBezTo>
                  <a:pt x="530" y="672"/>
                  <a:pt x="526" y="674"/>
                  <a:pt x="522" y="674"/>
                </a:cubicBezTo>
                <a:close/>
                <a:moveTo>
                  <a:pt x="384" y="557"/>
                </a:moveTo>
                <a:cubicBezTo>
                  <a:pt x="390" y="557"/>
                  <a:pt x="395" y="551"/>
                  <a:pt x="395" y="544"/>
                </a:cubicBezTo>
                <a:cubicBezTo>
                  <a:pt x="395" y="537"/>
                  <a:pt x="390" y="531"/>
                  <a:pt x="384" y="531"/>
                </a:cubicBezTo>
                <a:cubicBezTo>
                  <a:pt x="235" y="531"/>
                  <a:pt x="235" y="531"/>
                  <a:pt x="235" y="531"/>
                </a:cubicBezTo>
                <a:cubicBezTo>
                  <a:pt x="228" y="531"/>
                  <a:pt x="223" y="537"/>
                  <a:pt x="223" y="544"/>
                </a:cubicBezTo>
                <a:cubicBezTo>
                  <a:pt x="223" y="551"/>
                  <a:pt x="228" y="557"/>
                  <a:pt x="235" y="557"/>
                </a:cubicBezTo>
                <a:cubicBezTo>
                  <a:pt x="384" y="557"/>
                  <a:pt x="384" y="557"/>
                  <a:pt x="384" y="557"/>
                </a:cubicBezTo>
                <a:cubicBezTo>
                  <a:pt x="384" y="557"/>
                  <a:pt x="384" y="557"/>
                  <a:pt x="384" y="557"/>
                </a:cubicBezTo>
                <a:close/>
                <a:moveTo>
                  <a:pt x="352" y="439"/>
                </a:moveTo>
                <a:cubicBezTo>
                  <a:pt x="359" y="439"/>
                  <a:pt x="365" y="435"/>
                  <a:pt x="365" y="429"/>
                </a:cubicBezTo>
                <a:cubicBezTo>
                  <a:pt x="365" y="423"/>
                  <a:pt x="359" y="419"/>
                  <a:pt x="352" y="419"/>
                </a:cubicBezTo>
                <a:cubicBezTo>
                  <a:pt x="332" y="419"/>
                  <a:pt x="332" y="419"/>
                  <a:pt x="332" y="419"/>
                </a:cubicBezTo>
                <a:cubicBezTo>
                  <a:pt x="325" y="419"/>
                  <a:pt x="319" y="423"/>
                  <a:pt x="319" y="429"/>
                </a:cubicBezTo>
                <a:cubicBezTo>
                  <a:pt x="319" y="435"/>
                  <a:pt x="325" y="439"/>
                  <a:pt x="332" y="439"/>
                </a:cubicBezTo>
                <a:cubicBezTo>
                  <a:pt x="352" y="439"/>
                  <a:pt x="352" y="439"/>
                  <a:pt x="352" y="439"/>
                </a:cubicBezTo>
                <a:cubicBezTo>
                  <a:pt x="352" y="439"/>
                  <a:pt x="352" y="439"/>
                  <a:pt x="352" y="439"/>
                </a:cubicBezTo>
                <a:close/>
                <a:moveTo>
                  <a:pt x="359" y="495"/>
                </a:moveTo>
                <a:cubicBezTo>
                  <a:pt x="365" y="495"/>
                  <a:pt x="370" y="491"/>
                  <a:pt x="370" y="485"/>
                </a:cubicBezTo>
                <a:cubicBezTo>
                  <a:pt x="370" y="479"/>
                  <a:pt x="365" y="475"/>
                  <a:pt x="359" y="475"/>
                </a:cubicBezTo>
                <a:cubicBezTo>
                  <a:pt x="265" y="475"/>
                  <a:pt x="265" y="475"/>
                  <a:pt x="265" y="475"/>
                </a:cubicBezTo>
                <a:cubicBezTo>
                  <a:pt x="259" y="475"/>
                  <a:pt x="254" y="479"/>
                  <a:pt x="254" y="485"/>
                </a:cubicBezTo>
                <a:cubicBezTo>
                  <a:pt x="254" y="491"/>
                  <a:pt x="259" y="495"/>
                  <a:pt x="265" y="495"/>
                </a:cubicBezTo>
                <a:cubicBezTo>
                  <a:pt x="359" y="495"/>
                  <a:pt x="359" y="495"/>
                  <a:pt x="359" y="495"/>
                </a:cubicBezTo>
                <a:cubicBezTo>
                  <a:pt x="359" y="495"/>
                  <a:pt x="359" y="495"/>
                  <a:pt x="359" y="495"/>
                </a:cubicBezTo>
                <a:close/>
                <a:moveTo>
                  <a:pt x="429" y="613"/>
                </a:moveTo>
                <a:cubicBezTo>
                  <a:pt x="435" y="613"/>
                  <a:pt x="441" y="607"/>
                  <a:pt x="441" y="600"/>
                </a:cubicBezTo>
                <a:cubicBezTo>
                  <a:pt x="441" y="593"/>
                  <a:pt x="435" y="587"/>
                  <a:pt x="429" y="587"/>
                </a:cubicBezTo>
                <a:cubicBezTo>
                  <a:pt x="225" y="587"/>
                  <a:pt x="225" y="587"/>
                  <a:pt x="225" y="587"/>
                </a:cubicBezTo>
                <a:cubicBezTo>
                  <a:pt x="218" y="587"/>
                  <a:pt x="213" y="593"/>
                  <a:pt x="213" y="600"/>
                </a:cubicBezTo>
                <a:cubicBezTo>
                  <a:pt x="213" y="607"/>
                  <a:pt x="218" y="613"/>
                  <a:pt x="225" y="613"/>
                </a:cubicBezTo>
                <a:cubicBezTo>
                  <a:pt x="429" y="613"/>
                  <a:pt x="429" y="613"/>
                  <a:pt x="429" y="613"/>
                </a:cubicBezTo>
                <a:cubicBezTo>
                  <a:pt x="429" y="613"/>
                  <a:pt x="429" y="613"/>
                  <a:pt x="429" y="613"/>
                </a:cubicBezTo>
                <a:close/>
                <a:moveTo>
                  <a:pt x="464" y="669"/>
                </a:moveTo>
                <a:cubicBezTo>
                  <a:pt x="471" y="669"/>
                  <a:pt x="476" y="663"/>
                  <a:pt x="476" y="656"/>
                </a:cubicBezTo>
                <a:cubicBezTo>
                  <a:pt x="476" y="649"/>
                  <a:pt x="471" y="643"/>
                  <a:pt x="464" y="643"/>
                </a:cubicBezTo>
                <a:cubicBezTo>
                  <a:pt x="255" y="643"/>
                  <a:pt x="255" y="643"/>
                  <a:pt x="255" y="643"/>
                </a:cubicBezTo>
                <a:cubicBezTo>
                  <a:pt x="249" y="643"/>
                  <a:pt x="244" y="649"/>
                  <a:pt x="244" y="656"/>
                </a:cubicBezTo>
                <a:cubicBezTo>
                  <a:pt x="244" y="663"/>
                  <a:pt x="249" y="669"/>
                  <a:pt x="255" y="669"/>
                </a:cubicBezTo>
                <a:cubicBezTo>
                  <a:pt x="464" y="669"/>
                  <a:pt x="464" y="669"/>
                  <a:pt x="464" y="669"/>
                </a:cubicBezTo>
                <a:cubicBezTo>
                  <a:pt x="464" y="669"/>
                  <a:pt x="464" y="669"/>
                  <a:pt x="464" y="669"/>
                </a:cubicBezTo>
                <a:close/>
                <a:moveTo>
                  <a:pt x="535" y="240"/>
                </a:moveTo>
                <a:cubicBezTo>
                  <a:pt x="541" y="240"/>
                  <a:pt x="547" y="235"/>
                  <a:pt x="547" y="230"/>
                </a:cubicBezTo>
                <a:cubicBezTo>
                  <a:pt x="547" y="224"/>
                  <a:pt x="541" y="220"/>
                  <a:pt x="535" y="220"/>
                </a:cubicBezTo>
                <a:cubicBezTo>
                  <a:pt x="386" y="220"/>
                  <a:pt x="386" y="220"/>
                  <a:pt x="386" y="220"/>
                </a:cubicBezTo>
                <a:cubicBezTo>
                  <a:pt x="380" y="220"/>
                  <a:pt x="375" y="224"/>
                  <a:pt x="375" y="230"/>
                </a:cubicBezTo>
                <a:cubicBezTo>
                  <a:pt x="375" y="235"/>
                  <a:pt x="380" y="240"/>
                  <a:pt x="386" y="240"/>
                </a:cubicBezTo>
                <a:cubicBezTo>
                  <a:pt x="535" y="240"/>
                  <a:pt x="535" y="240"/>
                  <a:pt x="535" y="240"/>
                </a:cubicBezTo>
                <a:cubicBezTo>
                  <a:pt x="535" y="240"/>
                  <a:pt x="535" y="240"/>
                  <a:pt x="535" y="240"/>
                </a:cubicBezTo>
                <a:close/>
                <a:moveTo>
                  <a:pt x="438" y="357"/>
                </a:moveTo>
                <a:cubicBezTo>
                  <a:pt x="445" y="357"/>
                  <a:pt x="451" y="352"/>
                  <a:pt x="451" y="345"/>
                </a:cubicBezTo>
                <a:cubicBezTo>
                  <a:pt x="451" y="338"/>
                  <a:pt x="445" y="332"/>
                  <a:pt x="438" y="332"/>
                </a:cubicBezTo>
                <a:cubicBezTo>
                  <a:pt x="418" y="332"/>
                  <a:pt x="418" y="332"/>
                  <a:pt x="418" y="332"/>
                </a:cubicBezTo>
                <a:cubicBezTo>
                  <a:pt x="411" y="332"/>
                  <a:pt x="405" y="338"/>
                  <a:pt x="405" y="345"/>
                </a:cubicBezTo>
                <a:cubicBezTo>
                  <a:pt x="405" y="352"/>
                  <a:pt x="411" y="357"/>
                  <a:pt x="418" y="357"/>
                </a:cubicBezTo>
                <a:cubicBezTo>
                  <a:pt x="438" y="357"/>
                  <a:pt x="438" y="357"/>
                  <a:pt x="438" y="357"/>
                </a:cubicBezTo>
                <a:cubicBezTo>
                  <a:pt x="438" y="357"/>
                  <a:pt x="438" y="357"/>
                  <a:pt x="438" y="357"/>
                </a:cubicBezTo>
                <a:close/>
                <a:moveTo>
                  <a:pt x="505" y="301"/>
                </a:moveTo>
                <a:cubicBezTo>
                  <a:pt x="511" y="301"/>
                  <a:pt x="516" y="296"/>
                  <a:pt x="516" y="289"/>
                </a:cubicBezTo>
                <a:cubicBezTo>
                  <a:pt x="516" y="282"/>
                  <a:pt x="511" y="276"/>
                  <a:pt x="505" y="276"/>
                </a:cubicBezTo>
                <a:cubicBezTo>
                  <a:pt x="412" y="276"/>
                  <a:pt x="412" y="276"/>
                  <a:pt x="412" y="276"/>
                </a:cubicBezTo>
                <a:cubicBezTo>
                  <a:pt x="405" y="276"/>
                  <a:pt x="400" y="282"/>
                  <a:pt x="400" y="289"/>
                </a:cubicBezTo>
                <a:cubicBezTo>
                  <a:pt x="400" y="296"/>
                  <a:pt x="405" y="301"/>
                  <a:pt x="412" y="301"/>
                </a:cubicBezTo>
                <a:cubicBezTo>
                  <a:pt x="505" y="301"/>
                  <a:pt x="505" y="301"/>
                  <a:pt x="505" y="301"/>
                </a:cubicBezTo>
                <a:cubicBezTo>
                  <a:pt x="505" y="301"/>
                  <a:pt x="505" y="301"/>
                  <a:pt x="505" y="301"/>
                </a:cubicBezTo>
                <a:close/>
                <a:moveTo>
                  <a:pt x="545" y="184"/>
                </a:moveTo>
                <a:cubicBezTo>
                  <a:pt x="552" y="184"/>
                  <a:pt x="557" y="179"/>
                  <a:pt x="557" y="174"/>
                </a:cubicBezTo>
                <a:cubicBezTo>
                  <a:pt x="557" y="168"/>
                  <a:pt x="552" y="163"/>
                  <a:pt x="545" y="163"/>
                </a:cubicBezTo>
                <a:cubicBezTo>
                  <a:pt x="341" y="163"/>
                  <a:pt x="341" y="163"/>
                  <a:pt x="341" y="163"/>
                </a:cubicBezTo>
                <a:cubicBezTo>
                  <a:pt x="335" y="163"/>
                  <a:pt x="329" y="168"/>
                  <a:pt x="329" y="174"/>
                </a:cubicBezTo>
                <a:cubicBezTo>
                  <a:pt x="329" y="179"/>
                  <a:pt x="335" y="184"/>
                  <a:pt x="341" y="184"/>
                </a:cubicBezTo>
                <a:cubicBezTo>
                  <a:pt x="545" y="184"/>
                  <a:pt x="545" y="184"/>
                  <a:pt x="545" y="184"/>
                </a:cubicBezTo>
                <a:cubicBezTo>
                  <a:pt x="545" y="184"/>
                  <a:pt x="545" y="184"/>
                  <a:pt x="545" y="184"/>
                </a:cubicBezTo>
                <a:close/>
                <a:moveTo>
                  <a:pt x="515" y="128"/>
                </a:moveTo>
                <a:cubicBezTo>
                  <a:pt x="521" y="128"/>
                  <a:pt x="526" y="122"/>
                  <a:pt x="526" y="115"/>
                </a:cubicBezTo>
                <a:cubicBezTo>
                  <a:pt x="526" y="108"/>
                  <a:pt x="521" y="102"/>
                  <a:pt x="515" y="102"/>
                </a:cubicBezTo>
                <a:cubicBezTo>
                  <a:pt x="306" y="102"/>
                  <a:pt x="306" y="102"/>
                  <a:pt x="306" y="102"/>
                </a:cubicBezTo>
                <a:cubicBezTo>
                  <a:pt x="299" y="102"/>
                  <a:pt x="294" y="108"/>
                  <a:pt x="294" y="115"/>
                </a:cubicBezTo>
                <a:cubicBezTo>
                  <a:pt x="294" y="122"/>
                  <a:pt x="299" y="128"/>
                  <a:pt x="306" y="128"/>
                </a:cubicBezTo>
                <a:cubicBezTo>
                  <a:pt x="515" y="128"/>
                  <a:pt x="515" y="128"/>
                  <a:pt x="515" y="128"/>
                </a:cubicBezTo>
                <a:cubicBezTo>
                  <a:pt x="515" y="128"/>
                  <a:pt x="515" y="128"/>
                  <a:pt x="515" y="128"/>
                </a:cubicBezTo>
                <a:close/>
                <a:moveTo>
                  <a:pt x="385" y="0"/>
                </a:moveTo>
                <a:cubicBezTo>
                  <a:pt x="173" y="0"/>
                  <a:pt x="0" y="172"/>
                  <a:pt x="0" y="384"/>
                </a:cubicBezTo>
                <a:cubicBezTo>
                  <a:pt x="0" y="597"/>
                  <a:pt x="173" y="769"/>
                  <a:pt x="385" y="769"/>
                </a:cubicBezTo>
                <a:cubicBezTo>
                  <a:pt x="597" y="769"/>
                  <a:pt x="769" y="597"/>
                  <a:pt x="769" y="384"/>
                </a:cubicBezTo>
                <a:cubicBezTo>
                  <a:pt x="769" y="172"/>
                  <a:pt x="597" y="0"/>
                  <a:pt x="385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  <a:alpha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39393B"/>
              </a:solidFill>
              <a:ea typeface="ＭＳ Ｐゴシック" charset="0"/>
            </a:endParaRPr>
          </a:p>
        </p:txBody>
      </p:sp>
    </p:spTree>
    <p:extLst/>
  </p:cSld>
  <p:clrMapOvr>
    <a:masterClrMapping/>
  </p:clrMapOvr>
  <p:transition spd="slow">
    <p:wipe/>
  </p:transition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Arial"/>
              <a:buChar char="•"/>
              <a:defRPr sz="37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  <p:transition spd="med">
    <p:fade/>
  </p:transition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gradFill rotWithShape="1">
          <a:gsLst>
            <a:gs pos="0">
              <a:srgbClr val="049FD9"/>
            </a:gs>
            <a:gs pos="100000">
              <a:srgbClr val="004BAF"/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6638" y="1646238"/>
            <a:ext cx="1990725" cy="1857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/>
  </p:cSld>
  <p:clrMapOvr>
    <a:masterClrMapping/>
  </p:clrMapOvr>
  <p:transition spd="slow">
    <p:wipe/>
  </p:transition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  <p:transition spd="slow">
    <p:wipe/>
  </p:transition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790064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061358"/>
            <a:ext cx="8229600" cy="353326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360" tIns="45680" rIns="91360" bIns="45680">
            <a:noAutofit/>
          </a:bodyPr>
          <a:lstStyle>
            <a:lvl1pPr marL="280720" indent="-223616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536" indent="-215678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023" indent="-171296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367" indent="-171296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1649" indent="-168121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4" tIns="45682" rIns="91364" bIns="4568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6211774"/>
      </p:ext>
    </p:extLst>
  </p:cSld>
  <p:clrMapOvr>
    <a:masterClrMapping/>
  </p:clrMapOvr>
  <p:transition spd="med">
    <p:fade/>
  </p:transition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14" tIns="45707" rIns="91414" bIns="45707">
            <a:noAutofit/>
          </a:bodyPr>
          <a:lstStyle>
            <a:lvl1pPr marL="57131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2019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098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565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142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/>
              <a:t>Click to edit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  <p:transition spd="med">
    <p:fade/>
  </p:transition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925" y="218947"/>
            <a:ext cx="8513064" cy="765432"/>
          </a:xfrm>
        </p:spPr>
        <p:txBody>
          <a:bodyPr/>
          <a:lstStyle>
            <a:lvl1pPr>
              <a:defRPr baseline="0"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52925" y="1077913"/>
            <a:ext cx="8513064" cy="339883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89"/>
            <a:ext cx="35966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600" kern="1200" smtClean="0">
                <a:solidFill>
                  <a:srgbClr val="000000"/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/>
              <a:pPr/>
              <a:t>‹#›</a:t>
            </a:fld>
            <a:endParaRPr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22533" y="4946904"/>
            <a:ext cx="716863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600" dirty="0">
                <a:solidFill>
                  <a:srgbClr val="000000"/>
                </a:solidFill>
                <a:cs typeface="CiscoSans Thin"/>
              </a:defRPr>
            </a:lvl1pPr>
          </a:lstStyle>
          <a:p>
            <a:pPr defTabSz="610744"/>
            <a:endParaRPr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89"/>
            <a:ext cx="35966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600" kern="1200" smtClean="0">
                <a:solidFill>
                  <a:srgbClr val="000000"/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/>
              <a:pPr/>
              <a:t>‹#›</a:t>
            </a:fld>
            <a:endParaRPr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22533" y="4946904"/>
            <a:ext cx="716863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600" dirty="0">
                <a:solidFill>
                  <a:srgbClr val="000000"/>
                </a:solidFill>
                <a:cs typeface="CiscoSans Thin"/>
              </a:defRPr>
            </a:lvl1pPr>
          </a:lstStyle>
          <a:p>
            <a:pPr defTabSz="610744"/>
            <a:endParaRPr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56616" y="217715"/>
            <a:ext cx="8513064" cy="76543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89"/>
            <a:ext cx="35966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600" kern="1200" smtClean="0">
                <a:solidFill>
                  <a:srgbClr val="000000"/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/>
              <a:pPr/>
              <a:t>‹#›</a:t>
            </a:fld>
            <a:endParaRPr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22533" y="4946904"/>
            <a:ext cx="716863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600" dirty="0">
                <a:solidFill>
                  <a:srgbClr val="000000"/>
                </a:solidFill>
                <a:cs typeface="CiscoSans Thin"/>
              </a:defRPr>
            </a:lvl1pPr>
          </a:lstStyle>
          <a:p>
            <a:pPr defTabSz="610744"/>
            <a:endParaRPr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56616" y="384048"/>
            <a:ext cx="8513064" cy="434974"/>
          </a:xfrm>
        </p:spPr>
        <p:txBody>
          <a:bodyPr/>
          <a:lstStyle>
            <a:lvl1pPr>
              <a:defRPr baseline="0">
                <a:solidFill>
                  <a:schemeClr val="accent6"/>
                </a:solidFill>
              </a:defRPr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56616" y="777134"/>
            <a:ext cx="8513064" cy="381000"/>
          </a:xfrm>
        </p:spPr>
        <p:txBody>
          <a:bodyPr/>
          <a:lstStyle>
            <a:lvl1pPr marL="1785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4 Heavy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89"/>
            <a:ext cx="35966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600" kern="1200" smtClean="0">
                <a:solidFill>
                  <a:srgbClr val="000000"/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/>
              <a:pPr/>
              <a:t>‹#›</a:t>
            </a:fld>
            <a:endParaRPr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22533" y="4946904"/>
            <a:ext cx="716863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600" dirty="0">
                <a:solidFill>
                  <a:srgbClr val="000000"/>
                </a:solidFill>
                <a:cs typeface="CiscoSans Thin"/>
              </a:defRPr>
            </a:lvl1pPr>
          </a:lstStyle>
          <a:p>
            <a:pPr defTabSz="610744"/>
            <a:endParaRPr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56616" y="155576"/>
            <a:ext cx="8513064" cy="434974"/>
          </a:xfrm>
        </p:spPr>
        <p:txBody>
          <a:bodyPr/>
          <a:lstStyle>
            <a:lvl1pPr marL="6251" indent="-6251"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0" kern="1200" baseline="0" dirty="0">
                <a:solidFill>
                  <a:schemeClr val="accent6"/>
                </a:solidFill>
                <a:latin typeface="+mj-lt"/>
                <a:ea typeface="+mj-ea"/>
                <a:cs typeface="+mj-cs"/>
                <a:sym typeface="Arial" pitchFamily="34" charset="0"/>
              </a:defRPr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4 Heavy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89"/>
            <a:ext cx="35966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600" kern="1200" smtClean="0">
                <a:solidFill>
                  <a:srgbClr val="000000"/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/>
              <a:pPr/>
              <a:t>‹#›</a:t>
            </a:fld>
            <a:endParaRPr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22533" y="4946904"/>
            <a:ext cx="716863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600" dirty="0">
                <a:solidFill>
                  <a:srgbClr val="000000"/>
                </a:solidFill>
                <a:cs typeface="CiscoSans Thin"/>
              </a:defRPr>
            </a:lvl1pPr>
          </a:lstStyle>
          <a:p>
            <a:pPr defTabSz="610744"/>
            <a:endParaRPr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56616" y="155576"/>
            <a:ext cx="8513064" cy="434974"/>
          </a:xfrm>
        </p:spPr>
        <p:txBody>
          <a:bodyPr/>
          <a:lstStyle>
            <a:lvl1pPr>
              <a:defRPr baseline="0">
                <a:solidFill>
                  <a:schemeClr val="accent6"/>
                </a:solidFill>
              </a:defRPr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56616" y="548534"/>
            <a:ext cx="8513064" cy="381000"/>
          </a:xfrm>
        </p:spPr>
        <p:txBody>
          <a:bodyPr/>
          <a:lstStyle>
            <a:lvl1pPr marL="1785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and Bullet 4 Heavy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89"/>
            <a:ext cx="35966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600" kern="1200" smtClean="0">
                <a:solidFill>
                  <a:srgbClr val="000000"/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/>
              <a:pPr/>
              <a:t>‹#›</a:t>
            </a:fld>
            <a:endParaRPr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22533" y="4946904"/>
            <a:ext cx="716863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600" dirty="0">
                <a:solidFill>
                  <a:srgbClr val="000000"/>
                </a:solidFill>
                <a:cs typeface="CiscoSans Thin"/>
              </a:defRPr>
            </a:lvl1pPr>
          </a:lstStyle>
          <a:p>
            <a:pPr defTabSz="610744"/>
            <a:endParaRPr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56616" y="155576"/>
            <a:ext cx="8513064" cy="434974"/>
          </a:xfrm>
        </p:spPr>
        <p:txBody>
          <a:bodyPr/>
          <a:lstStyle>
            <a:lvl1pPr>
              <a:defRPr baseline="0">
                <a:solidFill>
                  <a:schemeClr val="accent6"/>
                </a:solidFill>
              </a:defRPr>
            </a:lvl1pPr>
          </a:lstStyle>
          <a:p>
            <a:r>
              <a:rPr lang="en-US" dirty="0" smtClean="0"/>
              <a:t>Slide Title</a:t>
            </a:r>
            <a:endParaRPr lang="en-US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56616" y="548534"/>
            <a:ext cx="8513064" cy="381000"/>
          </a:xfrm>
        </p:spPr>
        <p:txBody>
          <a:bodyPr/>
          <a:lstStyle>
            <a:lvl1pPr marL="1785" indent="0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57188" y="929534"/>
            <a:ext cx="8512175" cy="3757613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  <a:endParaRPr lang="en-US" dirty="0"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89"/>
            <a:ext cx="35966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600" kern="1200" smtClean="0">
                <a:solidFill>
                  <a:srgbClr val="000000"/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/>
              <a:pPr/>
              <a:t>‹#›</a:t>
            </a:fld>
            <a:endParaRPr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22533" y="4946904"/>
            <a:ext cx="716863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600" dirty="0">
                <a:solidFill>
                  <a:srgbClr val="000000"/>
                </a:solidFill>
                <a:cs typeface="CiscoSans Thin"/>
              </a:defRPr>
            </a:lvl1pPr>
          </a:lstStyle>
          <a:p>
            <a:pPr defTabSz="610744"/>
            <a:endParaRPr/>
          </a:p>
        </p:txBody>
      </p: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gue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251" t="3367" r="2255"/>
          <a:stretch/>
        </p:blipFill>
        <p:spPr>
          <a:xfrm rot="16200000" flipV="1">
            <a:off x="3271266" y="-729235"/>
            <a:ext cx="2601468" cy="914400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white">
          <a:xfrm>
            <a:off x="359051" y="459340"/>
            <a:ext cx="8394466" cy="1142052"/>
          </a:xfrm>
        </p:spPr>
        <p:txBody>
          <a:bodyPr anchor="t"/>
          <a:lstStyle>
            <a:lvl1pPr marL="6251" indent="-6251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4000" b="0" i="0" kern="1200" baseline="0" dirty="0">
                <a:solidFill>
                  <a:schemeClr val="accent6"/>
                </a:solidFill>
                <a:latin typeface="+mj-lt"/>
                <a:ea typeface="+mj-ea"/>
                <a:cs typeface="+mj-cs"/>
                <a:sym typeface="Arial" pitchFamily="34" charset="0"/>
              </a:defRPr>
            </a:lvl1pPr>
          </a:lstStyle>
          <a:p>
            <a:r>
              <a:rPr lang="en-US" dirty="0" smtClean="0"/>
              <a:t>Video Slide</a:t>
            </a:r>
            <a:endParaRPr lang="en-US" dirty="0"/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5985510" y="4946904"/>
            <a:ext cx="2472136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r" defTabSz="610744"/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alpha val="60000"/>
                  </a:srgbClr>
                </a:solidFill>
                <a:cs typeface="CiscoSans Thin"/>
              </a:rPr>
              <a:t>2017  </a:t>
            </a: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Cisco and/or its affiliates. All rights reserved.   Cisco Public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89"/>
            <a:ext cx="35966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600" kern="1200" smtClean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>
                <a:solidFill>
                  <a:srgbClr val="FFFFFF">
                    <a:alpha val="60000"/>
                  </a:srgbClr>
                </a:solidFill>
              </a:rPr>
              <a:pPr/>
              <a:t>‹#›</a:t>
            </a:fld>
            <a:endParaRPr>
              <a:solidFill>
                <a:srgbClr val="FFFFFF">
                  <a:alpha val="60000"/>
                </a:srgbClr>
              </a:solidFill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22533" y="4946904"/>
            <a:ext cx="716863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600" dirty="0">
                <a:solidFill>
                  <a:schemeClr val="bg1">
                    <a:alpha val="60000"/>
                  </a:schemeClr>
                </a:solidFill>
                <a:cs typeface="CiscoSans Thin"/>
              </a:defRPr>
            </a:lvl1pPr>
          </a:lstStyle>
          <a:p>
            <a:pPr defTabSz="610744"/>
            <a:endParaRPr>
              <a:solidFill>
                <a:srgbClr val="FFFFFF">
                  <a:alpha val="60000"/>
                </a:srgbClr>
              </a:solidFill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454861" y="4785454"/>
            <a:ext cx="820227" cy="274319"/>
            <a:chOff x="1741456" y="4513412"/>
            <a:chExt cx="1027381" cy="343600"/>
          </a:xfrm>
          <a:solidFill>
            <a:schemeClr val="bg1"/>
          </a:solidFill>
        </p:grpSpPr>
        <p:sp>
          <p:nvSpPr>
            <p:cNvPr id="15" name="Freeform: Shape 1"/>
            <p:cNvSpPr/>
            <p:nvPr/>
          </p:nvSpPr>
          <p:spPr>
            <a:xfrm>
              <a:off x="2624973" y="4513412"/>
              <a:ext cx="143864" cy="34303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758" h="1806">
                  <a:moveTo>
                    <a:pt x="242" y="829"/>
                  </a:moveTo>
                  <a:cubicBezTo>
                    <a:pt x="215" y="896"/>
                    <a:pt x="204" y="941"/>
                    <a:pt x="204" y="964"/>
                  </a:cubicBezTo>
                  <a:cubicBezTo>
                    <a:pt x="183" y="999"/>
                    <a:pt x="175" y="1070"/>
                    <a:pt x="175" y="1097"/>
                  </a:cubicBezTo>
                  <a:lnTo>
                    <a:pt x="175" y="1129"/>
                  </a:lnTo>
                  <a:lnTo>
                    <a:pt x="223" y="1208"/>
                  </a:lnTo>
                  <a:cubicBezTo>
                    <a:pt x="250" y="1245"/>
                    <a:pt x="218" y="1258"/>
                    <a:pt x="292" y="1282"/>
                  </a:cubicBezTo>
                  <a:cubicBezTo>
                    <a:pt x="318" y="1282"/>
                    <a:pt x="340" y="1261"/>
                    <a:pt x="353" y="1221"/>
                  </a:cubicBezTo>
                  <a:lnTo>
                    <a:pt x="353" y="1208"/>
                  </a:lnTo>
                  <a:cubicBezTo>
                    <a:pt x="353" y="1113"/>
                    <a:pt x="387" y="978"/>
                    <a:pt x="419" y="888"/>
                  </a:cubicBezTo>
                  <a:cubicBezTo>
                    <a:pt x="419" y="845"/>
                    <a:pt x="456" y="718"/>
                    <a:pt x="588" y="406"/>
                  </a:cubicBezTo>
                  <a:cubicBezTo>
                    <a:pt x="588" y="371"/>
                    <a:pt x="618" y="308"/>
                    <a:pt x="678" y="210"/>
                  </a:cubicBezTo>
                  <a:cubicBezTo>
                    <a:pt x="729" y="125"/>
                    <a:pt x="742" y="138"/>
                    <a:pt x="758" y="128"/>
                  </a:cubicBezTo>
                  <a:lnTo>
                    <a:pt x="758" y="80"/>
                  </a:lnTo>
                  <a:lnTo>
                    <a:pt x="739" y="61"/>
                  </a:lnTo>
                  <a:cubicBezTo>
                    <a:pt x="739" y="61"/>
                    <a:pt x="721" y="43"/>
                    <a:pt x="671" y="22"/>
                  </a:cubicBezTo>
                  <a:cubicBezTo>
                    <a:pt x="671" y="22"/>
                    <a:pt x="620" y="0"/>
                    <a:pt x="604" y="0"/>
                  </a:cubicBezTo>
                  <a:cubicBezTo>
                    <a:pt x="588" y="0"/>
                    <a:pt x="557" y="32"/>
                    <a:pt x="530" y="93"/>
                  </a:cubicBezTo>
                  <a:close/>
                  <a:moveTo>
                    <a:pt x="14" y="1738"/>
                  </a:moveTo>
                  <a:cubicBezTo>
                    <a:pt x="14" y="1772"/>
                    <a:pt x="-18" y="1783"/>
                    <a:pt x="16" y="1806"/>
                  </a:cubicBezTo>
                  <a:lnTo>
                    <a:pt x="77" y="1806"/>
                  </a:lnTo>
                  <a:cubicBezTo>
                    <a:pt x="144" y="1775"/>
                    <a:pt x="167" y="1716"/>
                    <a:pt x="252" y="1528"/>
                  </a:cubicBezTo>
                  <a:lnTo>
                    <a:pt x="252" y="1486"/>
                  </a:lnTo>
                  <a:cubicBezTo>
                    <a:pt x="252" y="1460"/>
                    <a:pt x="273" y="1446"/>
                    <a:pt x="218" y="1412"/>
                  </a:cubicBezTo>
                  <a:lnTo>
                    <a:pt x="202" y="1412"/>
                  </a:lnTo>
                  <a:cubicBezTo>
                    <a:pt x="93" y="1409"/>
                    <a:pt x="67" y="1465"/>
                    <a:pt x="14" y="1682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defTabSz="685800" hangingPunct="0"/>
              <a:endParaRPr lang="en-US" dirty="0">
                <a:solidFill>
                  <a:srgbClr val="39393B"/>
                </a:solidFill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6" name="Freeform: Shape 2"/>
            <p:cNvSpPr/>
            <p:nvPr/>
          </p:nvSpPr>
          <p:spPr>
            <a:xfrm>
              <a:off x="2244124" y="4551801"/>
              <a:ext cx="81339" cy="304261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29" h="1602">
                  <a:moveTo>
                    <a:pt x="244" y="1533"/>
                  </a:moveTo>
                  <a:cubicBezTo>
                    <a:pt x="209" y="1533"/>
                    <a:pt x="199" y="1483"/>
                    <a:pt x="183" y="1329"/>
                  </a:cubicBezTo>
                  <a:cubicBezTo>
                    <a:pt x="201" y="1064"/>
                    <a:pt x="223" y="884"/>
                    <a:pt x="241" y="789"/>
                  </a:cubicBezTo>
                  <a:cubicBezTo>
                    <a:pt x="323" y="384"/>
                    <a:pt x="307" y="458"/>
                    <a:pt x="366" y="320"/>
                  </a:cubicBezTo>
                  <a:cubicBezTo>
                    <a:pt x="424" y="180"/>
                    <a:pt x="429" y="161"/>
                    <a:pt x="429" y="119"/>
                  </a:cubicBezTo>
                  <a:cubicBezTo>
                    <a:pt x="429" y="71"/>
                    <a:pt x="376" y="32"/>
                    <a:pt x="268" y="0"/>
                  </a:cubicBezTo>
                  <a:lnTo>
                    <a:pt x="260" y="0"/>
                  </a:lnTo>
                  <a:lnTo>
                    <a:pt x="257" y="2"/>
                  </a:lnTo>
                  <a:cubicBezTo>
                    <a:pt x="257" y="2"/>
                    <a:pt x="254" y="5"/>
                    <a:pt x="241" y="63"/>
                  </a:cubicBezTo>
                  <a:lnTo>
                    <a:pt x="209" y="201"/>
                  </a:lnTo>
                  <a:cubicBezTo>
                    <a:pt x="130" y="535"/>
                    <a:pt x="127" y="564"/>
                    <a:pt x="109" y="614"/>
                  </a:cubicBezTo>
                  <a:cubicBezTo>
                    <a:pt x="-8" y="1138"/>
                    <a:pt x="0" y="1213"/>
                    <a:pt x="0" y="1340"/>
                  </a:cubicBezTo>
                  <a:cubicBezTo>
                    <a:pt x="5" y="1385"/>
                    <a:pt x="27" y="1432"/>
                    <a:pt x="66" y="1483"/>
                  </a:cubicBezTo>
                  <a:cubicBezTo>
                    <a:pt x="146" y="1562"/>
                    <a:pt x="212" y="1602"/>
                    <a:pt x="257" y="1602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defTabSz="685800" hangingPunct="0"/>
              <a:endParaRPr lang="en-US" dirty="0">
                <a:solidFill>
                  <a:srgbClr val="39393B"/>
                </a:solidFill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7" name="Freeform: Shape 3"/>
            <p:cNvSpPr/>
            <p:nvPr/>
          </p:nvSpPr>
          <p:spPr>
            <a:xfrm>
              <a:off x="2307789" y="4611664"/>
              <a:ext cx="82479" cy="24458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35" h="1288">
                  <a:moveTo>
                    <a:pt x="270" y="204"/>
                  </a:moveTo>
                  <a:lnTo>
                    <a:pt x="294" y="212"/>
                  </a:lnTo>
                  <a:cubicBezTo>
                    <a:pt x="331" y="206"/>
                    <a:pt x="379" y="164"/>
                    <a:pt x="435" y="82"/>
                  </a:cubicBezTo>
                  <a:lnTo>
                    <a:pt x="432" y="71"/>
                  </a:lnTo>
                  <a:cubicBezTo>
                    <a:pt x="429" y="45"/>
                    <a:pt x="395" y="21"/>
                    <a:pt x="329" y="0"/>
                  </a:cubicBezTo>
                  <a:lnTo>
                    <a:pt x="321" y="0"/>
                  </a:lnTo>
                  <a:cubicBezTo>
                    <a:pt x="302" y="3"/>
                    <a:pt x="284" y="69"/>
                    <a:pt x="270" y="204"/>
                  </a:cubicBezTo>
                  <a:close/>
                  <a:moveTo>
                    <a:pt x="210" y="1218"/>
                  </a:moveTo>
                  <a:lnTo>
                    <a:pt x="199" y="1189"/>
                  </a:lnTo>
                  <a:cubicBezTo>
                    <a:pt x="194" y="1048"/>
                    <a:pt x="194" y="956"/>
                    <a:pt x="204" y="913"/>
                  </a:cubicBezTo>
                  <a:lnTo>
                    <a:pt x="194" y="884"/>
                  </a:lnTo>
                  <a:cubicBezTo>
                    <a:pt x="191" y="829"/>
                    <a:pt x="196" y="800"/>
                    <a:pt x="207" y="800"/>
                  </a:cubicBezTo>
                  <a:cubicBezTo>
                    <a:pt x="220" y="712"/>
                    <a:pt x="236" y="662"/>
                    <a:pt x="249" y="651"/>
                  </a:cubicBezTo>
                  <a:cubicBezTo>
                    <a:pt x="255" y="590"/>
                    <a:pt x="286" y="511"/>
                    <a:pt x="347" y="413"/>
                  </a:cubicBezTo>
                  <a:cubicBezTo>
                    <a:pt x="345" y="381"/>
                    <a:pt x="281" y="341"/>
                    <a:pt x="165" y="291"/>
                  </a:cubicBezTo>
                  <a:cubicBezTo>
                    <a:pt x="133" y="294"/>
                    <a:pt x="106" y="360"/>
                    <a:pt x="82" y="484"/>
                  </a:cubicBezTo>
                  <a:cubicBezTo>
                    <a:pt x="16" y="768"/>
                    <a:pt x="-10" y="969"/>
                    <a:pt x="3" y="1086"/>
                  </a:cubicBezTo>
                  <a:cubicBezTo>
                    <a:pt x="14" y="1168"/>
                    <a:pt x="24" y="1207"/>
                    <a:pt x="40" y="1207"/>
                  </a:cubicBezTo>
                  <a:cubicBezTo>
                    <a:pt x="96" y="1268"/>
                    <a:pt x="157" y="1295"/>
                    <a:pt x="225" y="1287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defTabSz="685800" hangingPunct="0"/>
              <a:endParaRPr lang="en-US" dirty="0">
                <a:solidFill>
                  <a:srgbClr val="39393B"/>
                </a:solidFill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8" name="Freeform: Shape 4"/>
            <p:cNvSpPr/>
            <p:nvPr/>
          </p:nvSpPr>
          <p:spPr>
            <a:xfrm>
              <a:off x="2387038" y="4639791"/>
              <a:ext cx="173891" cy="216270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916" h="1139">
                  <a:moveTo>
                    <a:pt x="871" y="172"/>
                  </a:moveTo>
                  <a:cubicBezTo>
                    <a:pt x="900" y="141"/>
                    <a:pt x="916" y="114"/>
                    <a:pt x="916" y="95"/>
                  </a:cubicBezTo>
                  <a:cubicBezTo>
                    <a:pt x="916" y="37"/>
                    <a:pt x="892" y="5"/>
                    <a:pt x="795" y="0"/>
                  </a:cubicBezTo>
                  <a:cubicBezTo>
                    <a:pt x="773" y="0"/>
                    <a:pt x="736" y="35"/>
                    <a:pt x="683" y="106"/>
                  </a:cubicBezTo>
                  <a:cubicBezTo>
                    <a:pt x="644" y="252"/>
                    <a:pt x="599" y="350"/>
                    <a:pt x="543" y="403"/>
                  </a:cubicBezTo>
                  <a:cubicBezTo>
                    <a:pt x="456" y="596"/>
                    <a:pt x="389" y="723"/>
                    <a:pt x="344" y="781"/>
                  </a:cubicBezTo>
                  <a:cubicBezTo>
                    <a:pt x="331" y="832"/>
                    <a:pt x="318" y="858"/>
                    <a:pt x="307" y="858"/>
                  </a:cubicBezTo>
                  <a:lnTo>
                    <a:pt x="305" y="858"/>
                  </a:lnTo>
                  <a:cubicBezTo>
                    <a:pt x="305" y="858"/>
                    <a:pt x="302" y="858"/>
                    <a:pt x="299" y="773"/>
                  </a:cubicBezTo>
                  <a:lnTo>
                    <a:pt x="294" y="569"/>
                  </a:lnTo>
                  <a:lnTo>
                    <a:pt x="302" y="498"/>
                  </a:lnTo>
                  <a:lnTo>
                    <a:pt x="286" y="416"/>
                  </a:lnTo>
                  <a:lnTo>
                    <a:pt x="294" y="397"/>
                  </a:lnTo>
                  <a:lnTo>
                    <a:pt x="278" y="363"/>
                  </a:lnTo>
                  <a:lnTo>
                    <a:pt x="286" y="339"/>
                  </a:lnTo>
                  <a:lnTo>
                    <a:pt x="286" y="334"/>
                  </a:lnTo>
                  <a:cubicBezTo>
                    <a:pt x="286" y="286"/>
                    <a:pt x="207" y="249"/>
                    <a:pt x="45" y="220"/>
                  </a:cubicBezTo>
                  <a:cubicBezTo>
                    <a:pt x="24" y="225"/>
                    <a:pt x="11" y="236"/>
                    <a:pt x="0" y="249"/>
                  </a:cubicBezTo>
                  <a:lnTo>
                    <a:pt x="0" y="260"/>
                  </a:lnTo>
                  <a:cubicBezTo>
                    <a:pt x="29" y="260"/>
                    <a:pt x="53" y="474"/>
                    <a:pt x="74" y="906"/>
                  </a:cubicBezTo>
                  <a:cubicBezTo>
                    <a:pt x="74" y="993"/>
                    <a:pt x="93" y="1049"/>
                    <a:pt x="133" y="1073"/>
                  </a:cubicBezTo>
                  <a:cubicBezTo>
                    <a:pt x="170" y="1115"/>
                    <a:pt x="215" y="1139"/>
                    <a:pt x="273" y="1139"/>
                  </a:cubicBezTo>
                  <a:lnTo>
                    <a:pt x="302" y="1139"/>
                  </a:lnTo>
                  <a:lnTo>
                    <a:pt x="305" y="1136"/>
                  </a:lnTo>
                  <a:cubicBezTo>
                    <a:pt x="305" y="1136"/>
                    <a:pt x="307" y="1134"/>
                    <a:pt x="342" y="1054"/>
                  </a:cubicBezTo>
                  <a:lnTo>
                    <a:pt x="432" y="848"/>
                  </a:lnTo>
                  <a:cubicBezTo>
                    <a:pt x="516" y="667"/>
                    <a:pt x="569" y="564"/>
                    <a:pt x="593" y="540"/>
                  </a:cubicBezTo>
                  <a:cubicBezTo>
                    <a:pt x="620" y="474"/>
                    <a:pt x="641" y="440"/>
                    <a:pt x="652" y="434"/>
                  </a:cubicBezTo>
                  <a:lnTo>
                    <a:pt x="654" y="434"/>
                  </a:lnTo>
                  <a:cubicBezTo>
                    <a:pt x="654" y="434"/>
                    <a:pt x="657" y="434"/>
                    <a:pt x="712" y="368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defTabSz="685800" hangingPunct="0"/>
              <a:endParaRPr lang="en-US" dirty="0">
                <a:solidFill>
                  <a:srgbClr val="39393B"/>
                </a:solidFill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19" name="Freeform: Shape 5"/>
            <p:cNvSpPr/>
            <p:nvPr/>
          </p:nvSpPr>
          <p:spPr>
            <a:xfrm>
              <a:off x="2518358" y="4655945"/>
              <a:ext cx="124099" cy="201067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54" h="1059">
                  <a:moveTo>
                    <a:pt x="337" y="53"/>
                  </a:moveTo>
                  <a:cubicBezTo>
                    <a:pt x="276" y="108"/>
                    <a:pt x="233" y="167"/>
                    <a:pt x="204" y="230"/>
                  </a:cubicBezTo>
                  <a:lnTo>
                    <a:pt x="201" y="233"/>
                  </a:lnTo>
                  <a:cubicBezTo>
                    <a:pt x="201" y="233"/>
                    <a:pt x="199" y="236"/>
                    <a:pt x="183" y="262"/>
                  </a:cubicBezTo>
                  <a:lnTo>
                    <a:pt x="125" y="368"/>
                  </a:lnTo>
                  <a:cubicBezTo>
                    <a:pt x="43" y="564"/>
                    <a:pt x="0" y="710"/>
                    <a:pt x="0" y="808"/>
                  </a:cubicBezTo>
                  <a:lnTo>
                    <a:pt x="0" y="826"/>
                  </a:lnTo>
                  <a:cubicBezTo>
                    <a:pt x="0" y="861"/>
                    <a:pt x="21" y="900"/>
                    <a:pt x="66" y="945"/>
                  </a:cubicBezTo>
                  <a:cubicBezTo>
                    <a:pt x="109" y="1019"/>
                    <a:pt x="159" y="1059"/>
                    <a:pt x="220" y="1059"/>
                  </a:cubicBezTo>
                  <a:cubicBezTo>
                    <a:pt x="268" y="1049"/>
                    <a:pt x="294" y="1038"/>
                    <a:pt x="294" y="1030"/>
                  </a:cubicBezTo>
                  <a:cubicBezTo>
                    <a:pt x="339" y="998"/>
                    <a:pt x="360" y="977"/>
                    <a:pt x="360" y="964"/>
                  </a:cubicBezTo>
                  <a:cubicBezTo>
                    <a:pt x="432" y="874"/>
                    <a:pt x="477" y="800"/>
                    <a:pt x="501" y="739"/>
                  </a:cubicBezTo>
                  <a:lnTo>
                    <a:pt x="501" y="733"/>
                  </a:lnTo>
                  <a:lnTo>
                    <a:pt x="485" y="720"/>
                  </a:lnTo>
                  <a:lnTo>
                    <a:pt x="469" y="733"/>
                  </a:lnTo>
                  <a:cubicBezTo>
                    <a:pt x="392" y="845"/>
                    <a:pt x="310" y="924"/>
                    <a:pt x="220" y="972"/>
                  </a:cubicBezTo>
                  <a:cubicBezTo>
                    <a:pt x="204" y="972"/>
                    <a:pt x="191" y="961"/>
                    <a:pt x="183" y="943"/>
                  </a:cubicBezTo>
                  <a:cubicBezTo>
                    <a:pt x="183" y="813"/>
                    <a:pt x="233" y="641"/>
                    <a:pt x="331" y="421"/>
                  </a:cubicBezTo>
                  <a:lnTo>
                    <a:pt x="382" y="424"/>
                  </a:lnTo>
                  <a:cubicBezTo>
                    <a:pt x="382" y="424"/>
                    <a:pt x="411" y="426"/>
                    <a:pt x="440" y="416"/>
                  </a:cubicBezTo>
                  <a:lnTo>
                    <a:pt x="530" y="379"/>
                  </a:lnTo>
                  <a:cubicBezTo>
                    <a:pt x="588" y="349"/>
                    <a:pt x="628" y="299"/>
                    <a:pt x="654" y="230"/>
                  </a:cubicBezTo>
                  <a:lnTo>
                    <a:pt x="654" y="159"/>
                  </a:lnTo>
                  <a:cubicBezTo>
                    <a:pt x="646" y="111"/>
                    <a:pt x="577" y="58"/>
                    <a:pt x="448" y="0"/>
                  </a:cubicBezTo>
                  <a:lnTo>
                    <a:pt x="411" y="0"/>
                  </a:lnTo>
                  <a:close/>
                  <a:moveTo>
                    <a:pt x="374" y="349"/>
                  </a:moveTo>
                  <a:cubicBezTo>
                    <a:pt x="453" y="244"/>
                    <a:pt x="506" y="191"/>
                    <a:pt x="535" y="191"/>
                  </a:cubicBezTo>
                  <a:lnTo>
                    <a:pt x="543" y="191"/>
                  </a:lnTo>
                  <a:lnTo>
                    <a:pt x="551" y="196"/>
                  </a:lnTo>
                  <a:cubicBezTo>
                    <a:pt x="498" y="310"/>
                    <a:pt x="448" y="368"/>
                    <a:pt x="405" y="368"/>
                  </a:cubicBezTo>
                  <a:lnTo>
                    <a:pt x="376" y="355"/>
                  </a:lnTo>
                  <a:lnTo>
                    <a:pt x="376" y="349"/>
                  </a:ln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defTabSz="685800" hangingPunct="0"/>
              <a:endParaRPr lang="en-US" dirty="0">
                <a:solidFill>
                  <a:srgbClr val="39393B"/>
                </a:solidFill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0" name="Freeform: Shape 6"/>
            <p:cNvSpPr/>
            <p:nvPr/>
          </p:nvSpPr>
          <p:spPr>
            <a:xfrm>
              <a:off x="1741456" y="4718660"/>
              <a:ext cx="122009" cy="13721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643" h="723">
                  <a:moveTo>
                    <a:pt x="495" y="442"/>
                  </a:moveTo>
                  <a:cubicBezTo>
                    <a:pt x="490" y="495"/>
                    <a:pt x="455" y="598"/>
                    <a:pt x="339" y="598"/>
                  </a:cubicBezTo>
                  <a:cubicBezTo>
                    <a:pt x="233" y="598"/>
                    <a:pt x="151" y="522"/>
                    <a:pt x="151" y="363"/>
                  </a:cubicBezTo>
                  <a:cubicBezTo>
                    <a:pt x="151" y="220"/>
                    <a:pt x="222" y="127"/>
                    <a:pt x="339" y="127"/>
                  </a:cubicBezTo>
                  <a:cubicBezTo>
                    <a:pt x="434" y="127"/>
                    <a:pt x="482" y="199"/>
                    <a:pt x="490" y="249"/>
                  </a:cubicBezTo>
                  <a:lnTo>
                    <a:pt x="635" y="249"/>
                  </a:lnTo>
                  <a:cubicBezTo>
                    <a:pt x="627" y="161"/>
                    <a:pt x="559" y="0"/>
                    <a:pt x="339" y="0"/>
                  </a:cubicBezTo>
                  <a:cubicBezTo>
                    <a:pt x="130" y="0"/>
                    <a:pt x="0" y="156"/>
                    <a:pt x="0" y="360"/>
                  </a:cubicBezTo>
                  <a:cubicBezTo>
                    <a:pt x="0" y="577"/>
                    <a:pt x="140" y="723"/>
                    <a:pt x="339" y="723"/>
                  </a:cubicBezTo>
                  <a:cubicBezTo>
                    <a:pt x="566" y="723"/>
                    <a:pt x="638" y="537"/>
                    <a:pt x="643" y="439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defTabSz="685800" hangingPunct="0"/>
              <a:endParaRPr lang="en-US" dirty="0">
                <a:solidFill>
                  <a:srgbClr val="39393B"/>
                </a:solidFill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1" name="Freeform: Shape 7"/>
            <p:cNvSpPr/>
            <p:nvPr/>
          </p:nvSpPr>
          <p:spPr>
            <a:xfrm>
              <a:off x="1876198" y="4721701"/>
              <a:ext cx="27556" cy="23375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6" h="124">
                  <a:moveTo>
                    <a:pt x="73" y="124"/>
                  </a:moveTo>
                  <a:lnTo>
                    <a:pt x="0" y="124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146" y="124"/>
                  </a:ln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defTabSz="685800" hangingPunct="0"/>
              <a:endParaRPr lang="en-US" dirty="0">
                <a:solidFill>
                  <a:srgbClr val="39393B"/>
                </a:solidFill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2" name="Freeform: Shape 8"/>
            <p:cNvSpPr/>
            <p:nvPr/>
          </p:nvSpPr>
          <p:spPr>
            <a:xfrm>
              <a:off x="1876198" y="4757809"/>
              <a:ext cx="27556" cy="95022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146" h="501">
                  <a:moveTo>
                    <a:pt x="73" y="501"/>
                  </a:moveTo>
                  <a:lnTo>
                    <a:pt x="0" y="501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146" y="501"/>
                  </a:ln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defTabSz="685800" hangingPunct="0"/>
              <a:endParaRPr lang="en-US" dirty="0">
                <a:solidFill>
                  <a:srgbClr val="39393B"/>
                </a:solidFill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3" name="Freeform: Shape 9"/>
            <p:cNvSpPr/>
            <p:nvPr/>
          </p:nvSpPr>
          <p:spPr>
            <a:xfrm>
              <a:off x="1914967" y="4755338"/>
              <a:ext cx="90461" cy="10053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477" h="530">
                  <a:moveTo>
                    <a:pt x="16" y="146"/>
                  </a:moveTo>
                  <a:cubicBezTo>
                    <a:pt x="16" y="252"/>
                    <a:pt x="109" y="284"/>
                    <a:pt x="162" y="297"/>
                  </a:cubicBezTo>
                  <a:cubicBezTo>
                    <a:pt x="175" y="299"/>
                    <a:pt x="212" y="310"/>
                    <a:pt x="225" y="313"/>
                  </a:cubicBezTo>
                  <a:cubicBezTo>
                    <a:pt x="278" y="326"/>
                    <a:pt x="326" y="337"/>
                    <a:pt x="326" y="379"/>
                  </a:cubicBezTo>
                  <a:cubicBezTo>
                    <a:pt x="326" y="408"/>
                    <a:pt x="294" y="432"/>
                    <a:pt x="236" y="432"/>
                  </a:cubicBezTo>
                  <a:cubicBezTo>
                    <a:pt x="178" y="432"/>
                    <a:pt x="143" y="403"/>
                    <a:pt x="138" y="352"/>
                  </a:cubicBezTo>
                  <a:lnTo>
                    <a:pt x="0" y="352"/>
                  </a:lnTo>
                  <a:cubicBezTo>
                    <a:pt x="6" y="405"/>
                    <a:pt x="35" y="530"/>
                    <a:pt x="236" y="530"/>
                  </a:cubicBezTo>
                  <a:cubicBezTo>
                    <a:pt x="424" y="530"/>
                    <a:pt x="477" y="427"/>
                    <a:pt x="477" y="368"/>
                  </a:cubicBezTo>
                  <a:cubicBezTo>
                    <a:pt x="477" y="302"/>
                    <a:pt x="435" y="246"/>
                    <a:pt x="310" y="215"/>
                  </a:cubicBezTo>
                  <a:cubicBezTo>
                    <a:pt x="302" y="212"/>
                    <a:pt x="262" y="204"/>
                    <a:pt x="247" y="199"/>
                  </a:cubicBezTo>
                  <a:cubicBezTo>
                    <a:pt x="183" y="183"/>
                    <a:pt x="165" y="172"/>
                    <a:pt x="165" y="141"/>
                  </a:cubicBezTo>
                  <a:cubicBezTo>
                    <a:pt x="165" y="111"/>
                    <a:pt x="196" y="98"/>
                    <a:pt x="231" y="98"/>
                  </a:cubicBezTo>
                  <a:cubicBezTo>
                    <a:pt x="310" y="98"/>
                    <a:pt x="326" y="138"/>
                    <a:pt x="326" y="162"/>
                  </a:cubicBezTo>
                  <a:lnTo>
                    <a:pt x="464" y="162"/>
                  </a:lnTo>
                  <a:cubicBezTo>
                    <a:pt x="464" y="109"/>
                    <a:pt x="427" y="0"/>
                    <a:pt x="231" y="0"/>
                  </a:cubicBezTo>
                  <a:cubicBezTo>
                    <a:pt x="74" y="0"/>
                    <a:pt x="16" y="80"/>
                    <a:pt x="16" y="146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defTabSz="685800" hangingPunct="0"/>
              <a:endParaRPr lang="en-US" dirty="0">
                <a:solidFill>
                  <a:srgbClr val="39393B"/>
                </a:solidFill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4" name="Freeform: Shape 10"/>
            <p:cNvSpPr/>
            <p:nvPr/>
          </p:nvSpPr>
          <p:spPr>
            <a:xfrm>
              <a:off x="2012080" y="4755338"/>
              <a:ext cx="97493" cy="10053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14" h="530">
                  <a:moveTo>
                    <a:pt x="376" y="331"/>
                  </a:moveTo>
                  <a:cubicBezTo>
                    <a:pt x="366" y="379"/>
                    <a:pt x="334" y="424"/>
                    <a:pt x="270" y="424"/>
                  </a:cubicBezTo>
                  <a:cubicBezTo>
                    <a:pt x="191" y="424"/>
                    <a:pt x="151" y="355"/>
                    <a:pt x="151" y="265"/>
                  </a:cubicBezTo>
                  <a:cubicBezTo>
                    <a:pt x="151" y="196"/>
                    <a:pt x="178" y="103"/>
                    <a:pt x="270" y="103"/>
                  </a:cubicBezTo>
                  <a:cubicBezTo>
                    <a:pt x="329" y="103"/>
                    <a:pt x="363" y="143"/>
                    <a:pt x="371" y="188"/>
                  </a:cubicBezTo>
                  <a:lnTo>
                    <a:pt x="511" y="188"/>
                  </a:lnTo>
                  <a:cubicBezTo>
                    <a:pt x="503" y="109"/>
                    <a:pt x="445" y="0"/>
                    <a:pt x="268" y="0"/>
                  </a:cubicBezTo>
                  <a:cubicBezTo>
                    <a:pt x="112" y="0"/>
                    <a:pt x="0" y="103"/>
                    <a:pt x="0" y="265"/>
                  </a:cubicBezTo>
                  <a:cubicBezTo>
                    <a:pt x="0" y="427"/>
                    <a:pt x="109" y="530"/>
                    <a:pt x="268" y="530"/>
                  </a:cubicBezTo>
                  <a:cubicBezTo>
                    <a:pt x="453" y="530"/>
                    <a:pt x="506" y="413"/>
                    <a:pt x="514" y="334"/>
                  </a:cubicBezTo>
                  <a:lnTo>
                    <a:pt x="376" y="334"/>
                  </a:ln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defTabSz="685800" hangingPunct="0"/>
              <a:endParaRPr lang="en-US" dirty="0">
                <a:solidFill>
                  <a:srgbClr val="39393B"/>
                </a:solidFill>
                <a:ea typeface="Arial Unicode MS" pitchFamily="2"/>
                <a:cs typeface="Arial Unicode MS" pitchFamily="2"/>
              </a:endParaRPr>
            </a:p>
          </p:txBody>
        </p:sp>
        <p:sp>
          <p:nvSpPr>
            <p:cNvPr id="25" name="Freeform: Shape 11"/>
            <p:cNvSpPr/>
            <p:nvPr/>
          </p:nvSpPr>
          <p:spPr>
            <a:xfrm>
              <a:off x="2117744" y="4755338"/>
              <a:ext cx="101104" cy="100533"/>
            </a:xfrm>
            <a:custGeom>
              <a:avLst/>
              <a:gdLst/>
              <a:ahLst/>
              <a:cxnLst>
                <a:cxn ang="3cd4">
                  <a:pos x="hc" y="t"/>
                </a:cxn>
                <a:cxn ang="cd2">
                  <a:pos x="l" y="vc"/>
                </a:cxn>
                <a:cxn ang="cd4">
                  <a:pos x="hc" y="b"/>
                </a:cxn>
                <a:cxn ang="0">
                  <a:pos x="r" y="vc"/>
                </a:cxn>
              </a:cxnLst>
              <a:rect l="l" t="t" r="r" b="b"/>
              <a:pathLst>
                <a:path w="533" h="530">
                  <a:moveTo>
                    <a:pt x="268" y="0"/>
                  </a:moveTo>
                  <a:cubicBezTo>
                    <a:pt x="109" y="0"/>
                    <a:pt x="0" y="103"/>
                    <a:pt x="0" y="265"/>
                  </a:cubicBezTo>
                  <a:cubicBezTo>
                    <a:pt x="0" y="427"/>
                    <a:pt x="109" y="530"/>
                    <a:pt x="268" y="530"/>
                  </a:cubicBezTo>
                  <a:cubicBezTo>
                    <a:pt x="424" y="530"/>
                    <a:pt x="533" y="429"/>
                    <a:pt x="533" y="265"/>
                  </a:cubicBezTo>
                  <a:cubicBezTo>
                    <a:pt x="533" y="98"/>
                    <a:pt x="419" y="0"/>
                    <a:pt x="268" y="0"/>
                  </a:cubicBezTo>
                  <a:close/>
                  <a:moveTo>
                    <a:pt x="265" y="424"/>
                  </a:moveTo>
                  <a:cubicBezTo>
                    <a:pt x="188" y="424"/>
                    <a:pt x="146" y="355"/>
                    <a:pt x="146" y="265"/>
                  </a:cubicBezTo>
                  <a:cubicBezTo>
                    <a:pt x="149" y="196"/>
                    <a:pt x="175" y="103"/>
                    <a:pt x="265" y="103"/>
                  </a:cubicBezTo>
                  <a:cubicBezTo>
                    <a:pt x="347" y="103"/>
                    <a:pt x="382" y="183"/>
                    <a:pt x="382" y="265"/>
                  </a:cubicBezTo>
                  <a:cubicBezTo>
                    <a:pt x="382" y="347"/>
                    <a:pt x="347" y="424"/>
                    <a:pt x="265" y="424"/>
                  </a:cubicBezTo>
                  <a:close/>
                </a:path>
              </a:pathLst>
            </a:custGeom>
            <a:grpFill/>
            <a:ln cap="flat">
              <a:noFill/>
              <a:prstDash val="solid"/>
            </a:ln>
          </p:spPr>
          <p:txBody>
            <a:bodyPr vert="horz" wrap="none" lIns="90000" tIns="45000" rIns="90000" bIns="45000" anchor="ctr" anchorCtr="1" compatLnSpc="0"/>
            <a:lstStyle/>
            <a:p>
              <a:pPr defTabSz="685800" hangingPunct="0"/>
              <a:endParaRPr lang="en-US" dirty="0">
                <a:solidFill>
                  <a:srgbClr val="39393B"/>
                </a:solidFill>
                <a:ea typeface="Arial Unicode MS" pitchFamily="2"/>
                <a:cs typeface="Arial Unicode MS" pitchFamily="2"/>
              </a:endParaRPr>
            </a:p>
          </p:txBody>
        </p:sp>
      </p:grpSp>
    </p:spTree>
    <p:extLst/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600" b="0" i="1" spc="0" baseline="0">
                <a:solidFill>
                  <a:schemeClr val="accent6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360" tIns="45680" rIns="91360" bIns="45680">
            <a:noAutofit/>
          </a:bodyPr>
          <a:lstStyle>
            <a:lvl1pPr marL="57092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1832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5699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085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3542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4" tIns="45682" rIns="91364" bIns="4568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536086"/>
      </p:ext>
    </p:extLst>
  </p:cSld>
  <p:clrMapOvr>
    <a:masterClrMapping/>
  </p:clrMapOvr>
  <p:transition spd="med">
    <p:fade/>
  </p:transition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22533" y="4946904"/>
            <a:ext cx="716863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600" baseline="0" dirty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pPr defTabSz="610744"/>
            <a:endParaRPr lang="mr-IN">
              <a:solidFill>
                <a:srgbClr val="676767"/>
              </a:solidFill>
            </a:endParaRP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89"/>
            <a:ext cx="35966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600" kern="1200" baseline="0" smtClean="0">
                <a:solidFill>
                  <a:schemeClr val="tx1"/>
                </a:solidFill>
                <a:latin typeface="+mj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 lang="uk-UA">
                <a:solidFill>
                  <a:srgbClr val="676767"/>
                </a:solidFill>
              </a:rPr>
              <a:pPr/>
              <a:t>‹#›</a:t>
            </a:fld>
            <a:endParaRPr lang="uk-UA" dirty="0">
              <a:solidFill>
                <a:srgbClr val="676767"/>
              </a:solidFill>
            </a:endParaRP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2301" y="1347788"/>
            <a:ext cx="8277344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20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800" b="0" i="0">
                <a:solidFill>
                  <a:schemeClr val="tx2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600" b="0" i="0">
                <a:solidFill>
                  <a:schemeClr val="tx2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400" b="0" i="0">
                <a:solidFill>
                  <a:schemeClr val="tx2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2"/>
              </a:buClr>
              <a:buSzPct val="80000"/>
              <a:buFont typeface="Wingdings" panose="05000000000000000000" pitchFamily="2" charset="2"/>
              <a:buChar char="§"/>
              <a:defRPr sz="1200" b="0" i="0">
                <a:solidFill>
                  <a:schemeClr val="tx2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4461" y="637598"/>
            <a:ext cx="8302625" cy="299001"/>
          </a:xfrm>
          <a:prstGeom prst="rect">
            <a:avLst/>
          </a:prstGeom>
        </p:spPr>
        <p:txBody>
          <a:bodyPr lIns="91420" tIns="45710" rIns="91420" bIns="45710" anchor="ctr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tx1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6934" y="23777"/>
            <a:ext cx="8340152" cy="64473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32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11" y="1347788"/>
            <a:ext cx="8277344" cy="3168210"/>
          </a:xfrm>
          <a:prstGeom prst="rect">
            <a:avLst/>
          </a:prstGeom>
        </p:spPr>
        <p:txBody>
          <a:bodyPr lIns="121872" tIns="60936" rIns="121872" bIns="60936">
            <a:noAutofit/>
          </a:bodyPr>
          <a:lstStyle>
            <a:lvl1pPr marL="280879" indent="-223753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25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06" indent="-215817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428" indent="-171385">
              <a:buClr>
                <a:schemeClr val="tx1"/>
              </a:buClr>
              <a:buSzPct val="80000"/>
              <a:buFont typeface="Arial"/>
              <a:buChar char="•"/>
              <a:defRPr sz="1575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876" indent="-171385">
              <a:buClr>
                <a:schemeClr val="tx1"/>
              </a:buClr>
              <a:buSzPct val="80000"/>
              <a:buFont typeface="Arial"/>
              <a:buChar char="•"/>
              <a:defRPr sz="1425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261" indent="-168211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121877" tIns="60939" rIns="121877" bIns="6093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</a:t>
            </a:r>
            <a:r>
              <a:rPr lang="en-US" smtClean="0"/>
              <a:t>title </a:t>
            </a:r>
            <a:r>
              <a:rPr lang="en-US"/>
              <a:t>styl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89"/>
            <a:ext cx="35966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600" kern="1200" smtClean="0">
                <a:solidFill>
                  <a:srgbClr val="000000"/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/>
              <a:pPr/>
              <a:t>‹#›</a:t>
            </a:fld>
            <a:endParaRPr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22533" y="4946904"/>
            <a:ext cx="716863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600" dirty="0">
                <a:solidFill>
                  <a:srgbClr val="000000"/>
                </a:solidFill>
                <a:cs typeface="CiscoSans Thin"/>
              </a:defRPr>
            </a:lvl1pPr>
          </a:lstStyle>
          <a:p>
            <a:pPr defTabSz="610744"/>
            <a:endParaRPr/>
          </a:p>
        </p:txBody>
      </p:sp>
    </p:spTree>
    <p:extLst/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-animated gradient">
    <p:bg>
      <p:bgPr>
        <a:solidFill>
          <a:srgbClr val="3939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50" y="323850"/>
            <a:ext cx="941388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Group 8"/>
          <p:cNvGrpSpPr>
            <a:grpSpLocks/>
          </p:cNvGrpSpPr>
          <p:nvPr/>
        </p:nvGrpSpPr>
        <p:grpSpPr bwMode="auto">
          <a:xfrm>
            <a:off x="-9525" y="0"/>
            <a:ext cx="9144000" cy="2011363"/>
            <a:chOff x="-9339" y="0"/>
            <a:chExt cx="9144000" cy="2012111"/>
          </a:xfrm>
        </p:grpSpPr>
        <p:sp>
          <p:nvSpPr>
            <p:cNvPr id="9" name="Rectangle 8"/>
            <p:cNvSpPr/>
            <p:nvPr/>
          </p:nvSpPr>
          <p:spPr>
            <a:xfrm>
              <a:off x="-9339" y="0"/>
              <a:ext cx="9144000" cy="201211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00">
                <a:defRPr/>
              </a:pPr>
              <a:endParaRPr lang="en-US" sz="1350" dirty="0">
                <a:solidFill>
                  <a:srgbClr val="FFFFFF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54161" y="31762"/>
              <a:ext cx="1344613" cy="99255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9" rIns="91436" bIns="45719" anchor="ctr"/>
            <a:lstStyle/>
            <a:p>
              <a:pPr algn="ctr" defTabSz="685800">
                <a:defRPr/>
              </a:pPr>
              <a:endParaRPr lang="en-US" sz="1350">
                <a:solidFill>
                  <a:srgbClr val="FFFFFF"/>
                </a:solidFill>
              </a:endParaRPr>
            </a:p>
          </p:txBody>
        </p:sp>
        <p:pic>
          <p:nvPicPr>
            <p:cNvPr id="11" name="Picture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0718" y="244748"/>
              <a:ext cx="941388" cy="585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Rectangle 11"/>
            <p:cNvSpPr/>
            <p:nvPr/>
          </p:nvSpPr>
          <p:spPr>
            <a:xfrm>
              <a:off x="1449574" y="1067197"/>
              <a:ext cx="2951162" cy="8750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6" tIns="45719" rIns="91436" bIns="45719" anchor="ctr"/>
            <a:lstStyle/>
            <a:p>
              <a:pPr algn="ctr" defTabSz="685800">
                <a:defRPr/>
              </a:pPr>
              <a:endParaRPr lang="en-US" sz="1350">
                <a:solidFill>
                  <a:srgbClr val="FFFFFF"/>
                </a:solidFill>
              </a:endParaRPr>
            </a:p>
          </p:txBody>
        </p:sp>
        <p:pic>
          <p:nvPicPr>
            <p:cNvPr id="13" name="Picture 1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004" y="1066801"/>
              <a:ext cx="1348984" cy="8759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1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53163" y="31988"/>
              <a:ext cx="2839732" cy="19108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50168" y="31988"/>
              <a:ext cx="2949991" cy="9966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5" descr="C:\Users\jenowens\Documents\0 WW Sales &amp; Partner Training\Branding\AJ81636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0959" y="31988"/>
              <a:ext cx="1752600" cy="19108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2" name="Picture 1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3088" y="1093788"/>
            <a:ext cx="2533650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9496" y="379319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469496" y="403319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469496" y="427319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8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Segue">
    <p:bg>
      <p:bgPr>
        <a:solidFill>
          <a:srgbClr val="39393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7237190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9D0E4CDE-323C-4F44-9B2F-000ABB332CCC}" type="slidenum">
              <a:rPr lang="en-US" sz="600">
                <a:solidFill>
                  <a:srgbClr val="FFFFFF">
                    <a:alpha val="60000"/>
                  </a:srgbClr>
                </a:solidFill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FFFFFF">
                  <a:alpha val="60000"/>
                </a:srgbClr>
              </a:solidFill>
              <a:cs typeface="CiscoSans Thin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ltGray">
          <a:xfrm>
            <a:off x="4588991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FFFFFF">
                    <a:alpha val="60000"/>
                  </a:srgbClr>
                </a:solidFill>
                <a:cs typeface="CiscoSans Thin"/>
              </a:rPr>
              <a:t>© 2016  Cisco and/or its affiliates. All rights reserved.   Cisco Confidential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grayscl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838" y="4625975"/>
            <a:ext cx="423862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0" y="4411663"/>
            <a:ext cx="9144000" cy="920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8" name="Picture 1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7475" y="4624388"/>
            <a:ext cx="140652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89685" y="895601"/>
            <a:ext cx="8398739" cy="3168210"/>
          </a:xfrm>
          <a:prstGeom prst="rect">
            <a:avLst/>
          </a:prstGeom>
        </p:spPr>
        <p:txBody>
          <a:bodyPr lIns="91360" tIns="45680" rIns="91360" bIns="45680">
            <a:noAutofit/>
          </a:bodyPr>
          <a:lstStyle>
            <a:lvl1pPr marL="57092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1832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5699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085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3542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423506376"/>
      </p:ext>
    </p:extLst>
  </p:cSld>
  <p:clrMapOvr>
    <a:masterClrMapping/>
  </p:clrMapOvr>
  <p:transition spd="med">
    <p:fade/>
  </p:transition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28639" y="876359"/>
            <a:ext cx="8259762" cy="3168210"/>
          </a:xfrm>
          <a:prstGeom prst="rect">
            <a:avLst/>
          </a:prstGeom>
        </p:spPr>
        <p:txBody>
          <a:bodyPr lIns="91360" tIns="45680" rIns="91360" bIns="45680">
            <a:noAutofit/>
          </a:bodyPr>
          <a:lstStyle>
            <a:lvl1pPr marL="212251" indent="-392129">
              <a:lnSpc>
                <a:spcPts val="4440"/>
              </a:lnSpc>
              <a:spcBef>
                <a:spcPts val="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536" indent="-215678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023" indent="-171296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367" indent="-171296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1649" indent="-168121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220070074"/>
      </p:ext>
    </p:extLst>
  </p:cSld>
  <p:clrMapOvr>
    <a:masterClrMapping/>
  </p:clrMapOvr>
  <p:transition spd="med">
    <p:fade/>
  </p:transition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4" y="1347788"/>
            <a:ext cx="8277344" cy="3168210"/>
          </a:xfrm>
          <a:prstGeom prst="rect">
            <a:avLst/>
          </a:prstGeom>
        </p:spPr>
        <p:txBody>
          <a:bodyPr lIns="91360" tIns="45680" rIns="91360" bIns="45680">
            <a:noAutofit/>
          </a:bodyPr>
          <a:lstStyle>
            <a:lvl1pPr marL="280720" indent="-223616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536" indent="-215678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023" indent="-171296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0367" indent="-171296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1649" indent="-168121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4" tIns="45682" rIns="91364" bIns="4568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0143739"/>
      </p:ext>
    </p:extLst>
  </p:cSld>
  <p:clrMapOvr>
    <a:masterClrMapping/>
  </p:clrMapOvr>
  <p:transition spd="med">
    <p:fade/>
  </p:transition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93" y="1347788"/>
            <a:ext cx="3901123" cy="3083094"/>
          </a:xfrm>
          <a:prstGeom prst="rect">
            <a:avLst/>
          </a:prstGeom>
        </p:spPr>
        <p:txBody>
          <a:bodyPr lIns="91360" tIns="45680" rIns="91360" bIns="45680">
            <a:noAutofit/>
          </a:bodyPr>
          <a:lstStyle>
            <a:lvl1pPr marL="228378" indent="-171296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752" indent="-215678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073" indent="-171296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341" indent="-171296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635" indent="-17129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564797" y="1347788"/>
            <a:ext cx="4218460" cy="3083094"/>
          </a:xfrm>
          <a:prstGeom prst="rect">
            <a:avLst/>
          </a:prstGeom>
        </p:spPr>
        <p:txBody>
          <a:bodyPr lIns="91360" tIns="45680" rIns="91360" bIns="45680">
            <a:noAutofit/>
          </a:bodyPr>
          <a:lstStyle>
            <a:lvl1pPr marL="228378" indent="-171296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752" indent="-215678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073" indent="-171296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341" indent="-171296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635" indent="-17129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4" tIns="45682" rIns="91364" bIns="4568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8514657"/>
      </p:ext>
    </p:extLst>
  </p:cSld>
  <p:clrMapOvr>
    <a:masterClrMapping/>
  </p:clrMapOvr>
  <p:transition spd="med">
    <p:fade/>
  </p:transition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5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6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68523" tIns="34283" rIns="68523" bIns="34283">
            <a:noAutofit/>
          </a:bodyPr>
          <a:lstStyle>
            <a:lvl1pPr marL="57092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1837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5708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097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3557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6" tIns="34283" rIns="68526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6801532"/>
      </p:ext>
    </p:extLst>
  </p:cSld>
  <p:clrMapOvr>
    <a:masterClrMapping/>
  </p:clrMapOvr>
  <p:transition spd="med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4565970" y="609608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7930" y="302532"/>
            <a:ext cx="3715995" cy="826447"/>
          </a:xfrm>
          <a:prstGeom prst="rect">
            <a:avLst/>
          </a:prstGeom>
        </p:spPr>
        <p:txBody>
          <a:bodyPr lIns="61667" tIns="34283" rIns="61667" bIns="34283" rtlCol="0">
            <a:noAutofit/>
          </a:bodyPr>
          <a:lstStyle>
            <a:lvl1pPr algn="l" defTabSz="685215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3200" b="0" i="0" kern="1200" spc="-75" baseline="0" dirty="0" smtClean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4905965" y="302506"/>
            <a:ext cx="3715995" cy="826446"/>
          </a:xfrm>
          <a:prstGeom prst="rect">
            <a:avLst/>
          </a:prstGeom>
        </p:spPr>
        <p:txBody>
          <a:bodyPr lIns="91360" tIns="45680" rIns="91360" bIns="45680" anchor="ctr" anchorCtr="0">
            <a:noAutofit/>
          </a:bodyPr>
          <a:lstStyle>
            <a:lvl1pPr marL="0" marR="0" indent="0" algn="l" defTabSz="68521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3200" b="0" i="0" kern="1200" spc="-75" baseline="0" dirty="0">
                <a:solidFill>
                  <a:srgbClr val="676767"/>
                </a:solidFill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930" y="1347788"/>
            <a:ext cx="3715995" cy="3083094"/>
          </a:xfrm>
          <a:prstGeom prst="rect">
            <a:avLst/>
          </a:prstGeom>
        </p:spPr>
        <p:txBody>
          <a:bodyPr lIns="91360" tIns="45680" rIns="91360" bIns="45680">
            <a:noAutofit/>
          </a:bodyPr>
          <a:lstStyle>
            <a:lvl1pPr marL="228378" indent="-171296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752" indent="-215678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073" indent="-171296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341" indent="-171296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635" indent="-17129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905965" y="1347788"/>
            <a:ext cx="3715995" cy="3083094"/>
          </a:xfrm>
          <a:prstGeom prst="rect">
            <a:avLst/>
          </a:prstGeom>
        </p:spPr>
        <p:txBody>
          <a:bodyPr lIns="91360" tIns="45680" rIns="91360" bIns="45680">
            <a:noAutofit/>
          </a:bodyPr>
          <a:lstStyle>
            <a:lvl1pPr marL="228378" indent="-171296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752" indent="-215678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073" indent="-171296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341" indent="-171296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635" indent="-17129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6747665"/>
      </p:ext>
    </p:extLst>
  </p:cSld>
  <p:clrMapOvr>
    <a:masterClrMapping/>
  </p:clrMapOvr>
  <p:transition spd="med">
    <p:fade/>
  </p:transition>
  <p:hf hdr="0" ftr="0" dt="0"/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5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6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57136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3200" b="0" i="0">
                <a:solidFill>
                  <a:schemeClr val="tx2"/>
                </a:solidFill>
                <a:latin typeface="+mn-lt"/>
                <a:cs typeface="CiscoSans ExtraLight"/>
              </a:defRPr>
            </a:lvl1pPr>
            <a:lvl2pPr marL="292040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6143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9620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4210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4461" y="637598"/>
            <a:ext cx="8302625" cy="299001"/>
          </a:xfrm>
          <a:prstGeom prst="rect">
            <a:avLst/>
          </a:prstGeom>
        </p:spPr>
        <p:txBody>
          <a:bodyPr lIns="91420" tIns="45710" rIns="91420" bIns="45710" anchor="ctr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chemeClr val="tx1"/>
                </a:solidFill>
                <a:latin typeface="+mj-l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6934" y="23777"/>
            <a:ext cx="8340152" cy="64473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3200" b="0" i="0" spc="0" baseline="0">
                <a:solidFill>
                  <a:schemeClr val="tx1"/>
                </a:solidFill>
                <a:latin typeface="+mj-lt"/>
                <a:cs typeface="CiscoSans Thin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7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8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Bulle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347788"/>
            <a:ext cx="8345488" cy="316821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0928" indent="-223792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37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507895" indent="-215855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747558" indent="-171415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p:transition spd="med">
    <p:fade/>
  </p:transition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8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5073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/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3-Column Layout 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3070225" y="609608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037263" y="609608"/>
            <a:ext cx="0" cy="3984625"/>
          </a:xfrm>
          <a:prstGeom prst="line">
            <a:avLst/>
          </a:prstGeom>
          <a:ln w="38100" cap="flat" cmpd="sng">
            <a:solidFill>
              <a:srgbClr val="3E6B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1992" y="228347"/>
            <a:ext cx="2337109" cy="770461"/>
          </a:xfrm>
          <a:prstGeom prst="rect">
            <a:avLst/>
          </a:prstGeom>
        </p:spPr>
        <p:txBody>
          <a:bodyPr lIns="91360" tIns="45680" rIns="91360" bIns="45680" anchor="b" anchorCtr="0">
            <a:noAutofit/>
          </a:bodyPr>
          <a:lstStyle>
            <a:lvl1pPr marL="0" marR="0" indent="0" algn="l" defTabSz="68521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0" name="Text Placeholder 17"/>
          <p:cNvSpPr>
            <a:spLocks noGrp="1"/>
          </p:cNvSpPr>
          <p:nvPr>
            <p:ph type="body" sz="quarter" idx="22" hasCustomPrompt="1"/>
          </p:nvPr>
        </p:nvSpPr>
        <p:spPr>
          <a:xfrm>
            <a:off x="3377756" y="227867"/>
            <a:ext cx="2337109" cy="770461"/>
          </a:xfrm>
          <a:prstGeom prst="rect">
            <a:avLst/>
          </a:prstGeom>
        </p:spPr>
        <p:txBody>
          <a:bodyPr lIns="91360" tIns="45680" rIns="91360" bIns="45680" anchor="b" anchorCtr="0">
            <a:noAutofit/>
          </a:bodyPr>
          <a:lstStyle>
            <a:lvl1pPr marL="0" marR="0" indent="0" algn="l" defTabSz="68521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6354841" y="220507"/>
            <a:ext cx="2337109" cy="770461"/>
          </a:xfrm>
          <a:prstGeom prst="rect">
            <a:avLst/>
          </a:prstGeom>
        </p:spPr>
        <p:txBody>
          <a:bodyPr lIns="91360" tIns="45680" rIns="91360" bIns="45680" anchor="b" anchorCtr="0">
            <a:noAutofit/>
          </a:bodyPr>
          <a:lstStyle>
            <a:lvl1pPr marL="0" marR="0" indent="0" algn="l" defTabSz="685215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500" b="0" i="0" u="none" strike="noStrike" kern="1200" cap="none" spc="-75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+mj-lt"/>
                <a:ea typeface="+mj-ea"/>
                <a:cs typeface="CiscoSans Thin"/>
              </a:defRPr>
            </a:lvl1pPr>
          </a:lstStyle>
          <a:p>
            <a:pPr lvl="0"/>
            <a:r>
              <a:rPr lang="en-GB" dirty="0" smtClean="0"/>
              <a:t>Title Goes Her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61965" y="1201094"/>
            <a:ext cx="2337110" cy="3314904"/>
          </a:xfrm>
          <a:prstGeom prst="rect">
            <a:avLst/>
          </a:prstGeom>
        </p:spPr>
        <p:txBody>
          <a:bodyPr lIns="91360" tIns="45680" rIns="91360" bIns="45680">
            <a:noAutofit/>
          </a:bodyPr>
          <a:lstStyle>
            <a:lvl1pPr marL="233139" indent="-171296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598" indent="-17129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377731" y="1200321"/>
            <a:ext cx="2337110" cy="3314904"/>
          </a:xfrm>
          <a:prstGeom prst="rect">
            <a:avLst/>
          </a:prstGeom>
        </p:spPr>
        <p:txBody>
          <a:bodyPr lIns="91360" tIns="45680" rIns="91360" bIns="45680">
            <a:noAutofit/>
          </a:bodyPr>
          <a:lstStyle>
            <a:lvl1pPr marL="233139" indent="-171296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598" indent="-17129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354814" y="1200321"/>
            <a:ext cx="2337110" cy="3314904"/>
          </a:xfrm>
          <a:prstGeom prst="rect">
            <a:avLst/>
          </a:prstGeom>
        </p:spPr>
        <p:txBody>
          <a:bodyPr lIns="91360" tIns="45680" rIns="91360" bIns="45680">
            <a:noAutofit/>
          </a:bodyPr>
          <a:lstStyle>
            <a:lvl1pPr marL="233139" indent="-171296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baseline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31598" indent="-17129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>
              <a:buClr>
                <a:schemeClr val="tx1"/>
              </a:buClr>
              <a:buSzPct val="80000"/>
              <a:defRPr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118762209"/>
      </p:ext>
    </p:extLst>
  </p:cSld>
  <p:clrMapOvr>
    <a:masterClrMapping/>
  </p:clrMapOvr>
  <p:transition spd="med">
    <p:fade/>
  </p:transition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/>
  </p:cSld>
  <p:clrMapOvr>
    <a:masterClrMapping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/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with pul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5070476" y="1330326"/>
            <a:ext cx="3712779" cy="3101974"/>
          </a:xfrm>
          <a:prstGeom prst="roundRect">
            <a:avLst>
              <a:gd name="adj" fmla="val 0"/>
            </a:avLst>
          </a:prstGeom>
          <a:gradFill flip="none" rotWithShape="1">
            <a:gsLst>
              <a:gs pos="0">
                <a:schemeClr val="bg2">
                  <a:lumMod val="92000"/>
                </a:schemeClr>
              </a:gs>
              <a:gs pos="47000">
                <a:schemeClr val="bg1"/>
              </a:gs>
              <a:gs pos="100000">
                <a:schemeClr val="bg2">
                  <a:lumMod val="92000"/>
                </a:schemeClr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0" tIns="45680" rIns="91360" bIns="45680" anchor="ctr"/>
          <a:lstStyle/>
          <a:p>
            <a:pPr algn="ctr" defTabSz="456845">
              <a:defRPr/>
            </a:pPr>
            <a:endParaRPr lang="en-US" sz="1400">
              <a:solidFill>
                <a:srgbClr val="FFFFFF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5148706" y="1481751"/>
            <a:ext cx="3375912" cy="1659018"/>
          </a:xfrm>
          <a:prstGeom prst="rect">
            <a:avLst/>
          </a:prstGeom>
        </p:spPr>
        <p:txBody>
          <a:bodyPr lIns="91360" tIns="45680" rIns="91360" bIns="45680">
            <a:noAutofit/>
          </a:bodyPr>
          <a:lstStyle>
            <a:lvl1pPr marL="85659" indent="-85659" algn="l" defTabSz="685215" rtl="0" eaLnBrk="1" latinLnBrk="0" hangingPunct="1">
              <a:lnSpc>
                <a:spcPct val="90000"/>
              </a:lnSpc>
              <a:spcBef>
                <a:spcPts val="0"/>
              </a:spcBef>
              <a:buNone/>
              <a:defRPr lang="en-US" sz="1500" kern="1200" baseline="0" dirty="0" smtClean="0">
                <a:solidFill>
                  <a:schemeClr val="tx2"/>
                </a:solidFill>
                <a:latin typeface="+mn-lt"/>
                <a:ea typeface="+mn-ea"/>
                <a:cs typeface="CiscoSans ExtraLight"/>
              </a:defRPr>
            </a:lvl1pPr>
            <a:lvl2pPr marL="85659" indent="-85659" algn="l" defTabSz="685215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2pPr>
            <a:lvl3pPr marL="85659" indent="-85659" algn="l" defTabSz="685215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3pPr>
            <a:lvl4pPr marL="85659" indent="-85659" algn="l" defTabSz="685215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4pPr>
            <a:lvl5pPr marL="85659" indent="-85659" algn="l" defTabSz="685215" rtl="0" eaLnBrk="1" latinLnBrk="0" hangingPunct="1">
              <a:defRPr lang="en-US" sz="1500" kern="1200" dirty="0" smtClean="0">
                <a:solidFill>
                  <a:schemeClr val="accent2"/>
                </a:solidFill>
                <a:latin typeface="Ciscolight" pitchFamily="2" charset="0"/>
                <a:ea typeface="+mn-ea"/>
                <a:cs typeface="+mn-cs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4" hasCustomPrompt="1"/>
          </p:nvPr>
        </p:nvSpPr>
        <p:spPr>
          <a:xfrm>
            <a:off x="5148734" y="3552444"/>
            <a:ext cx="3506245" cy="253746"/>
          </a:xfrm>
          <a:prstGeom prst="rect">
            <a:avLst/>
          </a:prstGeom>
        </p:spPr>
        <p:txBody>
          <a:bodyPr lIns="91360" tIns="45680" rIns="91360" bIns="45680">
            <a:noAutofit/>
          </a:bodyPr>
          <a:lstStyle>
            <a:lvl1pPr marL="0" indent="0">
              <a:buClr>
                <a:schemeClr val="tx2"/>
              </a:buClr>
              <a:buFontTx/>
              <a:buNone/>
              <a:defRPr sz="1200">
                <a:solidFill>
                  <a:schemeClr val="tx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93" y="1347788"/>
            <a:ext cx="3901123" cy="3083094"/>
          </a:xfrm>
          <a:prstGeom prst="rect">
            <a:avLst/>
          </a:prstGeom>
        </p:spPr>
        <p:txBody>
          <a:bodyPr lIns="91360" tIns="45680" rIns="91360" bIns="45680">
            <a:noAutofit/>
          </a:bodyPr>
          <a:lstStyle>
            <a:lvl1pPr marL="228378" indent="-171296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456752" indent="-215678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628073" indent="-171296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799341" indent="-171296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970635" indent="-171296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First level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8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4" tIns="45682" rIns="91364" bIns="4568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385085"/>
      </p:ext>
    </p:extLst>
  </p:cSld>
  <p:clrMapOvr>
    <a:masterClrMapping/>
  </p:clrMapOvr>
  <p:transition spd="med">
    <p:fade/>
  </p:transition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347788"/>
            <a:ext cx="8115300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2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25" indent="-1143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25" indent="-114300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25" indent="-114300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0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63" indent="-16986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600" algn="l"/>
              </a:tabLst>
              <a:defRPr sz="2400"/>
            </a:lvl1pPr>
            <a:lvl2pPr marL="346075" indent="-17145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200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75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38" indent="-11271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3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6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900" indent="-114300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200" indent="-123825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75" indent="-117475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6" y="1659842"/>
            <a:ext cx="3808797" cy="2931208"/>
          </a:xfrm>
          <a:prstGeom prst="rect">
            <a:avLst/>
          </a:prstGeom>
        </p:spPr>
        <p:txBody>
          <a:bodyPr/>
          <a:lstStyle>
            <a:lvl1pPr marL="114300" indent="-114300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228600" indent="-114300">
              <a:buClr>
                <a:schemeClr val="tx2"/>
              </a:buClr>
              <a:buSzPct val="60000"/>
              <a:defRPr sz="2000">
                <a:solidFill>
                  <a:schemeClr val="bg1"/>
                </a:solidFill>
              </a:defRPr>
            </a:lvl2pPr>
            <a:lvl3pPr marL="342900" indent="-114300">
              <a:buClr>
                <a:schemeClr val="tx2"/>
              </a:buClr>
              <a:buSzPct val="60000"/>
              <a:defRPr sz="1800">
                <a:solidFill>
                  <a:schemeClr val="bg1"/>
                </a:solidFill>
              </a:defRPr>
            </a:lvl3pPr>
            <a:lvl4pPr marL="457200" indent="-12382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4pPr>
            <a:lvl5pPr marL="574675" indent="-11747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5" y="4062350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286316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635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4" tIns="45682" rIns="91364" bIns="4568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4518580"/>
      </p:ext>
    </p:extLst>
  </p:cSld>
  <p:clrMapOvr>
    <a:masterClrMapping/>
  </p:clrMapOvr>
  <p:transition spd="med">
    <p:fade/>
  </p:transition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2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994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179921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407027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5073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/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-animated gradient">
    <p:bg>
      <p:bgPr>
        <a:gradFill>
          <a:gsLst>
            <a:gs pos="0">
              <a:srgbClr val="049FD9"/>
            </a:gs>
            <a:gs pos="100000">
              <a:srgbClr val="004BAF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5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50" y="323851"/>
            <a:ext cx="941388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9498" y="3793200"/>
            <a:ext cx="8296421" cy="288131"/>
          </a:xfrm>
          <a:prstGeom prst="rect">
            <a:avLst/>
          </a:prstGeom>
        </p:spPr>
        <p:txBody>
          <a:bodyPr lIns="91418" tIns="45709" rIns="91418" bIns="45709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0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469498" y="4033197"/>
            <a:ext cx="8296421" cy="288131"/>
          </a:xfrm>
          <a:prstGeom prst="rect">
            <a:avLst/>
          </a:prstGeom>
        </p:spPr>
        <p:txBody>
          <a:bodyPr lIns="91418" tIns="45709" rIns="91418" bIns="45709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469498" y="4273194"/>
            <a:ext cx="8296421" cy="288131"/>
          </a:xfrm>
          <a:prstGeom prst="rect">
            <a:avLst/>
          </a:prstGeom>
        </p:spPr>
        <p:txBody>
          <a:bodyPr lIns="91418" tIns="45709" rIns="91418" bIns="45709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3294" y="3211463"/>
            <a:ext cx="8302625" cy="299001"/>
          </a:xfrm>
          <a:prstGeom prst="rect">
            <a:avLst/>
          </a:prstGeom>
        </p:spPr>
        <p:txBody>
          <a:bodyPr lIns="91418" tIns="45709" rIns="91418" bIns="45709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66" indent="0">
              <a:buNone/>
              <a:defRPr/>
            </a:lvl2pPr>
            <a:lvl3pPr marL="427380" indent="0">
              <a:buNone/>
              <a:defRPr/>
            </a:lvl3pPr>
            <a:lvl4pPr marL="516668" indent="0">
              <a:buNone/>
              <a:defRPr/>
            </a:lvl4pPr>
            <a:lvl5pPr marL="60119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425767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 spd="slow">
    <p:wipe/>
  </p:transition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 lIns="91438" tIns="45719" rIns="91438" bIns="45719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DD5AEBC0-6AE5-914F-AF24-D08CF86D18FC}" type="datetimeFigureOut">
              <a:rPr lang="en-US" smtClean="0">
                <a:solidFill>
                  <a:srgbClr val="4D4D4C"/>
                </a:solidFill>
                <a:latin typeface="Arial" charset="0"/>
                <a:ea typeface="ＭＳ Ｐゴシック" charset="0"/>
                <a:cs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11/24/17</a:t>
            </a:fld>
            <a:endParaRPr lang="en-US">
              <a:solidFill>
                <a:srgbClr val="4D4D4C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 lIns="91438" tIns="45719" rIns="91438" bIns="45719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4D4D4C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 lIns="91438" tIns="45719" rIns="91438" bIns="45719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83E5C513-0CB7-3345-B89A-B93AEC792565}" type="slidenum">
              <a:rPr lang="en-US" smtClean="0">
                <a:solidFill>
                  <a:srgbClr val="4D4D4C"/>
                </a:solidFill>
                <a:latin typeface="Arial" charset="0"/>
                <a:ea typeface="ＭＳ Ｐゴシック" charset="0"/>
                <a:cs typeface="ＭＳ Ｐゴシック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4D4D4C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/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23590" y="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68568" tIns="34284" rIns="68568" bIns="3428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37766" y="1203929"/>
            <a:ext cx="8345488" cy="3545820"/>
          </a:xfrm>
          <a:prstGeom prst="rect">
            <a:avLst/>
          </a:prstGeom>
        </p:spPr>
        <p:txBody>
          <a:bodyPr lIns="91228" tIns="45614" rIns="91228" bIns="45614">
            <a:noAutofit/>
          </a:bodyPr>
          <a:lstStyle>
            <a:lvl1pPr marL="56993" indent="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None/>
              <a:defRPr sz="2800" b="0" i="0">
                <a:solidFill>
                  <a:srgbClr val="676767"/>
                </a:solidFill>
                <a:latin typeface="+mn-lt"/>
                <a:cs typeface="CiscoSans ExtraLight"/>
              </a:defRPr>
            </a:lvl1pPr>
            <a:lvl2pPr marL="291464" indent="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None/>
              <a:defRPr sz="1800" b="0" i="0">
                <a:solidFill>
                  <a:srgbClr val="676767"/>
                </a:solidFill>
                <a:latin typeface="+mn-lt"/>
                <a:cs typeface="CiscoSans ExtraLight"/>
              </a:defRPr>
            </a:lvl2pPr>
            <a:lvl3pPr marL="574991" indent="0"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676767"/>
                </a:solidFill>
                <a:latin typeface="+mn-lt"/>
                <a:cs typeface="CiscoSans ExtraLight"/>
              </a:defRPr>
            </a:lvl3pPr>
            <a:lvl4pPr marL="738145" indent="0">
              <a:buClr>
                <a:schemeClr val="tx1"/>
              </a:buClr>
              <a:buSzPct val="80000"/>
              <a:buFont typeface="Arial"/>
              <a:buNone/>
              <a:defRPr sz="1400" b="0" i="0">
                <a:solidFill>
                  <a:srgbClr val="676767"/>
                </a:solidFill>
                <a:latin typeface="+mn-lt"/>
                <a:cs typeface="CiscoSans ExtraLight"/>
              </a:defRPr>
            </a:lvl4pPr>
            <a:lvl5pPr marL="912386" indent="0">
              <a:buClr>
                <a:schemeClr val="tx1"/>
              </a:buClr>
              <a:buSzPct val="80000"/>
              <a:buFont typeface="Arial"/>
              <a:buNone/>
              <a:defRPr sz="1200" b="0" i="0">
                <a:solidFill>
                  <a:srgbClr val="676767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  <p:sp>
        <p:nvSpPr>
          <p:cNvPr id="6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158799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232" tIns="45616" rIns="91232" bIns="456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title style</a:t>
            </a:r>
            <a:endParaRPr lang="en-GB" dirty="0"/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89"/>
            <a:ext cx="35966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600" kern="1200" smtClean="0">
                <a:solidFill>
                  <a:srgbClr val="000000"/>
                </a:solidFill>
                <a:latin typeface="+mn-lt"/>
                <a:ea typeface="+mn-ea"/>
                <a:cs typeface="CiscoSans Thin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6A97DD0-5BE7-4856-A2A9-C42C6688E607}" type="slidenum">
              <a:rPr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22533" y="4946904"/>
            <a:ext cx="716863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600" dirty="0">
                <a:solidFill>
                  <a:srgbClr val="000000"/>
                </a:solidFill>
                <a:cs typeface="CiscoSans Thin"/>
              </a:defRPr>
            </a:lvl1pPr>
          </a:lstStyle>
          <a:p>
            <a:pPr defTabSz="610744" fontAlgn="base">
              <a:spcBef>
                <a:spcPct val="0"/>
              </a:spcBef>
              <a:spcAft>
                <a:spcPct val="0"/>
              </a:spcAft>
            </a:pPr>
            <a:endParaRPr>
              <a:latin typeface="Arial" charset="0"/>
              <a:ea typeface="ＭＳ Ｐゴシック" charset="0"/>
            </a:endParaRPr>
          </a:p>
        </p:txBody>
      </p:sp>
    </p:spTree>
    <p:extLst/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360" tIns="45680" rIns="91360" bIns="45680" anchor="b" anchorCtr="0">
            <a:noAutofit/>
          </a:bodyPr>
          <a:lstStyle>
            <a:lvl1pPr marL="0" indent="0" algn="l" defTabSz="603130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Click to edit text 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 hasCustomPrompt="1"/>
          </p:nvPr>
        </p:nvSpPr>
        <p:spPr>
          <a:xfrm>
            <a:off x="287923" y="1540556"/>
            <a:ext cx="7972248" cy="2278837"/>
          </a:xfrm>
          <a:prstGeom prst="rect">
            <a:avLst/>
          </a:prstGeom>
        </p:spPr>
        <p:txBody>
          <a:bodyPr anchor="ctr">
            <a:noAutofit/>
          </a:bodyPr>
          <a:lstStyle>
            <a:lvl1pPr marL="183466" indent="-399671" algn="l">
              <a:lnSpc>
                <a:spcPct val="90000"/>
              </a:lnSpc>
              <a:defRPr sz="4600" b="0" i="1" spc="0" baseline="0">
                <a:solidFill>
                  <a:srgbClr val="3E6BB4"/>
                </a:solidFill>
                <a:latin typeface="+mj-lt"/>
                <a:cs typeface="CiscoSans Thin"/>
              </a:defRPr>
            </a:lvl1pPr>
          </a:lstStyle>
          <a:p>
            <a:r>
              <a:rPr lang="en-GB" dirty="0" smtClean="0"/>
              <a:t>“Quote Goes Here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1539061"/>
      </p:ext>
    </p:extLst>
  </p:cSld>
  <p:clrMapOvr>
    <a:masterClrMapping/>
  </p:clrMapOvr>
  <p:transition spd="med">
    <p:fade/>
  </p:transition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7" y="386876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7" y="410876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7" y="434876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3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9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5073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/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7" y="3868769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7" y="4108766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7" y="4348763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3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74" indent="0">
              <a:buNone/>
              <a:defRPr/>
            </a:lvl2pPr>
            <a:lvl3pPr marL="427391" indent="0">
              <a:buNone/>
              <a:defRPr/>
            </a:lvl3pPr>
            <a:lvl4pPr marL="516681" indent="0">
              <a:buNone/>
              <a:defRPr/>
            </a:lvl4pPr>
            <a:lvl5pPr marL="601206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6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9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5073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/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469496" y="391308"/>
            <a:ext cx="795528" cy="42262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5073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/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/>
  </p:cSld>
  <p:clrMapOvr>
    <a:masterClrMapping/>
  </p:clrMapOvr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ytel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>
            <a:off x="4610196" y="609608"/>
            <a:ext cx="0" cy="3984625"/>
          </a:xfrm>
          <a:prstGeom prst="line">
            <a:avLst/>
          </a:prstGeom>
          <a:ln w="38100" cap="flat" cmpd="sng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3764" y="1439073"/>
            <a:ext cx="3820348" cy="2265389"/>
          </a:xfrm>
        </p:spPr>
        <p:txBody>
          <a:bodyPr lIns="61670" tIns="34286" rIns="61670" bIns="34286" rtlCol="0" anchor="ctr">
            <a:noAutofit/>
          </a:bodyPr>
          <a:lstStyle>
            <a:lvl1pPr marL="0" indent="0" algn="l" defTabSz="685244" rtl="0" eaLnBrk="1" latinLnBrk="0" hangingPunct="1">
              <a:lnSpc>
                <a:spcPct val="80000"/>
              </a:lnSpc>
              <a:spcBef>
                <a:spcPct val="0"/>
              </a:spcBef>
              <a:buClr>
                <a:schemeClr val="tx1"/>
              </a:buClr>
              <a:buFont typeface="Ciscolight" pitchFamily="2" charset="0"/>
              <a:buNone/>
              <a:defRPr lang="en-US" sz="4500" b="0" kern="1200" spc="0" baseline="0" dirty="0">
                <a:solidFill>
                  <a:srgbClr val="2968A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Title Goes Here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922521" y="654518"/>
            <a:ext cx="3865880" cy="3840480"/>
          </a:xfrm>
          <a:prstGeom prst="rect">
            <a:avLst/>
          </a:prstGeom>
        </p:spPr>
        <p:txBody>
          <a:bodyPr lIns="91360" tIns="45680" rIns="91360" bIns="45680" anchor="ctr" anchorCtr="0">
            <a:noAutofit/>
          </a:bodyPr>
          <a:lstStyle>
            <a:lvl1pPr marL="0" indent="0">
              <a:buFontTx/>
              <a:buNone/>
              <a:defRPr sz="1600" baseline="0">
                <a:solidFill>
                  <a:schemeClr val="tx1"/>
                </a:solidFill>
                <a:latin typeface="+mn-lt"/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GB" dirty="0" smtClean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752013201"/>
      </p:ext>
    </p:extLst>
  </p:cSld>
  <p:clrMapOvr>
    <a:masterClrMapping/>
  </p:clrMapOvr>
  <p:transition spd="slow">
    <p:wipe/>
  </p:transition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/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/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cs typeface="CiscoSans Thin"/>
              </a:rPr>
              <a:t>© 2017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/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/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347788"/>
            <a:ext cx="8115300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437766" y="1347790"/>
            <a:ext cx="8345488" cy="2658728"/>
          </a:xfrm>
          <a:prstGeom prst="rect">
            <a:avLst/>
          </a:prstGeom>
        </p:spPr>
        <p:txBody>
          <a:bodyPr lIns="91360" tIns="45680" rIns="91360" bIns="4568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smtClean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9" y="4148249"/>
            <a:ext cx="7180312" cy="326233"/>
          </a:xfrm>
          <a:prstGeom prst="rect">
            <a:avLst/>
          </a:prstGeom>
        </p:spPr>
        <p:txBody>
          <a:bodyPr wrap="square" lIns="91360" tIns="45680" rIns="91360" bIns="45680" anchor="b" anchorCtr="0">
            <a:noAutofit/>
          </a:bodyPr>
          <a:lstStyle>
            <a:lvl1pPr algn="l" defTabSz="60313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 hasCustomPrompt="1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4" tIns="45682" rIns="91364" bIns="4568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4460851"/>
      </p:ext>
    </p:extLst>
  </p:cSld>
  <p:clrMapOvr>
    <a:masterClrMapping/>
  </p:clrMapOvr>
  <p:transition spd="med">
    <p:fade/>
  </p:transition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2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25" indent="-1143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25" indent="-114300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25" indent="-114300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0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63" indent="-16986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600" algn="l"/>
              </a:tabLst>
              <a:defRPr sz="2400"/>
            </a:lvl1pPr>
            <a:lvl2pPr marL="346075" indent="-17145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200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75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38" indent="-11271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3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6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900" indent="-114300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200" indent="-123825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75" indent="-117475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6" y="1659842"/>
            <a:ext cx="3808797" cy="2931208"/>
          </a:xfrm>
          <a:prstGeom prst="rect">
            <a:avLst/>
          </a:prstGeom>
        </p:spPr>
        <p:txBody>
          <a:bodyPr/>
          <a:lstStyle>
            <a:lvl1pPr marL="114300" indent="-114300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228600" indent="-114300">
              <a:buClr>
                <a:schemeClr val="tx2"/>
              </a:buClr>
              <a:buSzPct val="60000"/>
              <a:defRPr sz="2000">
                <a:solidFill>
                  <a:schemeClr val="bg1"/>
                </a:solidFill>
              </a:defRPr>
            </a:lvl2pPr>
            <a:lvl3pPr marL="342900" indent="-114300">
              <a:buClr>
                <a:schemeClr val="tx2"/>
              </a:buClr>
              <a:buSzPct val="60000"/>
              <a:defRPr sz="1800">
                <a:solidFill>
                  <a:schemeClr val="bg1"/>
                </a:solidFill>
              </a:defRPr>
            </a:lvl3pPr>
            <a:lvl4pPr marL="457200" indent="-12382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4pPr>
            <a:lvl5pPr marL="574675" indent="-11747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5" y="4062350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286316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635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2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994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179921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005073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407027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spc="20" dirty="0">
                <a:solidFill>
                  <a:srgbClr val="00BCEB">
                    <a:lumMod val="75000"/>
                  </a:srgbClr>
                </a:solidFill>
                <a:cs typeface="CiscoSans Thin"/>
              </a:rPr>
              <a:t>© 2017  Cisco and/or its affiliates. All rights reserved.   Cisco Confidential</a:t>
            </a:r>
          </a:p>
        </p:txBody>
      </p:sp>
    </p:spTree>
    <p:extLst/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005073"/>
              </a:solidFill>
            </a:endParaRPr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5073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/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437766" y="1349376"/>
            <a:ext cx="8345488" cy="2660650"/>
          </a:xfrm>
          <a:prstGeom prst="rect">
            <a:avLst/>
          </a:prstGeom>
        </p:spPr>
        <p:txBody>
          <a:bodyPr vert="horz" lIns="91360" tIns="45680" rIns="91360" bIns="4568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9" y="4148249"/>
            <a:ext cx="7180312" cy="326233"/>
          </a:xfrm>
          <a:prstGeom prst="rect">
            <a:avLst/>
          </a:prstGeom>
        </p:spPr>
        <p:txBody>
          <a:bodyPr wrap="square" lIns="91360" tIns="45680" rIns="91360" bIns="45680" anchor="b" anchorCtr="0">
            <a:noAutofit/>
          </a:bodyPr>
          <a:lstStyle>
            <a:lvl1pPr algn="l" defTabSz="603130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rgbClr val="676767"/>
                </a:solidFill>
                <a:latin typeface="+mj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GB" dirty="0" smtClean="0"/>
              <a:t>Source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4" tIns="45682" rIns="91364" bIns="4568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7636925"/>
      </p:ext>
    </p:extLst>
  </p:cSld>
  <p:clrMapOvr>
    <a:masterClrMapping/>
  </p:clrMapOvr>
  <p:transition spd="med">
    <p:fade/>
  </p:transition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-animated gradient">
    <p:bg>
      <p:bgPr>
        <a:gradFill>
          <a:gsLst>
            <a:gs pos="0">
              <a:srgbClr val="049FD9"/>
            </a:gs>
            <a:gs pos="100000">
              <a:srgbClr val="004BAF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5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450" y="323851"/>
            <a:ext cx="941388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469498" y="3793200"/>
            <a:ext cx="8296421" cy="288131"/>
          </a:xfrm>
          <a:prstGeom prst="rect">
            <a:avLst/>
          </a:prstGeom>
        </p:spPr>
        <p:txBody>
          <a:bodyPr lIns="91418" tIns="45709" rIns="91418" bIns="45709" anchor="b" anchorCtr="0">
            <a:noAutofit/>
          </a:bodyPr>
          <a:lstStyle>
            <a:lvl1pPr marL="0" indent="0" algn="l">
              <a:buNone/>
              <a:defRPr sz="1400" b="0" i="0">
                <a:solidFill>
                  <a:srgbClr val="FFFFFE"/>
                </a:solidFill>
                <a:latin typeface="+mn-lt"/>
                <a:cs typeface="CiscoSans"/>
              </a:defRPr>
            </a:lvl1pPr>
            <a:lvl2pPr marL="342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0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/>
          </p:nvPr>
        </p:nvSpPr>
        <p:spPr>
          <a:xfrm>
            <a:off x="469498" y="4033197"/>
            <a:ext cx="8296421" cy="288131"/>
          </a:xfrm>
          <a:prstGeom prst="rect">
            <a:avLst/>
          </a:prstGeom>
        </p:spPr>
        <p:txBody>
          <a:bodyPr lIns="91418" tIns="45709" rIns="91418" bIns="45709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/>
          </p:nvPr>
        </p:nvSpPr>
        <p:spPr>
          <a:xfrm>
            <a:off x="469498" y="4273194"/>
            <a:ext cx="8296421" cy="288131"/>
          </a:xfrm>
          <a:prstGeom prst="rect">
            <a:avLst/>
          </a:prstGeom>
        </p:spPr>
        <p:txBody>
          <a:bodyPr lIns="91418" tIns="45709" rIns="91418" bIns="45709"/>
          <a:lstStyle>
            <a:lvl1pPr marL="0" indent="0" algn="l">
              <a:buFontTx/>
              <a:buNone/>
              <a:defRPr lang="en-US" sz="1400" b="0" i="0" kern="1200" dirty="0" smtClean="0">
                <a:solidFill>
                  <a:srgbClr val="FFFFFE"/>
                </a:solidFill>
                <a:latin typeface="+mn-lt"/>
                <a:ea typeface="+mn-ea"/>
                <a:cs typeface="CiscoSans ExtraLight" pitchFamily="34" charset="0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63294" y="3211463"/>
            <a:ext cx="8302625" cy="299001"/>
          </a:xfrm>
          <a:prstGeom prst="rect">
            <a:avLst/>
          </a:prstGeom>
        </p:spPr>
        <p:txBody>
          <a:bodyPr lIns="91418" tIns="45709" rIns="91418" bIns="45709"/>
          <a:lstStyle>
            <a:lvl1pPr marL="0" indent="0">
              <a:buFont typeface="Arial" panose="020B0604020202020204" pitchFamily="34" charset="0"/>
              <a:buNone/>
              <a:defRPr sz="2200" baseline="0">
                <a:solidFill>
                  <a:srgbClr val="FFFFFE"/>
                </a:solidFill>
                <a:latin typeface="+mj-lt"/>
              </a:defRPr>
            </a:lvl1pPr>
            <a:lvl2pPr marL="304766" indent="0">
              <a:buNone/>
              <a:defRPr/>
            </a:lvl2pPr>
            <a:lvl3pPr marL="427380" indent="0">
              <a:buNone/>
              <a:defRPr/>
            </a:lvl3pPr>
            <a:lvl4pPr marL="516668" indent="0">
              <a:buNone/>
              <a:defRPr/>
            </a:lvl4pPr>
            <a:lvl5pPr marL="601191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425767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200" b="0" i="0" spc="0" baseline="0">
                <a:solidFill>
                  <a:srgbClr val="FFFFFE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/>
  </p:cSld>
  <p:clrMapOvr>
    <a:masterClrMapping/>
  </p:clrMapOvr>
  <p:transition spd="slow">
    <p:wipe/>
  </p:transition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/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23590" y="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68568" tIns="34284" rIns="68568" bIns="3428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Chart_and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8" y="1349456"/>
            <a:ext cx="4007001" cy="3040773"/>
          </a:xfrm>
          <a:prstGeom prst="rect">
            <a:avLst/>
          </a:prstGeom>
        </p:spPr>
        <p:txBody>
          <a:bodyPr lIns="91360" tIns="45680" rIns="91360" bIns="4568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709908" y="1349399"/>
            <a:ext cx="4073346" cy="3039397"/>
          </a:xfrm>
          <a:prstGeom prst="rect">
            <a:avLst/>
          </a:prstGeom>
        </p:spPr>
        <p:txBody>
          <a:bodyPr vert="horz" lIns="91360" tIns="45680" rIns="91360" bIns="45680">
            <a:no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4" tIns="45682" rIns="91364" bIns="4568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1127365"/>
      </p:ext>
    </p:extLst>
  </p:cSld>
  <p:clrMapOvr>
    <a:masterClrMapping/>
  </p:clrMapOvr>
  <p:transition spd="med"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ttom title_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437768" y="1349354"/>
            <a:ext cx="4003995" cy="3040875"/>
          </a:xfrm>
          <a:prstGeom prst="rect">
            <a:avLst/>
          </a:prstGeom>
        </p:spPr>
        <p:txBody>
          <a:bodyPr lIns="91360" tIns="45680" rIns="91360" bIns="45680" anchor="ctr" anchorCtr="0">
            <a:noAutofit/>
          </a:bodyPr>
          <a:lstStyle>
            <a:lvl1pPr marL="0" indent="0">
              <a:buNone/>
              <a:defRPr sz="24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2pPr>
            <a:lvl3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3pPr>
            <a:lvl4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4pPr>
            <a:lvl5pPr>
              <a:defRPr b="0" i="0">
                <a:solidFill>
                  <a:srgbClr val="FFFFFF"/>
                </a:solidFill>
                <a:latin typeface="CiscoSans ExtraLight"/>
                <a:cs typeface="CiscoSans ExtraLight"/>
              </a:defRPr>
            </a:lvl5pPr>
          </a:lstStyle>
          <a:p>
            <a:pPr lvl="0"/>
            <a:r>
              <a:rPr lang="en-GB" dirty="0" smtClean="0"/>
              <a:t>Text Goes Her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08110" y="1349375"/>
            <a:ext cx="4075144" cy="3041208"/>
          </a:xfrm>
          <a:prstGeom prst="rect">
            <a:avLst/>
          </a:prstGeom>
        </p:spPr>
        <p:txBody>
          <a:bodyPr vert="horz" lIns="91360" tIns="45680" rIns="91360" bIns="4568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4" tIns="45682" rIns="91364" bIns="4568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55476426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6.xml"/><Relationship Id="rId20" Type="http://schemas.openxmlformats.org/officeDocument/2006/relationships/image" Target="../media/image2.png"/><Relationship Id="rId10" Type="http://schemas.openxmlformats.org/officeDocument/2006/relationships/tags" Target="../tags/tag7.xml"/><Relationship Id="rId11" Type="http://schemas.openxmlformats.org/officeDocument/2006/relationships/tags" Target="../tags/tag8.xml"/><Relationship Id="rId12" Type="http://schemas.openxmlformats.org/officeDocument/2006/relationships/tags" Target="../tags/tag9.xml"/><Relationship Id="rId13" Type="http://schemas.openxmlformats.org/officeDocument/2006/relationships/tags" Target="../tags/tag10.xml"/><Relationship Id="rId14" Type="http://schemas.openxmlformats.org/officeDocument/2006/relationships/tags" Target="../tags/tag11.xml"/><Relationship Id="rId15" Type="http://schemas.openxmlformats.org/officeDocument/2006/relationships/tags" Target="../tags/tag12.xml"/><Relationship Id="rId16" Type="http://schemas.openxmlformats.org/officeDocument/2006/relationships/tags" Target="../tags/tag13.xml"/><Relationship Id="rId17" Type="http://schemas.openxmlformats.org/officeDocument/2006/relationships/tags" Target="../tags/tag14.xml"/><Relationship Id="rId18" Type="http://schemas.openxmlformats.org/officeDocument/2006/relationships/tags" Target="../tags/tag15.xml"/><Relationship Id="rId1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theme" Target="../theme/theme1.xml"/><Relationship Id="rId4" Type="http://schemas.openxmlformats.org/officeDocument/2006/relationships/tags" Target="../tags/tag1.xml"/><Relationship Id="rId5" Type="http://schemas.openxmlformats.org/officeDocument/2006/relationships/tags" Target="../tags/tag2.xml"/><Relationship Id="rId6" Type="http://schemas.openxmlformats.org/officeDocument/2006/relationships/tags" Target="../tags/tag3.xml"/><Relationship Id="rId7" Type="http://schemas.openxmlformats.org/officeDocument/2006/relationships/tags" Target="../tags/tag4.xml"/><Relationship Id="rId8" Type="http://schemas.openxmlformats.org/officeDocument/2006/relationships/tags" Target="../tags/tag5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tags" Target="../tags/tag51.xml"/><Relationship Id="rId20" Type="http://schemas.openxmlformats.org/officeDocument/2006/relationships/image" Target="../media/image2.png"/><Relationship Id="rId10" Type="http://schemas.openxmlformats.org/officeDocument/2006/relationships/tags" Target="../tags/tag52.xml"/><Relationship Id="rId11" Type="http://schemas.openxmlformats.org/officeDocument/2006/relationships/tags" Target="../tags/tag53.xml"/><Relationship Id="rId12" Type="http://schemas.openxmlformats.org/officeDocument/2006/relationships/tags" Target="../tags/tag54.xml"/><Relationship Id="rId13" Type="http://schemas.openxmlformats.org/officeDocument/2006/relationships/tags" Target="../tags/tag55.xml"/><Relationship Id="rId14" Type="http://schemas.openxmlformats.org/officeDocument/2006/relationships/tags" Target="../tags/tag56.xml"/><Relationship Id="rId15" Type="http://schemas.openxmlformats.org/officeDocument/2006/relationships/tags" Target="../tags/tag57.xml"/><Relationship Id="rId16" Type="http://schemas.openxmlformats.org/officeDocument/2006/relationships/tags" Target="../tags/tag58.xml"/><Relationship Id="rId17" Type="http://schemas.openxmlformats.org/officeDocument/2006/relationships/tags" Target="../tags/tag59.xml"/><Relationship Id="rId18" Type="http://schemas.openxmlformats.org/officeDocument/2006/relationships/tags" Target="../tags/tag60.xml"/><Relationship Id="rId19" Type="http://schemas.openxmlformats.org/officeDocument/2006/relationships/image" Target="../media/image1.emf"/><Relationship Id="rId1" Type="http://schemas.openxmlformats.org/officeDocument/2006/relationships/slideLayout" Target="../slideLayouts/slideLayout231.xml"/><Relationship Id="rId2" Type="http://schemas.openxmlformats.org/officeDocument/2006/relationships/slideLayout" Target="../slideLayouts/slideLayout232.xml"/><Relationship Id="rId3" Type="http://schemas.openxmlformats.org/officeDocument/2006/relationships/theme" Target="../theme/theme10.xml"/><Relationship Id="rId4" Type="http://schemas.openxmlformats.org/officeDocument/2006/relationships/tags" Target="../tags/tag46.xml"/><Relationship Id="rId5" Type="http://schemas.openxmlformats.org/officeDocument/2006/relationships/tags" Target="../tags/tag47.xml"/><Relationship Id="rId6" Type="http://schemas.openxmlformats.org/officeDocument/2006/relationships/tags" Target="../tags/tag48.xml"/><Relationship Id="rId7" Type="http://schemas.openxmlformats.org/officeDocument/2006/relationships/tags" Target="../tags/tag49.xml"/><Relationship Id="rId8" Type="http://schemas.openxmlformats.org/officeDocument/2006/relationships/tags" Target="../tags/tag50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tags" Target="../tags/tag65.xml"/><Relationship Id="rId20" Type="http://schemas.openxmlformats.org/officeDocument/2006/relationships/image" Target="../media/image1.emf"/><Relationship Id="rId21" Type="http://schemas.openxmlformats.org/officeDocument/2006/relationships/image" Target="../media/image2.png"/><Relationship Id="rId10" Type="http://schemas.openxmlformats.org/officeDocument/2006/relationships/tags" Target="../tags/tag66.xml"/><Relationship Id="rId11" Type="http://schemas.openxmlformats.org/officeDocument/2006/relationships/tags" Target="../tags/tag67.xml"/><Relationship Id="rId12" Type="http://schemas.openxmlformats.org/officeDocument/2006/relationships/tags" Target="../tags/tag68.xml"/><Relationship Id="rId13" Type="http://schemas.openxmlformats.org/officeDocument/2006/relationships/tags" Target="../tags/tag69.xml"/><Relationship Id="rId14" Type="http://schemas.openxmlformats.org/officeDocument/2006/relationships/tags" Target="../tags/tag70.xml"/><Relationship Id="rId15" Type="http://schemas.openxmlformats.org/officeDocument/2006/relationships/tags" Target="../tags/tag71.xml"/><Relationship Id="rId16" Type="http://schemas.openxmlformats.org/officeDocument/2006/relationships/tags" Target="../tags/tag72.xml"/><Relationship Id="rId17" Type="http://schemas.openxmlformats.org/officeDocument/2006/relationships/tags" Target="../tags/tag73.xml"/><Relationship Id="rId18" Type="http://schemas.openxmlformats.org/officeDocument/2006/relationships/tags" Target="../tags/tag74.xml"/><Relationship Id="rId19" Type="http://schemas.openxmlformats.org/officeDocument/2006/relationships/tags" Target="../tags/tag75.xml"/><Relationship Id="rId1" Type="http://schemas.openxmlformats.org/officeDocument/2006/relationships/slideLayout" Target="../slideLayouts/slideLayout233.xml"/><Relationship Id="rId2" Type="http://schemas.openxmlformats.org/officeDocument/2006/relationships/slideLayout" Target="../slideLayouts/slideLayout234.xml"/><Relationship Id="rId3" Type="http://schemas.openxmlformats.org/officeDocument/2006/relationships/slideLayout" Target="../slideLayouts/slideLayout235.xml"/><Relationship Id="rId4" Type="http://schemas.openxmlformats.org/officeDocument/2006/relationships/theme" Target="../theme/theme11.xml"/><Relationship Id="rId5" Type="http://schemas.openxmlformats.org/officeDocument/2006/relationships/tags" Target="../tags/tag61.xml"/><Relationship Id="rId6" Type="http://schemas.openxmlformats.org/officeDocument/2006/relationships/tags" Target="../tags/tag62.xml"/><Relationship Id="rId7" Type="http://schemas.openxmlformats.org/officeDocument/2006/relationships/tags" Target="../tags/tag63.xml"/><Relationship Id="rId8" Type="http://schemas.openxmlformats.org/officeDocument/2006/relationships/tags" Target="../tags/tag64.xml"/></Relationships>
</file>

<file path=ppt/slideMasters/_rels/slideMaster12.xml.rels><?xml version="1.0" encoding="UTF-8" standalone="yes"?>
<Relationships xmlns="http://schemas.openxmlformats.org/package/2006/relationships"><Relationship Id="rId20" Type="http://schemas.openxmlformats.org/officeDocument/2006/relationships/tags" Target="../tags/tag76.xml"/><Relationship Id="rId21" Type="http://schemas.openxmlformats.org/officeDocument/2006/relationships/tags" Target="../tags/tag77.xml"/><Relationship Id="rId22" Type="http://schemas.openxmlformats.org/officeDocument/2006/relationships/tags" Target="../tags/tag78.xml"/><Relationship Id="rId23" Type="http://schemas.openxmlformats.org/officeDocument/2006/relationships/tags" Target="../tags/tag79.xml"/><Relationship Id="rId24" Type="http://schemas.openxmlformats.org/officeDocument/2006/relationships/tags" Target="../tags/tag80.xml"/><Relationship Id="rId25" Type="http://schemas.openxmlformats.org/officeDocument/2006/relationships/tags" Target="../tags/tag81.xml"/><Relationship Id="rId26" Type="http://schemas.openxmlformats.org/officeDocument/2006/relationships/tags" Target="../tags/tag82.xml"/><Relationship Id="rId27" Type="http://schemas.openxmlformats.org/officeDocument/2006/relationships/tags" Target="../tags/tag83.xml"/><Relationship Id="rId28" Type="http://schemas.openxmlformats.org/officeDocument/2006/relationships/tags" Target="../tags/tag84.xml"/><Relationship Id="rId29" Type="http://schemas.openxmlformats.org/officeDocument/2006/relationships/tags" Target="../tags/tag85.xml"/><Relationship Id="rId1" Type="http://schemas.openxmlformats.org/officeDocument/2006/relationships/slideLayout" Target="../slideLayouts/slideLayout236.xml"/><Relationship Id="rId2" Type="http://schemas.openxmlformats.org/officeDocument/2006/relationships/slideLayout" Target="../slideLayouts/slideLayout237.xml"/><Relationship Id="rId3" Type="http://schemas.openxmlformats.org/officeDocument/2006/relationships/slideLayout" Target="../slideLayouts/slideLayout238.xml"/><Relationship Id="rId4" Type="http://schemas.openxmlformats.org/officeDocument/2006/relationships/slideLayout" Target="../slideLayouts/slideLayout239.xml"/><Relationship Id="rId5" Type="http://schemas.openxmlformats.org/officeDocument/2006/relationships/slideLayout" Target="../slideLayouts/slideLayout240.xml"/><Relationship Id="rId30" Type="http://schemas.openxmlformats.org/officeDocument/2006/relationships/tags" Target="../tags/tag86.xml"/><Relationship Id="rId31" Type="http://schemas.openxmlformats.org/officeDocument/2006/relationships/tags" Target="../tags/tag87.xml"/><Relationship Id="rId32" Type="http://schemas.openxmlformats.org/officeDocument/2006/relationships/tags" Target="../tags/tag88.xml"/><Relationship Id="rId9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1.xml"/><Relationship Id="rId7" Type="http://schemas.openxmlformats.org/officeDocument/2006/relationships/slideLayout" Target="../slideLayouts/slideLayout242.xml"/><Relationship Id="rId8" Type="http://schemas.openxmlformats.org/officeDocument/2006/relationships/slideLayout" Target="../slideLayouts/slideLayout243.xml"/><Relationship Id="rId33" Type="http://schemas.openxmlformats.org/officeDocument/2006/relationships/tags" Target="../tags/tag89.xml"/><Relationship Id="rId34" Type="http://schemas.openxmlformats.org/officeDocument/2006/relationships/tags" Target="../tags/tag90.xml"/><Relationship Id="rId35" Type="http://schemas.openxmlformats.org/officeDocument/2006/relationships/image" Target="../media/image1.emf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245.xml"/><Relationship Id="rId11" Type="http://schemas.openxmlformats.org/officeDocument/2006/relationships/slideLayout" Target="../slideLayouts/slideLayout246.xml"/><Relationship Id="rId12" Type="http://schemas.openxmlformats.org/officeDocument/2006/relationships/slideLayout" Target="../slideLayouts/slideLayout247.xml"/><Relationship Id="rId13" Type="http://schemas.openxmlformats.org/officeDocument/2006/relationships/slideLayout" Target="../slideLayouts/slideLayout248.xml"/><Relationship Id="rId14" Type="http://schemas.openxmlformats.org/officeDocument/2006/relationships/slideLayout" Target="../slideLayouts/slideLayout249.xml"/><Relationship Id="rId15" Type="http://schemas.openxmlformats.org/officeDocument/2006/relationships/slideLayout" Target="../slideLayouts/slideLayout250.xml"/><Relationship Id="rId16" Type="http://schemas.openxmlformats.org/officeDocument/2006/relationships/slideLayout" Target="../slideLayouts/slideLayout251.xml"/><Relationship Id="rId17" Type="http://schemas.openxmlformats.org/officeDocument/2006/relationships/slideLayout" Target="../slideLayouts/slideLayout252.xml"/><Relationship Id="rId18" Type="http://schemas.openxmlformats.org/officeDocument/2006/relationships/slideLayout" Target="../slideLayouts/slideLayout253.xml"/><Relationship Id="rId19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20" Type="http://schemas.openxmlformats.org/officeDocument/2006/relationships/tags" Target="../tags/tag91.xml"/><Relationship Id="rId21" Type="http://schemas.openxmlformats.org/officeDocument/2006/relationships/tags" Target="../tags/tag92.xml"/><Relationship Id="rId22" Type="http://schemas.openxmlformats.org/officeDocument/2006/relationships/tags" Target="../tags/tag93.xml"/><Relationship Id="rId23" Type="http://schemas.openxmlformats.org/officeDocument/2006/relationships/tags" Target="../tags/tag94.xml"/><Relationship Id="rId24" Type="http://schemas.openxmlformats.org/officeDocument/2006/relationships/tags" Target="../tags/tag95.xml"/><Relationship Id="rId25" Type="http://schemas.openxmlformats.org/officeDocument/2006/relationships/tags" Target="../tags/tag96.xml"/><Relationship Id="rId26" Type="http://schemas.openxmlformats.org/officeDocument/2006/relationships/tags" Target="../tags/tag97.xml"/><Relationship Id="rId27" Type="http://schemas.openxmlformats.org/officeDocument/2006/relationships/tags" Target="../tags/tag98.xml"/><Relationship Id="rId28" Type="http://schemas.openxmlformats.org/officeDocument/2006/relationships/tags" Target="../tags/tag99.xml"/><Relationship Id="rId29" Type="http://schemas.openxmlformats.org/officeDocument/2006/relationships/tags" Target="../tags/tag100.xml"/><Relationship Id="rId1" Type="http://schemas.openxmlformats.org/officeDocument/2006/relationships/slideLayout" Target="../slideLayouts/slideLayout254.xml"/><Relationship Id="rId2" Type="http://schemas.openxmlformats.org/officeDocument/2006/relationships/slideLayout" Target="../slideLayouts/slideLayout255.xml"/><Relationship Id="rId3" Type="http://schemas.openxmlformats.org/officeDocument/2006/relationships/slideLayout" Target="../slideLayouts/slideLayout256.xml"/><Relationship Id="rId4" Type="http://schemas.openxmlformats.org/officeDocument/2006/relationships/slideLayout" Target="../slideLayouts/slideLayout257.xml"/><Relationship Id="rId5" Type="http://schemas.openxmlformats.org/officeDocument/2006/relationships/slideLayout" Target="../slideLayouts/slideLayout258.xml"/><Relationship Id="rId30" Type="http://schemas.openxmlformats.org/officeDocument/2006/relationships/tags" Target="../tags/tag101.xml"/><Relationship Id="rId31" Type="http://schemas.openxmlformats.org/officeDocument/2006/relationships/tags" Target="../tags/tag102.xml"/><Relationship Id="rId32" Type="http://schemas.openxmlformats.org/officeDocument/2006/relationships/tags" Target="../tags/tag103.xml"/><Relationship Id="rId9" Type="http://schemas.openxmlformats.org/officeDocument/2006/relationships/slideLayout" Target="../slideLayouts/slideLayout262.xml"/><Relationship Id="rId6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60.xml"/><Relationship Id="rId8" Type="http://schemas.openxmlformats.org/officeDocument/2006/relationships/slideLayout" Target="../slideLayouts/slideLayout261.xml"/><Relationship Id="rId33" Type="http://schemas.openxmlformats.org/officeDocument/2006/relationships/tags" Target="../tags/tag104.xml"/><Relationship Id="rId34" Type="http://schemas.openxmlformats.org/officeDocument/2006/relationships/tags" Target="../tags/tag105.xml"/><Relationship Id="rId35" Type="http://schemas.openxmlformats.org/officeDocument/2006/relationships/image" Target="../media/image1.emf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263.xml"/><Relationship Id="rId11" Type="http://schemas.openxmlformats.org/officeDocument/2006/relationships/slideLayout" Target="../slideLayouts/slideLayout264.xml"/><Relationship Id="rId12" Type="http://schemas.openxmlformats.org/officeDocument/2006/relationships/slideLayout" Target="../slideLayouts/slideLayout265.xml"/><Relationship Id="rId13" Type="http://schemas.openxmlformats.org/officeDocument/2006/relationships/slideLayout" Target="../slideLayouts/slideLayout266.xml"/><Relationship Id="rId14" Type="http://schemas.openxmlformats.org/officeDocument/2006/relationships/slideLayout" Target="../slideLayouts/slideLayout267.xml"/><Relationship Id="rId15" Type="http://schemas.openxmlformats.org/officeDocument/2006/relationships/slideLayout" Target="../slideLayouts/slideLayout268.xml"/><Relationship Id="rId16" Type="http://schemas.openxmlformats.org/officeDocument/2006/relationships/slideLayout" Target="../slideLayouts/slideLayout269.xml"/><Relationship Id="rId17" Type="http://schemas.openxmlformats.org/officeDocument/2006/relationships/slideLayout" Target="../slideLayouts/slideLayout270.xml"/><Relationship Id="rId18" Type="http://schemas.openxmlformats.org/officeDocument/2006/relationships/slideLayout" Target="../slideLayouts/slideLayout271.xml"/><Relationship Id="rId19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291.xml"/><Relationship Id="rId21" Type="http://schemas.openxmlformats.org/officeDocument/2006/relationships/slideLayout" Target="../slideLayouts/slideLayout292.xml"/><Relationship Id="rId22" Type="http://schemas.openxmlformats.org/officeDocument/2006/relationships/slideLayout" Target="../slideLayouts/slideLayout293.xml"/><Relationship Id="rId23" Type="http://schemas.openxmlformats.org/officeDocument/2006/relationships/slideLayout" Target="../slideLayouts/slideLayout294.xml"/><Relationship Id="rId24" Type="http://schemas.openxmlformats.org/officeDocument/2006/relationships/slideLayout" Target="../slideLayouts/slideLayout295.xml"/><Relationship Id="rId25" Type="http://schemas.openxmlformats.org/officeDocument/2006/relationships/slideLayout" Target="../slideLayouts/slideLayout296.xml"/><Relationship Id="rId26" Type="http://schemas.openxmlformats.org/officeDocument/2006/relationships/slideLayout" Target="../slideLayouts/slideLayout297.xml"/><Relationship Id="rId27" Type="http://schemas.openxmlformats.org/officeDocument/2006/relationships/slideLayout" Target="../slideLayouts/slideLayout298.xml"/><Relationship Id="rId28" Type="http://schemas.openxmlformats.org/officeDocument/2006/relationships/slideLayout" Target="../slideLayouts/slideLayout299.xml"/><Relationship Id="rId29" Type="http://schemas.openxmlformats.org/officeDocument/2006/relationships/slideLayout" Target="../slideLayouts/slideLayout300.xml"/><Relationship Id="rId1" Type="http://schemas.openxmlformats.org/officeDocument/2006/relationships/slideLayout" Target="../slideLayouts/slideLayout272.xml"/><Relationship Id="rId2" Type="http://schemas.openxmlformats.org/officeDocument/2006/relationships/slideLayout" Target="../slideLayouts/slideLayout273.xml"/><Relationship Id="rId3" Type="http://schemas.openxmlformats.org/officeDocument/2006/relationships/slideLayout" Target="../slideLayouts/slideLayout274.xml"/><Relationship Id="rId4" Type="http://schemas.openxmlformats.org/officeDocument/2006/relationships/slideLayout" Target="../slideLayouts/slideLayout275.xml"/><Relationship Id="rId5" Type="http://schemas.openxmlformats.org/officeDocument/2006/relationships/slideLayout" Target="../slideLayouts/slideLayout276.xml"/><Relationship Id="rId30" Type="http://schemas.openxmlformats.org/officeDocument/2006/relationships/slideLayout" Target="../slideLayouts/slideLayout301.xml"/><Relationship Id="rId31" Type="http://schemas.openxmlformats.org/officeDocument/2006/relationships/slideLayout" Target="../slideLayouts/slideLayout302.xml"/><Relationship Id="rId32" Type="http://schemas.openxmlformats.org/officeDocument/2006/relationships/slideLayout" Target="../slideLayouts/slideLayout303.xml"/><Relationship Id="rId9" Type="http://schemas.openxmlformats.org/officeDocument/2006/relationships/slideLayout" Target="../slideLayouts/slideLayout280.xml"/><Relationship Id="rId6" Type="http://schemas.openxmlformats.org/officeDocument/2006/relationships/slideLayout" Target="../slideLayouts/slideLayout277.xml"/><Relationship Id="rId7" Type="http://schemas.openxmlformats.org/officeDocument/2006/relationships/slideLayout" Target="../slideLayouts/slideLayout278.xml"/><Relationship Id="rId8" Type="http://schemas.openxmlformats.org/officeDocument/2006/relationships/slideLayout" Target="../slideLayouts/slideLayout279.xml"/><Relationship Id="rId33" Type="http://schemas.openxmlformats.org/officeDocument/2006/relationships/slideLayout" Target="../slideLayouts/slideLayout304.xml"/><Relationship Id="rId34" Type="http://schemas.openxmlformats.org/officeDocument/2006/relationships/slideLayout" Target="../slideLayouts/slideLayout305.xml"/><Relationship Id="rId35" Type="http://schemas.openxmlformats.org/officeDocument/2006/relationships/slideLayout" Target="../slideLayouts/slideLayout306.xml"/><Relationship Id="rId36" Type="http://schemas.openxmlformats.org/officeDocument/2006/relationships/theme" Target="../theme/theme14.xml"/><Relationship Id="rId10" Type="http://schemas.openxmlformats.org/officeDocument/2006/relationships/slideLayout" Target="../slideLayouts/slideLayout281.xml"/><Relationship Id="rId11" Type="http://schemas.openxmlformats.org/officeDocument/2006/relationships/slideLayout" Target="../slideLayouts/slideLayout282.xml"/><Relationship Id="rId12" Type="http://schemas.openxmlformats.org/officeDocument/2006/relationships/slideLayout" Target="../slideLayouts/slideLayout283.xml"/><Relationship Id="rId13" Type="http://schemas.openxmlformats.org/officeDocument/2006/relationships/slideLayout" Target="../slideLayouts/slideLayout284.xml"/><Relationship Id="rId14" Type="http://schemas.openxmlformats.org/officeDocument/2006/relationships/slideLayout" Target="../slideLayouts/slideLayout285.xml"/><Relationship Id="rId15" Type="http://schemas.openxmlformats.org/officeDocument/2006/relationships/slideLayout" Target="../slideLayouts/slideLayout286.xml"/><Relationship Id="rId16" Type="http://schemas.openxmlformats.org/officeDocument/2006/relationships/slideLayout" Target="../slideLayouts/slideLayout287.xml"/><Relationship Id="rId17" Type="http://schemas.openxmlformats.org/officeDocument/2006/relationships/slideLayout" Target="../slideLayouts/slideLayout288.xml"/><Relationship Id="rId18" Type="http://schemas.openxmlformats.org/officeDocument/2006/relationships/slideLayout" Target="../slideLayouts/slideLayout289.xml"/><Relationship Id="rId19" Type="http://schemas.openxmlformats.org/officeDocument/2006/relationships/slideLayout" Target="../slideLayouts/slideLayout290.xml"/><Relationship Id="rId37" Type="http://schemas.openxmlformats.org/officeDocument/2006/relationships/image" Target="../media/image15.png"/></Relationships>
</file>

<file path=ppt/slideMasters/_rels/slideMaster15.xml.rels><?xml version="1.0" encoding="UTF-8" standalone="yes"?>
<Relationships xmlns="http://schemas.openxmlformats.org/package/2006/relationships"><Relationship Id="rId20" Type="http://schemas.openxmlformats.org/officeDocument/2006/relationships/tags" Target="../tags/tag106.xml"/><Relationship Id="rId21" Type="http://schemas.openxmlformats.org/officeDocument/2006/relationships/tags" Target="../tags/tag107.xml"/><Relationship Id="rId22" Type="http://schemas.openxmlformats.org/officeDocument/2006/relationships/tags" Target="../tags/tag108.xml"/><Relationship Id="rId23" Type="http://schemas.openxmlformats.org/officeDocument/2006/relationships/tags" Target="../tags/tag109.xml"/><Relationship Id="rId24" Type="http://schemas.openxmlformats.org/officeDocument/2006/relationships/tags" Target="../tags/tag110.xml"/><Relationship Id="rId25" Type="http://schemas.openxmlformats.org/officeDocument/2006/relationships/tags" Target="../tags/tag111.xml"/><Relationship Id="rId26" Type="http://schemas.openxmlformats.org/officeDocument/2006/relationships/tags" Target="../tags/tag112.xml"/><Relationship Id="rId27" Type="http://schemas.openxmlformats.org/officeDocument/2006/relationships/tags" Target="../tags/tag113.xml"/><Relationship Id="rId28" Type="http://schemas.openxmlformats.org/officeDocument/2006/relationships/tags" Target="../tags/tag114.xml"/><Relationship Id="rId29" Type="http://schemas.openxmlformats.org/officeDocument/2006/relationships/tags" Target="../tags/tag115.xml"/><Relationship Id="rId1" Type="http://schemas.openxmlformats.org/officeDocument/2006/relationships/slideLayout" Target="../slideLayouts/slideLayout307.xml"/><Relationship Id="rId2" Type="http://schemas.openxmlformats.org/officeDocument/2006/relationships/slideLayout" Target="../slideLayouts/slideLayout308.xml"/><Relationship Id="rId3" Type="http://schemas.openxmlformats.org/officeDocument/2006/relationships/slideLayout" Target="../slideLayouts/slideLayout309.xml"/><Relationship Id="rId4" Type="http://schemas.openxmlformats.org/officeDocument/2006/relationships/slideLayout" Target="../slideLayouts/slideLayout310.xml"/><Relationship Id="rId5" Type="http://schemas.openxmlformats.org/officeDocument/2006/relationships/slideLayout" Target="../slideLayouts/slideLayout311.xml"/><Relationship Id="rId30" Type="http://schemas.openxmlformats.org/officeDocument/2006/relationships/tags" Target="../tags/tag116.xml"/><Relationship Id="rId31" Type="http://schemas.openxmlformats.org/officeDocument/2006/relationships/tags" Target="../tags/tag117.xml"/><Relationship Id="rId32" Type="http://schemas.openxmlformats.org/officeDocument/2006/relationships/tags" Target="../tags/tag118.xml"/><Relationship Id="rId9" Type="http://schemas.openxmlformats.org/officeDocument/2006/relationships/slideLayout" Target="../slideLayouts/slideLayout315.xml"/><Relationship Id="rId6" Type="http://schemas.openxmlformats.org/officeDocument/2006/relationships/slideLayout" Target="../slideLayouts/slideLayout312.xml"/><Relationship Id="rId7" Type="http://schemas.openxmlformats.org/officeDocument/2006/relationships/slideLayout" Target="../slideLayouts/slideLayout313.xml"/><Relationship Id="rId8" Type="http://schemas.openxmlformats.org/officeDocument/2006/relationships/slideLayout" Target="../slideLayouts/slideLayout314.xml"/><Relationship Id="rId33" Type="http://schemas.openxmlformats.org/officeDocument/2006/relationships/tags" Target="../tags/tag119.xml"/><Relationship Id="rId34" Type="http://schemas.openxmlformats.org/officeDocument/2006/relationships/tags" Target="../tags/tag120.xml"/><Relationship Id="rId35" Type="http://schemas.openxmlformats.org/officeDocument/2006/relationships/image" Target="../media/image1.emf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316.xml"/><Relationship Id="rId11" Type="http://schemas.openxmlformats.org/officeDocument/2006/relationships/slideLayout" Target="../slideLayouts/slideLayout317.xml"/><Relationship Id="rId12" Type="http://schemas.openxmlformats.org/officeDocument/2006/relationships/slideLayout" Target="../slideLayouts/slideLayout318.xml"/><Relationship Id="rId13" Type="http://schemas.openxmlformats.org/officeDocument/2006/relationships/slideLayout" Target="../slideLayouts/slideLayout319.xml"/><Relationship Id="rId14" Type="http://schemas.openxmlformats.org/officeDocument/2006/relationships/slideLayout" Target="../slideLayouts/slideLayout320.xml"/><Relationship Id="rId15" Type="http://schemas.openxmlformats.org/officeDocument/2006/relationships/slideLayout" Target="../slideLayouts/slideLayout321.xml"/><Relationship Id="rId16" Type="http://schemas.openxmlformats.org/officeDocument/2006/relationships/slideLayout" Target="../slideLayouts/slideLayout322.xml"/><Relationship Id="rId17" Type="http://schemas.openxmlformats.org/officeDocument/2006/relationships/slideLayout" Target="../slideLayouts/slideLayout323.xml"/><Relationship Id="rId18" Type="http://schemas.openxmlformats.org/officeDocument/2006/relationships/slideLayout" Target="../slideLayouts/slideLayout324.xml"/><Relationship Id="rId19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344.xml"/><Relationship Id="rId21" Type="http://schemas.openxmlformats.org/officeDocument/2006/relationships/slideLayout" Target="../slideLayouts/slideLayout345.xml"/><Relationship Id="rId22" Type="http://schemas.openxmlformats.org/officeDocument/2006/relationships/slideLayout" Target="../slideLayouts/slideLayout346.xml"/><Relationship Id="rId23" Type="http://schemas.openxmlformats.org/officeDocument/2006/relationships/slideLayout" Target="../slideLayouts/slideLayout347.xml"/><Relationship Id="rId24" Type="http://schemas.openxmlformats.org/officeDocument/2006/relationships/slideLayout" Target="../slideLayouts/slideLayout348.xml"/><Relationship Id="rId25" Type="http://schemas.openxmlformats.org/officeDocument/2006/relationships/slideLayout" Target="../slideLayouts/slideLayout349.xml"/><Relationship Id="rId26" Type="http://schemas.openxmlformats.org/officeDocument/2006/relationships/slideLayout" Target="../slideLayouts/slideLayout350.xml"/><Relationship Id="rId27" Type="http://schemas.openxmlformats.org/officeDocument/2006/relationships/slideLayout" Target="../slideLayouts/slideLayout351.xml"/><Relationship Id="rId28" Type="http://schemas.openxmlformats.org/officeDocument/2006/relationships/slideLayout" Target="../slideLayouts/slideLayout352.xml"/><Relationship Id="rId29" Type="http://schemas.openxmlformats.org/officeDocument/2006/relationships/slideLayout" Target="../slideLayouts/slideLayout353.xml"/><Relationship Id="rId1" Type="http://schemas.openxmlformats.org/officeDocument/2006/relationships/slideLayout" Target="../slideLayouts/slideLayout325.xml"/><Relationship Id="rId2" Type="http://schemas.openxmlformats.org/officeDocument/2006/relationships/slideLayout" Target="../slideLayouts/slideLayout326.xml"/><Relationship Id="rId3" Type="http://schemas.openxmlformats.org/officeDocument/2006/relationships/slideLayout" Target="../slideLayouts/slideLayout327.xml"/><Relationship Id="rId4" Type="http://schemas.openxmlformats.org/officeDocument/2006/relationships/slideLayout" Target="../slideLayouts/slideLayout328.xml"/><Relationship Id="rId5" Type="http://schemas.openxmlformats.org/officeDocument/2006/relationships/slideLayout" Target="../slideLayouts/slideLayout329.xml"/><Relationship Id="rId30" Type="http://schemas.openxmlformats.org/officeDocument/2006/relationships/slideLayout" Target="../slideLayouts/slideLayout354.xml"/><Relationship Id="rId31" Type="http://schemas.openxmlformats.org/officeDocument/2006/relationships/slideLayout" Target="../slideLayouts/slideLayout355.xml"/><Relationship Id="rId32" Type="http://schemas.openxmlformats.org/officeDocument/2006/relationships/slideLayout" Target="../slideLayouts/slideLayout356.xml"/><Relationship Id="rId9" Type="http://schemas.openxmlformats.org/officeDocument/2006/relationships/slideLayout" Target="../slideLayouts/slideLayout333.xml"/><Relationship Id="rId6" Type="http://schemas.openxmlformats.org/officeDocument/2006/relationships/slideLayout" Target="../slideLayouts/slideLayout330.xml"/><Relationship Id="rId7" Type="http://schemas.openxmlformats.org/officeDocument/2006/relationships/slideLayout" Target="../slideLayouts/slideLayout331.xml"/><Relationship Id="rId8" Type="http://schemas.openxmlformats.org/officeDocument/2006/relationships/slideLayout" Target="../slideLayouts/slideLayout332.xml"/><Relationship Id="rId33" Type="http://schemas.openxmlformats.org/officeDocument/2006/relationships/slideLayout" Target="../slideLayouts/slideLayout357.xml"/><Relationship Id="rId34" Type="http://schemas.openxmlformats.org/officeDocument/2006/relationships/slideLayout" Target="../slideLayouts/slideLayout358.xml"/><Relationship Id="rId35" Type="http://schemas.openxmlformats.org/officeDocument/2006/relationships/slideLayout" Target="../slideLayouts/slideLayout359.xml"/><Relationship Id="rId36" Type="http://schemas.openxmlformats.org/officeDocument/2006/relationships/theme" Target="../theme/theme16.xml"/><Relationship Id="rId10" Type="http://schemas.openxmlformats.org/officeDocument/2006/relationships/slideLayout" Target="../slideLayouts/slideLayout334.xml"/><Relationship Id="rId11" Type="http://schemas.openxmlformats.org/officeDocument/2006/relationships/slideLayout" Target="../slideLayouts/slideLayout335.xml"/><Relationship Id="rId12" Type="http://schemas.openxmlformats.org/officeDocument/2006/relationships/slideLayout" Target="../slideLayouts/slideLayout336.xml"/><Relationship Id="rId13" Type="http://schemas.openxmlformats.org/officeDocument/2006/relationships/slideLayout" Target="../slideLayouts/slideLayout337.xml"/><Relationship Id="rId14" Type="http://schemas.openxmlformats.org/officeDocument/2006/relationships/slideLayout" Target="../slideLayouts/slideLayout338.xml"/><Relationship Id="rId15" Type="http://schemas.openxmlformats.org/officeDocument/2006/relationships/slideLayout" Target="../slideLayouts/slideLayout339.xml"/><Relationship Id="rId16" Type="http://schemas.openxmlformats.org/officeDocument/2006/relationships/slideLayout" Target="../slideLayouts/slideLayout340.xml"/><Relationship Id="rId17" Type="http://schemas.openxmlformats.org/officeDocument/2006/relationships/slideLayout" Target="../slideLayouts/slideLayout341.xml"/><Relationship Id="rId18" Type="http://schemas.openxmlformats.org/officeDocument/2006/relationships/slideLayout" Target="../slideLayouts/slideLayout342.xml"/><Relationship Id="rId19" Type="http://schemas.openxmlformats.org/officeDocument/2006/relationships/slideLayout" Target="../slideLayouts/slideLayout343.xml"/><Relationship Id="rId37" Type="http://schemas.openxmlformats.org/officeDocument/2006/relationships/image" Target="../media/image15.png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2.xml"/><Relationship Id="rId4" Type="http://schemas.openxmlformats.org/officeDocument/2006/relationships/slideLayout" Target="../slideLayouts/slideLayout363.xml"/><Relationship Id="rId5" Type="http://schemas.openxmlformats.org/officeDocument/2006/relationships/slideLayout" Target="../slideLayouts/slideLayout364.xml"/><Relationship Id="rId6" Type="http://schemas.openxmlformats.org/officeDocument/2006/relationships/slideLayout" Target="../slideLayouts/slideLayout365.xml"/><Relationship Id="rId7" Type="http://schemas.openxmlformats.org/officeDocument/2006/relationships/slideLayout" Target="../slideLayouts/slideLayout366.xml"/><Relationship Id="rId8" Type="http://schemas.openxmlformats.org/officeDocument/2006/relationships/theme" Target="../theme/theme17.xml"/><Relationship Id="rId9" Type="http://schemas.openxmlformats.org/officeDocument/2006/relationships/image" Target="../media/image22.emf"/><Relationship Id="rId10" Type="http://schemas.openxmlformats.org/officeDocument/2006/relationships/image" Target="../media/image2.png"/><Relationship Id="rId1" Type="http://schemas.openxmlformats.org/officeDocument/2006/relationships/slideLayout" Target="../slideLayouts/slideLayout360.xml"/><Relationship Id="rId2" Type="http://schemas.openxmlformats.org/officeDocument/2006/relationships/slideLayout" Target="../slideLayouts/slideLayout361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9.xml"/><Relationship Id="rId4" Type="http://schemas.openxmlformats.org/officeDocument/2006/relationships/slideLayout" Target="../slideLayouts/slideLayout370.xml"/><Relationship Id="rId5" Type="http://schemas.openxmlformats.org/officeDocument/2006/relationships/slideLayout" Target="../slideLayouts/slideLayout371.xml"/><Relationship Id="rId6" Type="http://schemas.openxmlformats.org/officeDocument/2006/relationships/slideLayout" Target="../slideLayouts/slideLayout372.xml"/><Relationship Id="rId7" Type="http://schemas.openxmlformats.org/officeDocument/2006/relationships/slideLayout" Target="../slideLayouts/slideLayout373.xml"/><Relationship Id="rId8" Type="http://schemas.openxmlformats.org/officeDocument/2006/relationships/theme" Target="../theme/theme18.xml"/><Relationship Id="rId9" Type="http://schemas.openxmlformats.org/officeDocument/2006/relationships/image" Target="../media/image22.emf"/><Relationship Id="rId10" Type="http://schemas.openxmlformats.org/officeDocument/2006/relationships/image" Target="../media/image2.png"/><Relationship Id="rId1" Type="http://schemas.openxmlformats.org/officeDocument/2006/relationships/slideLayout" Target="../slideLayouts/slideLayout367.xml"/><Relationship Id="rId2" Type="http://schemas.openxmlformats.org/officeDocument/2006/relationships/slideLayout" Target="../slideLayouts/slideLayout368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6.xml"/><Relationship Id="rId4" Type="http://schemas.openxmlformats.org/officeDocument/2006/relationships/slideLayout" Target="../slideLayouts/slideLayout377.xml"/><Relationship Id="rId5" Type="http://schemas.openxmlformats.org/officeDocument/2006/relationships/slideLayout" Target="../slideLayouts/slideLayout378.xml"/><Relationship Id="rId6" Type="http://schemas.openxmlformats.org/officeDocument/2006/relationships/slideLayout" Target="../slideLayouts/slideLayout379.xml"/><Relationship Id="rId7" Type="http://schemas.openxmlformats.org/officeDocument/2006/relationships/slideLayout" Target="../slideLayouts/slideLayout380.xml"/><Relationship Id="rId8" Type="http://schemas.openxmlformats.org/officeDocument/2006/relationships/theme" Target="../theme/theme19.xml"/><Relationship Id="rId9" Type="http://schemas.openxmlformats.org/officeDocument/2006/relationships/image" Target="../media/image22.emf"/><Relationship Id="rId10" Type="http://schemas.openxmlformats.org/officeDocument/2006/relationships/image" Target="../media/image2.png"/><Relationship Id="rId1" Type="http://schemas.openxmlformats.org/officeDocument/2006/relationships/slideLayout" Target="../slideLayouts/slideLayout374.xml"/><Relationship Id="rId2" Type="http://schemas.openxmlformats.org/officeDocument/2006/relationships/slideLayout" Target="../slideLayouts/slideLayout375.xml"/></Relationships>
</file>

<file path=ppt/slideMasters/_rels/slideMaster2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23.xml"/><Relationship Id="rId22" Type="http://schemas.openxmlformats.org/officeDocument/2006/relationships/slideLayout" Target="../slideLayouts/slideLayout24.xml"/><Relationship Id="rId23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26.xml"/><Relationship Id="rId25" Type="http://schemas.openxmlformats.org/officeDocument/2006/relationships/slideLayout" Target="../slideLayouts/slideLayout27.xml"/><Relationship Id="rId26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0.xml"/><Relationship Id="rId29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.xml"/><Relationship Id="rId2" Type="http://schemas.openxmlformats.org/officeDocument/2006/relationships/slideLayout" Target="../slideLayouts/slideLayout4.xml"/><Relationship Id="rId3" Type="http://schemas.openxmlformats.org/officeDocument/2006/relationships/slideLayout" Target="../slideLayouts/slideLayout5.xml"/><Relationship Id="rId4" Type="http://schemas.openxmlformats.org/officeDocument/2006/relationships/slideLayout" Target="../slideLayouts/slideLayout6.xml"/><Relationship Id="rId5" Type="http://schemas.openxmlformats.org/officeDocument/2006/relationships/slideLayout" Target="../slideLayouts/slideLayout7.xml"/><Relationship Id="rId30" Type="http://schemas.openxmlformats.org/officeDocument/2006/relationships/slideLayout" Target="../slideLayouts/slideLayout32.xml"/><Relationship Id="rId31" Type="http://schemas.openxmlformats.org/officeDocument/2006/relationships/slideLayout" Target="../slideLayouts/slideLayout33.xml"/><Relationship Id="rId32" Type="http://schemas.openxmlformats.org/officeDocument/2006/relationships/slideLayout" Target="../slideLayouts/slideLayout34.xml"/><Relationship Id="rId9" Type="http://schemas.openxmlformats.org/officeDocument/2006/relationships/slideLayout" Target="../slideLayouts/slideLayout11.xml"/><Relationship Id="rId6" Type="http://schemas.openxmlformats.org/officeDocument/2006/relationships/slideLayout" Target="../slideLayouts/slideLayout8.xml"/><Relationship Id="rId7" Type="http://schemas.openxmlformats.org/officeDocument/2006/relationships/slideLayout" Target="../slideLayouts/slideLayout9.xml"/><Relationship Id="rId8" Type="http://schemas.openxmlformats.org/officeDocument/2006/relationships/slideLayout" Target="../slideLayouts/slideLayout10.xml"/><Relationship Id="rId33" Type="http://schemas.openxmlformats.org/officeDocument/2006/relationships/slideLayout" Target="../slideLayouts/slideLayout35.xml"/><Relationship Id="rId34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37.xml"/><Relationship Id="rId36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1.xml"/><Relationship Id="rId37" Type="http://schemas.openxmlformats.org/officeDocument/2006/relationships/slideLayout" Target="../slideLayouts/slideLayout39.xml"/><Relationship Id="rId38" Type="http://schemas.openxmlformats.org/officeDocument/2006/relationships/slideLayout" Target="../slideLayouts/slideLayout40.xml"/><Relationship Id="rId39" Type="http://schemas.openxmlformats.org/officeDocument/2006/relationships/slideLayout" Target="../slideLayouts/slideLayout41.xml"/><Relationship Id="rId40" Type="http://schemas.openxmlformats.org/officeDocument/2006/relationships/slideLayout" Target="../slideLayouts/slideLayout42.xml"/><Relationship Id="rId41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3.xml"/><Relationship Id="rId4" Type="http://schemas.openxmlformats.org/officeDocument/2006/relationships/slideLayout" Target="../slideLayouts/slideLayout384.xml"/><Relationship Id="rId5" Type="http://schemas.openxmlformats.org/officeDocument/2006/relationships/slideLayout" Target="../slideLayouts/slideLayout385.xml"/><Relationship Id="rId6" Type="http://schemas.openxmlformats.org/officeDocument/2006/relationships/slideLayout" Target="../slideLayouts/slideLayout386.xml"/><Relationship Id="rId7" Type="http://schemas.openxmlformats.org/officeDocument/2006/relationships/slideLayout" Target="../slideLayouts/slideLayout387.xml"/><Relationship Id="rId8" Type="http://schemas.openxmlformats.org/officeDocument/2006/relationships/theme" Target="../theme/theme20.xml"/><Relationship Id="rId9" Type="http://schemas.openxmlformats.org/officeDocument/2006/relationships/image" Target="../media/image22.emf"/><Relationship Id="rId10" Type="http://schemas.openxmlformats.org/officeDocument/2006/relationships/image" Target="../media/image2.png"/><Relationship Id="rId1" Type="http://schemas.openxmlformats.org/officeDocument/2006/relationships/slideLayout" Target="../slideLayouts/slideLayout381.xml"/><Relationship Id="rId2" Type="http://schemas.openxmlformats.org/officeDocument/2006/relationships/slideLayout" Target="../slideLayouts/slideLayout382.xml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0.xml"/><Relationship Id="rId4" Type="http://schemas.openxmlformats.org/officeDocument/2006/relationships/slideLayout" Target="../slideLayouts/slideLayout391.xml"/><Relationship Id="rId5" Type="http://schemas.openxmlformats.org/officeDocument/2006/relationships/slideLayout" Target="../slideLayouts/slideLayout392.xml"/><Relationship Id="rId6" Type="http://schemas.openxmlformats.org/officeDocument/2006/relationships/slideLayout" Target="../slideLayouts/slideLayout393.xml"/><Relationship Id="rId7" Type="http://schemas.openxmlformats.org/officeDocument/2006/relationships/slideLayout" Target="../slideLayouts/slideLayout394.xml"/><Relationship Id="rId8" Type="http://schemas.openxmlformats.org/officeDocument/2006/relationships/slideLayout" Target="../slideLayouts/slideLayout395.xml"/><Relationship Id="rId9" Type="http://schemas.openxmlformats.org/officeDocument/2006/relationships/theme" Target="../theme/theme21.xml"/><Relationship Id="rId10" Type="http://schemas.openxmlformats.org/officeDocument/2006/relationships/image" Target="../media/image22.emf"/><Relationship Id="rId11" Type="http://schemas.openxmlformats.org/officeDocument/2006/relationships/image" Target="../media/image2.png"/><Relationship Id="rId1" Type="http://schemas.openxmlformats.org/officeDocument/2006/relationships/slideLayout" Target="../slideLayouts/slideLayout388.xml"/><Relationship Id="rId2" Type="http://schemas.openxmlformats.org/officeDocument/2006/relationships/slideLayout" Target="../slideLayouts/slideLayout389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8.xml"/><Relationship Id="rId4" Type="http://schemas.openxmlformats.org/officeDocument/2006/relationships/slideLayout" Target="../slideLayouts/slideLayout399.xml"/><Relationship Id="rId5" Type="http://schemas.openxmlformats.org/officeDocument/2006/relationships/slideLayout" Target="../slideLayouts/slideLayout400.xml"/><Relationship Id="rId6" Type="http://schemas.openxmlformats.org/officeDocument/2006/relationships/slideLayout" Target="../slideLayouts/slideLayout401.xml"/><Relationship Id="rId7" Type="http://schemas.openxmlformats.org/officeDocument/2006/relationships/slideLayout" Target="../slideLayouts/slideLayout402.xml"/><Relationship Id="rId8" Type="http://schemas.openxmlformats.org/officeDocument/2006/relationships/theme" Target="../theme/theme22.xml"/><Relationship Id="rId9" Type="http://schemas.openxmlformats.org/officeDocument/2006/relationships/image" Target="../media/image22.emf"/><Relationship Id="rId10" Type="http://schemas.openxmlformats.org/officeDocument/2006/relationships/image" Target="../media/image2.png"/><Relationship Id="rId1" Type="http://schemas.openxmlformats.org/officeDocument/2006/relationships/slideLayout" Target="../slideLayouts/slideLayout396.xml"/><Relationship Id="rId2" Type="http://schemas.openxmlformats.org/officeDocument/2006/relationships/slideLayout" Target="../slideLayouts/slideLayout397.xml"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5.xml"/><Relationship Id="rId4" Type="http://schemas.openxmlformats.org/officeDocument/2006/relationships/slideLayout" Target="../slideLayouts/slideLayout406.xml"/><Relationship Id="rId5" Type="http://schemas.openxmlformats.org/officeDocument/2006/relationships/slideLayout" Target="../slideLayouts/slideLayout407.xml"/><Relationship Id="rId6" Type="http://schemas.openxmlformats.org/officeDocument/2006/relationships/slideLayout" Target="../slideLayouts/slideLayout408.xml"/><Relationship Id="rId7" Type="http://schemas.openxmlformats.org/officeDocument/2006/relationships/slideLayout" Target="../slideLayouts/slideLayout409.xml"/><Relationship Id="rId8" Type="http://schemas.openxmlformats.org/officeDocument/2006/relationships/slideLayout" Target="../slideLayouts/slideLayout410.xml"/><Relationship Id="rId9" Type="http://schemas.openxmlformats.org/officeDocument/2006/relationships/theme" Target="../theme/theme23.xml"/><Relationship Id="rId10" Type="http://schemas.openxmlformats.org/officeDocument/2006/relationships/image" Target="../media/image22.emf"/><Relationship Id="rId11" Type="http://schemas.openxmlformats.org/officeDocument/2006/relationships/image" Target="../media/image2.png"/><Relationship Id="rId1" Type="http://schemas.openxmlformats.org/officeDocument/2006/relationships/slideLayout" Target="../slideLayouts/slideLayout403.xml"/><Relationship Id="rId2" Type="http://schemas.openxmlformats.org/officeDocument/2006/relationships/slideLayout" Target="../slideLayouts/slideLayout404.xml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3.xml"/><Relationship Id="rId4" Type="http://schemas.openxmlformats.org/officeDocument/2006/relationships/slideLayout" Target="../slideLayouts/slideLayout414.xml"/><Relationship Id="rId5" Type="http://schemas.openxmlformats.org/officeDocument/2006/relationships/slideLayout" Target="../slideLayouts/slideLayout415.xml"/><Relationship Id="rId6" Type="http://schemas.openxmlformats.org/officeDocument/2006/relationships/slideLayout" Target="../slideLayouts/slideLayout416.xml"/><Relationship Id="rId7" Type="http://schemas.openxmlformats.org/officeDocument/2006/relationships/slideLayout" Target="../slideLayouts/slideLayout417.xml"/><Relationship Id="rId8" Type="http://schemas.openxmlformats.org/officeDocument/2006/relationships/slideLayout" Target="../slideLayouts/slideLayout418.xml"/><Relationship Id="rId9" Type="http://schemas.openxmlformats.org/officeDocument/2006/relationships/theme" Target="../theme/theme24.xml"/><Relationship Id="rId10" Type="http://schemas.openxmlformats.org/officeDocument/2006/relationships/image" Target="../media/image22.emf"/><Relationship Id="rId11" Type="http://schemas.openxmlformats.org/officeDocument/2006/relationships/image" Target="../media/image2.png"/><Relationship Id="rId1" Type="http://schemas.openxmlformats.org/officeDocument/2006/relationships/slideLayout" Target="../slideLayouts/slideLayout411.xml"/><Relationship Id="rId2" Type="http://schemas.openxmlformats.org/officeDocument/2006/relationships/slideLayout" Target="../slideLayouts/slideLayout412.xml"/></Relationships>
</file>

<file path=ppt/slideMasters/_rels/slideMaster25.xml.rels><?xml version="1.0" encoding="UTF-8" standalone="yes"?>
<Relationships xmlns="http://schemas.openxmlformats.org/package/2006/relationships"><Relationship Id="rId9" Type="http://schemas.openxmlformats.org/officeDocument/2006/relationships/tags" Target="../tags/tag124.xml"/><Relationship Id="rId20" Type="http://schemas.openxmlformats.org/officeDocument/2006/relationships/tags" Target="../tags/tag135.xml"/><Relationship Id="rId21" Type="http://schemas.openxmlformats.org/officeDocument/2006/relationships/image" Target="../media/image1.emf"/><Relationship Id="rId22" Type="http://schemas.openxmlformats.org/officeDocument/2006/relationships/image" Target="../media/image2.png"/><Relationship Id="rId10" Type="http://schemas.openxmlformats.org/officeDocument/2006/relationships/tags" Target="../tags/tag125.xml"/><Relationship Id="rId11" Type="http://schemas.openxmlformats.org/officeDocument/2006/relationships/tags" Target="../tags/tag126.xml"/><Relationship Id="rId12" Type="http://schemas.openxmlformats.org/officeDocument/2006/relationships/tags" Target="../tags/tag127.xml"/><Relationship Id="rId13" Type="http://schemas.openxmlformats.org/officeDocument/2006/relationships/tags" Target="../tags/tag128.xml"/><Relationship Id="rId14" Type="http://schemas.openxmlformats.org/officeDocument/2006/relationships/tags" Target="../tags/tag129.xml"/><Relationship Id="rId15" Type="http://schemas.openxmlformats.org/officeDocument/2006/relationships/tags" Target="../tags/tag130.xml"/><Relationship Id="rId16" Type="http://schemas.openxmlformats.org/officeDocument/2006/relationships/tags" Target="../tags/tag131.xml"/><Relationship Id="rId17" Type="http://schemas.openxmlformats.org/officeDocument/2006/relationships/tags" Target="../tags/tag132.xml"/><Relationship Id="rId18" Type="http://schemas.openxmlformats.org/officeDocument/2006/relationships/tags" Target="../tags/tag133.xml"/><Relationship Id="rId19" Type="http://schemas.openxmlformats.org/officeDocument/2006/relationships/tags" Target="../tags/tag134.xml"/><Relationship Id="rId1" Type="http://schemas.openxmlformats.org/officeDocument/2006/relationships/slideLayout" Target="../slideLayouts/slideLayout419.xml"/><Relationship Id="rId2" Type="http://schemas.openxmlformats.org/officeDocument/2006/relationships/slideLayout" Target="../slideLayouts/slideLayout420.xml"/><Relationship Id="rId3" Type="http://schemas.openxmlformats.org/officeDocument/2006/relationships/slideLayout" Target="../slideLayouts/slideLayout421.xml"/><Relationship Id="rId4" Type="http://schemas.openxmlformats.org/officeDocument/2006/relationships/slideLayout" Target="../slideLayouts/slideLayout422.xml"/><Relationship Id="rId5" Type="http://schemas.openxmlformats.org/officeDocument/2006/relationships/theme" Target="../theme/theme25.xml"/><Relationship Id="rId6" Type="http://schemas.openxmlformats.org/officeDocument/2006/relationships/tags" Target="../tags/tag121.xml"/><Relationship Id="rId7" Type="http://schemas.openxmlformats.org/officeDocument/2006/relationships/tags" Target="../tags/tag122.xml"/><Relationship Id="rId8" Type="http://schemas.openxmlformats.org/officeDocument/2006/relationships/tags" Target="../tags/tag123.xml"/></Relationships>
</file>

<file path=ppt/slideMasters/_rels/slideMaster26.xml.rels><?xml version="1.0" encoding="UTF-8" standalone="yes"?>
<Relationships xmlns="http://schemas.openxmlformats.org/package/2006/relationships"><Relationship Id="rId9" Type="http://schemas.openxmlformats.org/officeDocument/2006/relationships/tags" Target="../tags/tag139.xml"/><Relationship Id="rId20" Type="http://schemas.openxmlformats.org/officeDocument/2006/relationships/tags" Target="../tags/tag150.xml"/><Relationship Id="rId21" Type="http://schemas.openxmlformats.org/officeDocument/2006/relationships/image" Target="../media/image1.emf"/><Relationship Id="rId22" Type="http://schemas.openxmlformats.org/officeDocument/2006/relationships/image" Target="../media/image2.png"/><Relationship Id="rId10" Type="http://schemas.openxmlformats.org/officeDocument/2006/relationships/tags" Target="../tags/tag140.xml"/><Relationship Id="rId11" Type="http://schemas.openxmlformats.org/officeDocument/2006/relationships/tags" Target="../tags/tag141.xml"/><Relationship Id="rId12" Type="http://schemas.openxmlformats.org/officeDocument/2006/relationships/tags" Target="../tags/tag142.xml"/><Relationship Id="rId13" Type="http://schemas.openxmlformats.org/officeDocument/2006/relationships/tags" Target="../tags/tag143.xml"/><Relationship Id="rId14" Type="http://schemas.openxmlformats.org/officeDocument/2006/relationships/tags" Target="../tags/tag144.xml"/><Relationship Id="rId15" Type="http://schemas.openxmlformats.org/officeDocument/2006/relationships/tags" Target="../tags/tag145.xml"/><Relationship Id="rId16" Type="http://schemas.openxmlformats.org/officeDocument/2006/relationships/tags" Target="../tags/tag146.xml"/><Relationship Id="rId17" Type="http://schemas.openxmlformats.org/officeDocument/2006/relationships/tags" Target="../tags/tag147.xml"/><Relationship Id="rId18" Type="http://schemas.openxmlformats.org/officeDocument/2006/relationships/tags" Target="../tags/tag148.xml"/><Relationship Id="rId19" Type="http://schemas.openxmlformats.org/officeDocument/2006/relationships/tags" Target="../tags/tag149.xml"/><Relationship Id="rId1" Type="http://schemas.openxmlformats.org/officeDocument/2006/relationships/slideLayout" Target="../slideLayouts/slideLayout423.xml"/><Relationship Id="rId2" Type="http://schemas.openxmlformats.org/officeDocument/2006/relationships/slideLayout" Target="../slideLayouts/slideLayout424.xml"/><Relationship Id="rId3" Type="http://schemas.openxmlformats.org/officeDocument/2006/relationships/slideLayout" Target="../slideLayouts/slideLayout425.xml"/><Relationship Id="rId4" Type="http://schemas.openxmlformats.org/officeDocument/2006/relationships/slideLayout" Target="../slideLayouts/slideLayout426.xml"/><Relationship Id="rId5" Type="http://schemas.openxmlformats.org/officeDocument/2006/relationships/theme" Target="../theme/theme26.xml"/><Relationship Id="rId6" Type="http://schemas.openxmlformats.org/officeDocument/2006/relationships/tags" Target="../tags/tag136.xml"/><Relationship Id="rId7" Type="http://schemas.openxmlformats.org/officeDocument/2006/relationships/tags" Target="../tags/tag137.xml"/><Relationship Id="rId8" Type="http://schemas.openxmlformats.org/officeDocument/2006/relationships/tags" Target="../tags/tag138.xml"/></Relationships>
</file>

<file path=ppt/slideMasters/_rels/slideMaster27.xml.rels><?xml version="1.0" encoding="UTF-8" standalone="yes"?>
<Relationships xmlns="http://schemas.openxmlformats.org/package/2006/relationships"><Relationship Id="rId9" Type="http://schemas.openxmlformats.org/officeDocument/2006/relationships/tags" Target="../tags/tag155.xml"/><Relationship Id="rId20" Type="http://schemas.openxmlformats.org/officeDocument/2006/relationships/image" Target="../media/image1.emf"/><Relationship Id="rId21" Type="http://schemas.openxmlformats.org/officeDocument/2006/relationships/image" Target="../media/image2.png"/><Relationship Id="rId10" Type="http://schemas.openxmlformats.org/officeDocument/2006/relationships/tags" Target="../tags/tag156.xml"/><Relationship Id="rId11" Type="http://schemas.openxmlformats.org/officeDocument/2006/relationships/tags" Target="../tags/tag157.xml"/><Relationship Id="rId12" Type="http://schemas.openxmlformats.org/officeDocument/2006/relationships/tags" Target="../tags/tag158.xml"/><Relationship Id="rId13" Type="http://schemas.openxmlformats.org/officeDocument/2006/relationships/tags" Target="../tags/tag159.xml"/><Relationship Id="rId14" Type="http://schemas.openxmlformats.org/officeDocument/2006/relationships/tags" Target="../tags/tag160.xml"/><Relationship Id="rId15" Type="http://schemas.openxmlformats.org/officeDocument/2006/relationships/tags" Target="../tags/tag161.xml"/><Relationship Id="rId16" Type="http://schemas.openxmlformats.org/officeDocument/2006/relationships/tags" Target="../tags/tag162.xml"/><Relationship Id="rId17" Type="http://schemas.openxmlformats.org/officeDocument/2006/relationships/tags" Target="../tags/tag163.xml"/><Relationship Id="rId18" Type="http://schemas.openxmlformats.org/officeDocument/2006/relationships/tags" Target="../tags/tag164.xml"/><Relationship Id="rId19" Type="http://schemas.openxmlformats.org/officeDocument/2006/relationships/tags" Target="../tags/tag165.xml"/><Relationship Id="rId1" Type="http://schemas.openxmlformats.org/officeDocument/2006/relationships/slideLayout" Target="../slideLayouts/slideLayout427.xml"/><Relationship Id="rId2" Type="http://schemas.openxmlformats.org/officeDocument/2006/relationships/slideLayout" Target="../slideLayouts/slideLayout428.xml"/><Relationship Id="rId3" Type="http://schemas.openxmlformats.org/officeDocument/2006/relationships/slideLayout" Target="../slideLayouts/slideLayout429.xml"/><Relationship Id="rId4" Type="http://schemas.openxmlformats.org/officeDocument/2006/relationships/theme" Target="../theme/theme27.xml"/><Relationship Id="rId5" Type="http://schemas.openxmlformats.org/officeDocument/2006/relationships/tags" Target="../tags/tag151.xml"/><Relationship Id="rId6" Type="http://schemas.openxmlformats.org/officeDocument/2006/relationships/tags" Target="../tags/tag152.xml"/><Relationship Id="rId7" Type="http://schemas.openxmlformats.org/officeDocument/2006/relationships/tags" Target="../tags/tag153.xml"/><Relationship Id="rId8" Type="http://schemas.openxmlformats.org/officeDocument/2006/relationships/tags" Target="../tags/tag154.xml"/></Relationships>
</file>

<file path=ppt/slideMasters/_rels/slideMaster28.xml.rels><?xml version="1.0" encoding="UTF-8" standalone="yes"?>
<Relationships xmlns="http://schemas.openxmlformats.org/package/2006/relationships"><Relationship Id="rId46" Type="http://schemas.openxmlformats.org/officeDocument/2006/relationships/theme" Target="../theme/theme28.xml"/><Relationship Id="rId47" Type="http://schemas.openxmlformats.org/officeDocument/2006/relationships/image" Target="../media/image25.png"/><Relationship Id="rId20" Type="http://schemas.openxmlformats.org/officeDocument/2006/relationships/slideLayout" Target="../slideLayouts/slideLayout449.xml"/><Relationship Id="rId21" Type="http://schemas.openxmlformats.org/officeDocument/2006/relationships/slideLayout" Target="../slideLayouts/slideLayout450.xml"/><Relationship Id="rId22" Type="http://schemas.openxmlformats.org/officeDocument/2006/relationships/slideLayout" Target="../slideLayouts/slideLayout451.xml"/><Relationship Id="rId23" Type="http://schemas.openxmlformats.org/officeDocument/2006/relationships/slideLayout" Target="../slideLayouts/slideLayout452.xml"/><Relationship Id="rId24" Type="http://schemas.openxmlformats.org/officeDocument/2006/relationships/slideLayout" Target="../slideLayouts/slideLayout453.xml"/><Relationship Id="rId25" Type="http://schemas.openxmlformats.org/officeDocument/2006/relationships/slideLayout" Target="../slideLayouts/slideLayout454.xml"/><Relationship Id="rId26" Type="http://schemas.openxmlformats.org/officeDocument/2006/relationships/slideLayout" Target="../slideLayouts/slideLayout455.xml"/><Relationship Id="rId27" Type="http://schemas.openxmlformats.org/officeDocument/2006/relationships/slideLayout" Target="../slideLayouts/slideLayout456.xml"/><Relationship Id="rId28" Type="http://schemas.openxmlformats.org/officeDocument/2006/relationships/slideLayout" Target="../slideLayouts/slideLayout457.xml"/><Relationship Id="rId29" Type="http://schemas.openxmlformats.org/officeDocument/2006/relationships/slideLayout" Target="../slideLayouts/slideLayout458.xml"/><Relationship Id="rId1" Type="http://schemas.openxmlformats.org/officeDocument/2006/relationships/slideLayout" Target="../slideLayouts/slideLayout430.xml"/><Relationship Id="rId2" Type="http://schemas.openxmlformats.org/officeDocument/2006/relationships/slideLayout" Target="../slideLayouts/slideLayout431.xml"/><Relationship Id="rId3" Type="http://schemas.openxmlformats.org/officeDocument/2006/relationships/slideLayout" Target="../slideLayouts/slideLayout432.xml"/><Relationship Id="rId4" Type="http://schemas.openxmlformats.org/officeDocument/2006/relationships/slideLayout" Target="../slideLayouts/slideLayout433.xml"/><Relationship Id="rId5" Type="http://schemas.openxmlformats.org/officeDocument/2006/relationships/slideLayout" Target="../slideLayouts/slideLayout434.xml"/><Relationship Id="rId30" Type="http://schemas.openxmlformats.org/officeDocument/2006/relationships/slideLayout" Target="../slideLayouts/slideLayout459.xml"/><Relationship Id="rId31" Type="http://schemas.openxmlformats.org/officeDocument/2006/relationships/slideLayout" Target="../slideLayouts/slideLayout460.xml"/><Relationship Id="rId32" Type="http://schemas.openxmlformats.org/officeDocument/2006/relationships/slideLayout" Target="../slideLayouts/slideLayout461.xml"/><Relationship Id="rId9" Type="http://schemas.openxmlformats.org/officeDocument/2006/relationships/slideLayout" Target="../slideLayouts/slideLayout438.xml"/><Relationship Id="rId6" Type="http://schemas.openxmlformats.org/officeDocument/2006/relationships/slideLayout" Target="../slideLayouts/slideLayout435.xml"/><Relationship Id="rId7" Type="http://schemas.openxmlformats.org/officeDocument/2006/relationships/slideLayout" Target="../slideLayouts/slideLayout436.xml"/><Relationship Id="rId8" Type="http://schemas.openxmlformats.org/officeDocument/2006/relationships/slideLayout" Target="../slideLayouts/slideLayout437.xml"/><Relationship Id="rId33" Type="http://schemas.openxmlformats.org/officeDocument/2006/relationships/slideLayout" Target="../slideLayouts/slideLayout462.xml"/><Relationship Id="rId34" Type="http://schemas.openxmlformats.org/officeDocument/2006/relationships/slideLayout" Target="../slideLayouts/slideLayout463.xml"/><Relationship Id="rId35" Type="http://schemas.openxmlformats.org/officeDocument/2006/relationships/slideLayout" Target="../slideLayouts/slideLayout464.xml"/><Relationship Id="rId36" Type="http://schemas.openxmlformats.org/officeDocument/2006/relationships/slideLayout" Target="../slideLayouts/slideLayout465.xml"/><Relationship Id="rId10" Type="http://schemas.openxmlformats.org/officeDocument/2006/relationships/slideLayout" Target="../slideLayouts/slideLayout439.xml"/><Relationship Id="rId11" Type="http://schemas.openxmlformats.org/officeDocument/2006/relationships/slideLayout" Target="../slideLayouts/slideLayout440.xml"/><Relationship Id="rId12" Type="http://schemas.openxmlformats.org/officeDocument/2006/relationships/slideLayout" Target="../slideLayouts/slideLayout441.xml"/><Relationship Id="rId13" Type="http://schemas.openxmlformats.org/officeDocument/2006/relationships/slideLayout" Target="../slideLayouts/slideLayout442.xml"/><Relationship Id="rId14" Type="http://schemas.openxmlformats.org/officeDocument/2006/relationships/slideLayout" Target="../slideLayouts/slideLayout443.xml"/><Relationship Id="rId15" Type="http://schemas.openxmlformats.org/officeDocument/2006/relationships/slideLayout" Target="../slideLayouts/slideLayout444.xml"/><Relationship Id="rId16" Type="http://schemas.openxmlformats.org/officeDocument/2006/relationships/slideLayout" Target="../slideLayouts/slideLayout445.xml"/><Relationship Id="rId17" Type="http://schemas.openxmlformats.org/officeDocument/2006/relationships/slideLayout" Target="../slideLayouts/slideLayout446.xml"/><Relationship Id="rId18" Type="http://schemas.openxmlformats.org/officeDocument/2006/relationships/slideLayout" Target="../slideLayouts/slideLayout447.xml"/><Relationship Id="rId19" Type="http://schemas.openxmlformats.org/officeDocument/2006/relationships/slideLayout" Target="../slideLayouts/slideLayout448.xml"/><Relationship Id="rId37" Type="http://schemas.openxmlformats.org/officeDocument/2006/relationships/slideLayout" Target="../slideLayouts/slideLayout466.xml"/><Relationship Id="rId38" Type="http://schemas.openxmlformats.org/officeDocument/2006/relationships/slideLayout" Target="../slideLayouts/slideLayout467.xml"/><Relationship Id="rId39" Type="http://schemas.openxmlformats.org/officeDocument/2006/relationships/slideLayout" Target="../slideLayouts/slideLayout468.xml"/><Relationship Id="rId40" Type="http://schemas.openxmlformats.org/officeDocument/2006/relationships/slideLayout" Target="../slideLayouts/slideLayout469.xml"/><Relationship Id="rId41" Type="http://schemas.openxmlformats.org/officeDocument/2006/relationships/slideLayout" Target="../slideLayouts/slideLayout470.xml"/><Relationship Id="rId42" Type="http://schemas.openxmlformats.org/officeDocument/2006/relationships/slideLayout" Target="../slideLayouts/slideLayout471.xml"/><Relationship Id="rId43" Type="http://schemas.openxmlformats.org/officeDocument/2006/relationships/slideLayout" Target="../slideLayouts/slideLayout472.xml"/><Relationship Id="rId44" Type="http://schemas.openxmlformats.org/officeDocument/2006/relationships/slideLayout" Target="../slideLayouts/slideLayout473.xml"/><Relationship Id="rId45" Type="http://schemas.openxmlformats.org/officeDocument/2006/relationships/slideLayout" Target="../slideLayouts/slideLayout474.xml"/></Relationships>
</file>

<file path=ppt/slideMasters/_rels/slideMaster29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85.xml"/><Relationship Id="rId12" Type="http://schemas.openxmlformats.org/officeDocument/2006/relationships/slideLayout" Target="../slideLayouts/slideLayout486.xml"/><Relationship Id="rId13" Type="http://schemas.openxmlformats.org/officeDocument/2006/relationships/slideLayout" Target="../slideLayouts/slideLayout487.xml"/><Relationship Id="rId14" Type="http://schemas.openxmlformats.org/officeDocument/2006/relationships/slideLayout" Target="../slideLayouts/slideLayout488.xml"/><Relationship Id="rId15" Type="http://schemas.openxmlformats.org/officeDocument/2006/relationships/slideLayout" Target="../slideLayouts/slideLayout489.xml"/><Relationship Id="rId16" Type="http://schemas.openxmlformats.org/officeDocument/2006/relationships/slideLayout" Target="../slideLayouts/slideLayout490.xml"/><Relationship Id="rId17" Type="http://schemas.openxmlformats.org/officeDocument/2006/relationships/theme" Target="../theme/theme29.xml"/><Relationship Id="rId18" Type="http://schemas.openxmlformats.org/officeDocument/2006/relationships/image" Target="../media/image36.png"/><Relationship Id="rId19" Type="http://schemas.openxmlformats.org/officeDocument/2006/relationships/image" Target="../media/image25.png"/><Relationship Id="rId1" Type="http://schemas.openxmlformats.org/officeDocument/2006/relationships/slideLayout" Target="../slideLayouts/slideLayout475.xml"/><Relationship Id="rId2" Type="http://schemas.openxmlformats.org/officeDocument/2006/relationships/slideLayout" Target="../slideLayouts/slideLayout476.xml"/><Relationship Id="rId3" Type="http://schemas.openxmlformats.org/officeDocument/2006/relationships/slideLayout" Target="../slideLayouts/slideLayout477.xml"/><Relationship Id="rId4" Type="http://schemas.openxmlformats.org/officeDocument/2006/relationships/slideLayout" Target="../slideLayouts/slideLayout478.xml"/><Relationship Id="rId5" Type="http://schemas.openxmlformats.org/officeDocument/2006/relationships/slideLayout" Target="../slideLayouts/slideLayout479.xml"/><Relationship Id="rId6" Type="http://schemas.openxmlformats.org/officeDocument/2006/relationships/slideLayout" Target="../slideLayouts/slideLayout480.xml"/><Relationship Id="rId7" Type="http://schemas.openxmlformats.org/officeDocument/2006/relationships/slideLayout" Target="../slideLayouts/slideLayout481.xml"/><Relationship Id="rId8" Type="http://schemas.openxmlformats.org/officeDocument/2006/relationships/slideLayout" Target="../slideLayouts/slideLayout482.xml"/><Relationship Id="rId9" Type="http://schemas.openxmlformats.org/officeDocument/2006/relationships/slideLayout" Target="../slideLayouts/slideLayout483.xml"/><Relationship Id="rId10" Type="http://schemas.openxmlformats.org/officeDocument/2006/relationships/slideLayout" Target="../slideLayouts/slideLayout484.xml"/></Relationships>
</file>

<file path=ppt/slideMasters/_rels/slideMaster3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68.xml"/><Relationship Id="rId27" Type="http://schemas.openxmlformats.org/officeDocument/2006/relationships/slideLayout" Target="../slideLayouts/slideLayout69.xml"/><Relationship Id="rId28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1.xml"/><Relationship Id="rId1" Type="http://schemas.openxmlformats.org/officeDocument/2006/relationships/slideLayout" Target="../slideLayouts/slideLayout43.xml"/><Relationship Id="rId2" Type="http://schemas.openxmlformats.org/officeDocument/2006/relationships/slideLayout" Target="../slideLayouts/slideLayout44.xml"/><Relationship Id="rId3" Type="http://schemas.openxmlformats.org/officeDocument/2006/relationships/slideLayout" Target="../slideLayouts/slideLayout45.xml"/><Relationship Id="rId4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7.xml"/><Relationship Id="rId30" Type="http://schemas.openxmlformats.org/officeDocument/2006/relationships/slideLayout" Target="../slideLayouts/slideLayout72.xml"/><Relationship Id="rId31" Type="http://schemas.openxmlformats.org/officeDocument/2006/relationships/slideLayout" Target="../slideLayouts/slideLayout73.xml"/><Relationship Id="rId32" Type="http://schemas.openxmlformats.org/officeDocument/2006/relationships/slideLayout" Target="../slideLayouts/slideLayout74.xml"/><Relationship Id="rId9" Type="http://schemas.openxmlformats.org/officeDocument/2006/relationships/slideLayout" Target="../slideLayouts/slideLayout51.xml"/><Relationship Id="rId6" Type="http://schemas.openxmlformats.org/officeDocument/2006/relationships/slideLayout" Target="../slideLayouts/slideLayout48.xml"/><Relationship Id="rId7" Type="http://schemas.openxmlformats.org/officeDocument/2006/relationships/slideLayout" Target="../slideLayouts/slideLayout49.xml"/><Relationship Id="rId8" Type="http://schemas.openxmlformats.org/officeDocument/2006/relationships/slideLayout" Target="../slideLayouts/slideLayout50.xml"/><Relationship Id="rId33" Type="http://schemas.openxmlformats.org/officeDocument/2006/relationships/slideLayout" Target="../slideLayouts/slideLayout75.xml"/><Relationship Id="rId34" Type="http://schemas.openxmlformats.org/officeDocument/2006/relationships/slideLayout" Target="../slideLayouts/slideLayout76.xml"/><Relationship Id="rId35" Type="http://schemas.openxmlformats.org/officeDocument/2006/relationships/slideLayout" Target="../slideLayouts/slideLayout77.xml"/><Relationship Id="rId36" Type="http://schemas.openxmlformats.org/officeDocument/2006/relationships/slideLayout" Target="../slideLayouts/slideLayout78.xml"/><Relationship Id="rId10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1.xml"/><Relationship Id="rId37" Type="http://schemas.openxmlformats.org/officeDocument/2006/relationships/theme" Target="../theme/theme3.xml"/><Relationship Id="rId38" Type="http://schemas.openxmlformats.org/officeDocument/2006/relationships/image" Target="../media/image2.png"/></Relationships>
</file>

<file path=ppt/slideMasters/_rels/slideMaster30.xml.rels><?xml version="1.0" encoding="UTF-8" standalone="yes"?>
<Relationships xmlns="http://schemas.openxmlformats.org/package/2006/relationships"><Relationship Id="rId9" Type="http://schemas.openxmlformats.org/officeDocument/2006/relationships/tags" Target="../tags/tag170.xml"/><Relationship Id="rId20" Type="http://schemas.openxmlformats.org/officeDocument/2006/relationships/image" Target="../media/image1.emf"/><Relationship Id="rId21" Type="http://schemas.openxmlformats.org/officeDocument/2006/relationships/image" Target="../media/image2.png"/><Relationship Id="rId10" Type="http://schemas.openxmlformats.org/officeDocument/2006/relationships/tags" Target="../tags/tag171.xml"/><Relationship Id="rId11" Type="http://schemas.openxmlformats.org/officeDocument/2006/relationships/tags" Target="../tags/tag172.xml"/><Relationship Id="rId12" Type="http://schemas.openxmlformats.org/officeDocument/2006/relationships/tags" Target="../tags/tag173.xml"/><Relationship Id="rId13" Type="http://schemas.openxmlformats.org/officeDocument/2006/relationships/tags" Target="../tags/tag174.xml"/><Relationship Id="rId14" Type="http://schemas.openxmlformats.org/officeDocument/2006/relationships/tags" Target="../tags/tag175.xml"/><Relationship Id="rId15" Type="http://schemas.openxmlformats.org/officeDocument/2006/relationships/tags" Target="../tags/tag176.xml"/><Relationship Id="rId16" Type="http://schemas.openxmlformats.org/officeDocument/2006/relationships/tags" Target="../tags/tag177.xml"/><Relationship Id="rId17" Type="http://schemas.openxmlformats.org/officeDocument/2006/relationships/tags" Target="../tags/tag178.xml"/><Relationship Id="rId18" Type="http://schemas.openxmlformats.org/officeDocument/2006/relationships/tags" Target="../tags/tag179.xml"/><Relationship Id="rId19" Type="http://schemas.openxmlformats.org/officeDocument/2006/relationships/tags" Target="../tags/tag180.xml"/><Relationship Id="rId1" Type="http://schemas.openxmlformats.org/officeDocument/2006/relationships/slideLayout" Target="../slideLayouts/slideLayout491.xml"/><Relationship Id="rId2" Type="http://schemas.openxmlformats.org/officeDocument/2006/relationships/slideLayout" Target="../slideLayouts/slideLayout492.xml"/><Relationship Id="rId3" Type="http://schemas.openxmlformats.org/officeDocument/2006/relationships/slideLayout" Target="../slideLayouts/slideLayout493.xml"/><Relationship Id="rId4" Type="http://schemas.openxmlformats.org/officeDocument/2006/relationships/theme" Target="../theme/theme30.xml"/><Relationship Id="rId5" Type="http://schemas.openxmlformats.org/officeDocument/2006/relationships/tags" Target="../tags/tag166.xml"/><Relationship Id="rId6" Type="http://schemas.openxmlformats.org/officeDocument/2006/relationships/tags" Target="../tags/tag167.xml"/><Relationship Id="rId7" Type="http://schemas.openxmlformats.org/officeDocument/2006/relationships/tags" Target="../tags/tag168.xml"/><Relationship Id="rId8" Type="http://schemas.openxmlformats.org/officeDocument/2006/relationships/tags" Target="../tags/tag169.xml"/></Relationships>
</file>

<file path=ppt/slideMasters/_rels/slideMaster31.xml.rels><?xml version="1.0" encoding="UTF-8" standalone="yes"?>
<Relationships xmlns="http://schemas.openxmlformats.org/package/2006/relationships"><Relationship Id="rId11" Type="http://schemas.openxmlformats.org/officeDocument/2006/relationships/tags" Target="../tags/tag189.xml"/><Relationship Id="rId12" Type="http://schemas.openxmlformats.org/officeDocument/2006/relationships/tags" Target="../tags/tag190.xml"/><Relationship Id="rId13" Type="http://schemas.openxmlformats.org/officeDocument/2006/relationships/tags" Target="../tags/tag191.xml"/><Relationship Id="rId14" Type="http://schemas.openxmlformats.org/officeDocument/2006/relationships/tags" Target="../tags/tag192.xml"/><Relationship Id="rId15" Type="http://schemas.openxmlformats.org/officeDocument/2006/relationships/tags" Target="../tags/tag193.xml"/><Relationship Id="rId16" Type="http://schemas.openxmlformats.org/officeDocument/2006/relationships/tags" Target="../tags/tag194.xml"/><Relationship Id="rId17" Type="http://schemas.openxmlformats.org/officeDocument/2006/relationships/tags" Target="../tags/tag195.xml"/><Relationship Id="rId18" Type="http://schemas.openxmlformats.org/officeDocument/2006/relationships/image" Target="../media/image1.emf"/><Relationship Id="rId19" Type="http://schemas.openxmlformats.org/officeDocument/2006/relationships/image" Target="../media/image2.png"/><Relationship Id="rId1" Type="http://schemas.openxmlformats.org/officeDocument/2006/relationships/slideLayout" Target="../slideLayouts/slideLayout494.xml"/><Relationship Id="rId2" Type="http://schemas.openxmlformats.org/officeDocument/2006/relationships/theme" Target="../theme/theme31.xml"/><Relationship Id="rId3" Type="http://schemas.openxmlformats.org/officeDocument/2006/relationships/tags" Target="../tags/tag181.xml"/><Relationship Id="rId4" Type="http://schemas.openxmlformats.org/officeDocument/2006/relationships/tags" Target="../tags/tag182.xml"/><Relationship Id="rId5" Type="http://schemas.openxmlformats.org/officeDocument/2006/relationships/tags" Target="../tags/tag183.xml"/><Relationship Id="rId6" Type="http://schemas.openxmlformats.org/officeDocument/2006/relationships/tags" Target="../tags/tag184.xml"/><Relationship Id="rId7" Type="http://schemas.openxmlformats.org/officeDocument/2006/relationships/tags" Target="../tags/tag185.xml"/><Relationship Id="rId8" Type="http://schemas.openxmlformats.org/officeDocument/2006/relationships/tags" Target="../tags/tag186.xml"/><Relationship Id="rId9" Type="http://schemas.openxmlformats.org/officeDocument/2006/relationships/tags" Target="../tags/tag187.xml"/><Relationship Id="rId10" Type="http://schemas.openxmlformats.org/officeDocument/2006/relationships/tags" Target="../tags/tag188.xml"/></Relationships>
</file>

<file path=ppt/slideMasters/_rels/slideMaster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7.xml"/><Relationship Id="rId4" Type="http://schemas.openxmlformats.org/officeDocument/2006/relationships/slideLayout" Target="../slideLayouts/slideLayout498.xml"/><Relationship Id="rId5" Type="http://schemas.openxmlformats.org/officeDocument/2006/relationships/slideLayout" Target="../slideLayouts/slideLayout499.xml"/><Relationship Id="rId6" Type="http://schemas.openxmlformats.org/officeDocument/2006/relationships/slideLayout" Target="../slideLayouts/slideLayout500.xml"/><Relationship Id="rId7" Type="http://schemas.openxmlformats.org/officeDocument/2006/relationships/slideLayout" Target="../slideLayouts/slideLayout501.xml"/><Relationship Id="rId8" Type="http://schemas.openxmlformats.org/officeDocument/2006/relationships/slideLayout" Target="../slideLayouts/slideLayout502.xml"/><Relationship Id="rId9" Type="http://schemas.openxmlformats.org/officeDocument/2006/relationships/slideLayout" Target="../slideLayouts/slideLayout503.xml"/><Relationship Id="rId10" Type="http://schemas.openxmlformats.org/officeDocument/2006/relationships/theme" Target="../theme/theme32.xml"/><Relationship Id="rId11" Type="http://schemas.openxmlformats.org/officeDocument/2006/relationships/image" Target="../media/image13.png"/><Relationship Id="rId1" Type="http://schemas.openxmlformats.org/officeDocument/2006/relationships/slideLayout" Target="../slideLayouts/slideLayout495.xml"/><Relationship Id="rId2" Type="http://schemas.openxmlformats.org/officeDocument/2006/relationships/slideLayout" Target="../slideLayouts/slideLayout496.xml"/></Relationships>
</file>

<file path=ppt/slideMasters/_rels/slideMaster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6.xml"/><Relationship Id="rId4" Type="http://schemas.openxmlformats.org/officeDocument/2006/relationships/slideLayout" Target="../slideLayouts/slideLayout507.xml"/><Relationship Id="rId5" Type="http://schemas.openxmlformats.org/officeDocument/2006/relationships/slideLayout" Target="../slideLayouts/slideLayout508.xml"/><Relationship Id="rId6" Type="http://schemas.openxmlformats.org/officeDocument/2006/relationships/slideLayout" Target="../slideLayouts/slideLayout509.xml"/><Relationship Id="rId7" Type="http://schemas.openxmlformats.org/officeDocument/2006/relationships/slideLayout" Target="../slideLayouts/slideLayout510.xml"/><Relationship Id="rId8" Type="http://schemas.openxmlformats.org/officeDocument/2006/relationships/slideLayout" Target="../slideLayouts/slideLayout511.xml"/><Relationship Id="rId9" Type="http://schemas.openxmlformats.org/officeDocument/2006/relationships/slideLayout" Target="../slideLayouts/slideLayout512.xml"/><Relationship Id="rId10" Type="http://schemas.openxmlformats.org/officeDocument/2006/relationships/theme" Target="../theme/theme33.xml"/><Relationship Id="rId11" Type="http://schemas.openxmlformats.org/officeDocument/2006/relationships/image" Target="../media/image13.png"/><Relationship Id="rId1" Type="http://schemas.openxmlformats.org/officeDocument/2006/relationships/slideLayout" Target="../slideLayouts/slideLayout504.xml"/><Relationship Id="rId2" Type="http://schemas.openxmlformats.org/officeDocument/2006/relationships/slideLayout" Target="../slideLayouts/slideLayout505.xml"/></Relationships>
</file>

<file path=ppt/slideMasters/_rels/slideMaster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15.xml"/><Relationship Id="rId4" Type="http://schemas.openxmlformats.org/officeDocument/2006/relationships/slideLayout" Target="../slideLayouts/slideLayout516.xml"/><Relationship Id="rId5" Type="http://schemas.openxmlformats.org/officeDocument/2006/relationships/slideLayout" Target="../slideLayouts/slideLayout517.xml"/><Relationship Id="rId6" Type="http://schemas.openxmlformats.org/officeDocument/2006/relationships/slideLayout" Target="../slideLayouts/slideLayout518.xml"/><Relationship Id="rId7" Type="http://schemas.openxmlformats.org/officeDocument/2006/relationships/slideLayout" Target="../slideLayouts/slideLayout519.xml"/><Relationship Id="rId8" Type="http://schemas.openxmlformats.org/officeDocument/2006/relationships/slideLayout" Target="../slideLayouts/slideLayout520.xml"/><Relationship Id="rId9" Type="http://schemas.openxmlformats.org/officeDocument/2006/relationships/slideLayout" Target="../slideLayouts/slideLayout521.xml"/><Relationship Id="rId10" Type="http://schemas.openxmlformats.org/officeDocument/2006/relationships/theme" Target="../theme/theme34.xml"/><Relationship Id="rId11" Type="http://schemas.openxmlformats.org/officeDocument/2006/relationships/image" Target="../media/image13.png"/><Relationship Id="rId1" Type="http://schemas.openxmlformats.org/officeDocument/2006/relationships/slideLayout" Target="../slideLayouts/slideLayout513.xml"/><Relationship Id="rId2" Type="http://schemas.openxmlformats.org/officeDocument/2006/relationships/slideLayout" Target="../slideLayouts/slideLayout514.xml"/></Relationships>
</file>

<file path=ppt/slideMasters/_rels/slideMaster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4.xml"/><Relationship Id="rId4" Type="http://schemas.openxmlformats.org/officeDocument/2006/relationships/slideLayout" Target="../slideLayouts/slideLayout525.xml"/><Relationship Id="rId5" Type="http://schemas.openxmlformats.org/officeDocument/2006/relationships/slideLayout" Target="../slideLayouts/slideLayout526.xml"/><Relationship Id="rId6" Type="http://schemas.openxmlformats.org/officeDocument/2006/relationships/slideLayout" Target="../slideLayouts/slideLayout527.xml"/><Relationship Id="rId7" Type="http://schemas.openxmlformats.org/officeDocument/2006/relationships/slideLayout" Target="../slideLayouts/slideLayout528.xml"/><Relationship Id="rId8" Type="http://schemas.openxmlformats.org/officeDocument/2006/relationships/slideLayout" Target="../slideLayouts/slideLayout529.xml"/><Relationship Id="rId9" Type="http://schemas.openxmlformats.org/officeDocument/2006/relationships/slideLayout" Target="../slideLayouts/slideLayout530.xml"/><Relationship Id="rId10" Type="http://schemas.openxmlformats.org/officeDocument/2006/relationships/theme" Target="../theme/theme35.xml"/><Relationship Id="rId11" Type="http://schemas.openxmlformats.org/officeDocument/2006/relationships/image" Target="../media/image13.png"/><Relationship Id="rId1" Type="http://schemas.openxmlformats.org/officeDocument/2006/relationships/slideLayout" Target="../slideLayouts/slideLayout522.xml"/><Relationship Id="rId2" Type="http://schemas.openxmlformats.org/officeDocument/2006/relationships/slideLayout" Target="../slideLayouts/slideLayout523.xml"/></Relationships>
</file>

<file path=ppt/slideMasters/_rels/slideMaster36.xml.rels><?xml version="1.0" encoding="UTF-8" standalone="yes"?>
<Relationships xmlns="http://schemas.openxmlformats.org/package/2006/relationships"><Relationship Id="rId11" Type="http://schemas.openxmlformats.org/officeDocument/2006/relationships/theme" Target="../theme/theme36.xml"/><Relationship Id="rId12" Type="http://schemas.openxmlformats.org/officeDocument/2006/relationships/image" Target="../media/image13.png"/><Relationship Id="rId1" Type="http://schemas.openxmlformats.org/officeDocument/2006/relationships/slideLayout" Target="../slideLayouts/slideLayout531.xml"/><Relationship Id="rId2" Type="http://schemas.openxmlformats.org/officeDocument/2006/relationships/slideLayout" Target="../slideLayouts/slideLayout532.xml"/><Relationship Id="rId3" Type="http://schemas.openxmlformats.org/officeDocument/2006/relationships/slideLayout" Target="../slideLayouts/slideLayout533.xml"/><Relationship Id="rId4" Type="http://schemas.openxmlformats.org/officeDocument/2006/relationships/slideLayout" Target="../slideLayouts/slideLayout534.xml"/><Relationship Id="rId5" Type="http://schemas.openxmlformats.org/officeDocument/2006/relationships/slideLayout" Target="../slideLayouts/slideLayout535.xml"/><Relationship Id="rId6" Type="http://schemas.openxmlformats.org/officeDocument/2006/relationships/slideLayout" Target="../slideLayouts/slideLayout536.xml"/><Relationship Id="rId7" Type="http://schemas.openxmlformats.org/officeDocument/2006/relationships/slideLayout" Target="../slideLayouts/slideLayout537.xml"/><Relationship Id="rId8" Type="http://schemas.openxmlformats.org/officeDocument/2006/relationships/slideLayout" Target="../slideLayouts/slideLayout538.xml"/><Relationship Id="rId9" Type="http://schemas.openxmlformats.org/officeDocument/2006/relationships/slideLayout" Target="../slideLayouts/slideLayout539.xml"/><Relationship Id="rId10" Type="http://schemas.openxmlformats.org/officeDocument/2006/relationships/slideLayout" Target="../slideLayouts/slideLayout540.xml"/></Relationships>
</file>

<file path=ppt/slideMasters/_rels/slideMaster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3.xml"/><Relationship Id="rId4" Type="http://schemas.openxmlformats.org/officeDocument/2006/relationships/slideLayout" Target="../slideLayouts/slideLayout544.xml"/><Relationship Id="rId5" Type="http://schemas.openxmlformats.org/officeDocument/2006/relationships/slideLayout" Target="../slideLayouts/slideLayout545.xml"/><Relationship Id="rId6" Type="http://schemas.openxmlformats.org/officeDocument/2006/relationships/slideLayout" Target="../slideLayouts/slideLayout546.xml"/><Relationship Id="rId7" Type="http://schemas.openxmlformats.org/officeDocument/2006/relationships/slideLayout" Target="../slideLayouts/slideLayout547.xml"/><Relationship Id="rId8" Type="http://schemas.openxmlformats.org/officeDocument/2006/relationships/slideLayout" Target="../slideLayouts/slideLayout548.xml"/><Relationship Id="rId9" Type="http://schemas.openxmlformats.org/officeDocument/2006/relationships/slideLayout" Target="../slideLayouts/slideLayout549.xml"/><Relationship Id="rId10" Type="http://schemas.openxmlformats.org/officeDocument/2006/relationships/theme" Target="../theme/theme37.xml"/><Relationship Id="rId11" Type="http://schemas.openxmlformats.org/officeDocument/2006/relationships/image" Target="../media/image13.png"/><Relationship Id="rId1" Type="http://schemas.openxmlformats.org/officeDocument/2006/relationships/slideLayout" Target="../slideLayouts/slideLayout541.xml"/><Relationship Id="rId2" Type="http://schemas.openxmlformats.org/officeDocument/2006/relationships/slideLayout" Target="../slideLayouts/slideLayout542.xml"/></Relationships>
</file>

<file path=ppt/slideMasters/_rels/slideMaster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52.xml"/><Relationship Id="rId4" Type="http://schemas.openxmlformats.org/officeDocument/2006/relationships/slideLayout" Target="../slideLayouts/slideLayout553.xml"/><Relationship Id="rId5" Type="http://schemas.openxmlformats.org/officeDocument/2006/relationships/slideLayout" Target="../slideLayouts/slideLayout554.xml"/><Relationship Id="rId6" Type="http://schemas.openxmlformats.org/officeDocument/2006/relationships/slideLayout" Target="../slideLayouts/slideLayout555.xml"/><Relationship Id="rId7" Type="http://schemas.openxmlformats.org/officeDocument/2006/relationships/theme" Target="../theme/theme38.xml"/><Relationship Id="rId8" Type="http://schemas.openxmlformats.org/officeDocument/2006/relationships/image" Target="../media/image13.png"/><Relationship Id="rId1" Type="http://schemas.openxmlformats.org/officeDocument/2006/relationships/slideLayout" Target="../slideLayouts/slideLayout550.xml"/><Relationship Id="rId2" Type="http://schemas.openxmlformats.org/officeDocument/2006/relationships/slideLayout" Target="../slideLayouts/slideLayout551.xml"/></Relationships>
</file>

<file path=ppt/slideMasters/_rels/slideMaster39.xml.rels><?xml version="1.0" encoding="UTF-8" standalone="yes"?>
<Relationships xmlns="http://schemas.openxmlformats.org/package/2006/relationships"><Relationship Id="rId46" Type="http://schemas.openxmlformats.org/officeDocument/2006/relationships/theme" Target="../theme/theme39.xml"/><Relationship Id="rId47" Type="http://schemas.openxmlformats.org/officeDocument/2006/relationships/image" Target="../media/image39.png"/><Relationship Id="rId48" Type="http://schemas.openxmlformats.org/officeDocument/2006/relationships/image" Target="../media/image2.png"/><Relationship Id="rId20" Type="http://schemas.openxmlformats.org/officeDocument/2006/relationships/slideLayout" Target="../slideLayouts/slideLayout575.xml"/><Relationship Id="rId21" Type="http://schemas.openxmlformats.org/officeDocument/2006/relationships/slideLayout" Target="../slideLayouts/slideLayout576.xml"/><Relationship Id="rId22" Type="http://schemas.openxmlformats.org/officeDocument/2006/relationships/slideLayout" Target="../slideLayouts/slideLayout577.xml"/><Relationship Id="rId23" Type="http://schemas.openxmlformats.org/officeDocument/2006/relationships/slideLayout" Target="../slideLayouts/slideLayout578.xml"/><Relationship Id="rId24" Type="http://schemas.openxmlformats.org/officeDocument/2006/relationships/slideLayout" Target="../slideLayouts/slideLayout579.xml"/><Relationship Id="rId25" Type="http://schemas.openxmlformats.org/officeDocument/2006/relationships/slideLayout" Target="../slideLayouts/slideLayout580.xml"/><Relationship Id="rId26" Type="http://schemas.openxmlformats.org/officeDocument/2006/relationships/slideLayout" Target="../slideLayouts/slideLayout581.xml"/><Relationship Id="rId27" Type="http://schemas.openxmlformats.org/officeDocument/2006/relationships/slideLayout" Target="../slideLayouts/slideLayout582.xml"/><Relationship Id="rId28" Type="http://schemas.openxmlformats.org/officeDocument/2006/relationships/slideLayout" Target="../slideLayouts/slideLayout583.xml"/><Relationship Id="rId29" Type="http://schemas.openxmlformats.org/officeDocument/2006/relationships/slideLayout" Target="../slideLayouts/slideLayout584.xml"/><Relationship Id="rId1" Type="http://schemas.openxmlformats.org/officeDocument/2006/relationships/slideLayout" Target="../slideLayouts/slideLayout556.xml"/><Relationship Id="rId2" Type="http://schemas.openxmlformats.org/officeDocument/2006/relationships/slideLayout" Target="../slideLayouts/slideLayout557.xml"/><Relationship Id="rId3" Type="http://schemas.openxmlformats.org/officeDocument/2006/relationships/slideLayout" Target="../slideLayouts/slideLayout558.xml"/><Relationship Id="rId4" Type="http://schemas.openxmlformats.org/officeDocument/2006/relationships/slideLayout" Target="../slideLayouts/slideLayout559.xml"/><Relationship Id="rId5" Type="http://schemas.openxmlformats.org/officeDocument/2006/relationships/slideLayout" Target="../slideLayouts/slideLayout560.xml"/><Relationship Id="rId30" Type="http://schemas.openxmlformats.org/officeDocument/2006/relationships/slideLayout" Target="../slideLayouts/slideLayout585.xml"/><Relationship Id="rId31" Type="http://schemas.openxmlformats.org/officeDocument/2006/relationships/slideLayout" Target="../slideLayouts/slideLayout586.xml"/><Relationship Id="rId32" Type="http://schemas.openxmlformats.org/officeDocument/2006/relationships/slideLayout" Target="../slideLayouts/slideLayout587.xml"/><Relationship Id="rId9" Type="http://schemas.openxmlformats.org/officeDocument/2006/relationships/slideLayout" Target="../slideLayouts/slideLayout564.xml"/><Relationship Id="rId6" Type="http://schemas.openxmlformats.org/officeDocument/2006/relationships/slideLayout" Target="../slideLayouts/slideLayout561.xml"/><Relationship Id="rId7" Type="http://schemas.openxmlformats.org/officeDocument/2006/relationships/slideLayout" Target="../slideLayouts/slideLayout562.xml"/><Relationship Id="rId8" Type="http://schemas.openxmlformats.org/officeDocument/2006/relationships/slideLayout" Target="../slideLayouts/slideLayout563.xml"/><Relationship Id="rId33" Type="http://schemas.openxmlformats.org/officeDocument/2006/relationships/slideLayout" Target="../slideLayouts/slideLayout588.xml"/><Relationship Id="rId34" Type="http://schemas.openxmlformats.org/officeDocument/2006/relationships/slideLayout" Target="../slideLayouts/slideLayout589.xml"/><Relationship Id="rId35" Type="http://schemas.openxmlformats.org/officeDocument/2006/relationships/slideLayout" Target="../slideLayouts/slideLayout590.xml"/><Relationship Id="rId36" Type="http://schemas.openxmlformats.org/officeDocument/2006/relationships/slideLayout" Target="../slideLayouts/slideLayout591.xml"/><Relationship Id="rId10" Type="http://schemas.openxmlformats.org/officeDocument/2006/relationships/slideLayout" Target="../slideLayouts/slideLayout565.xml"/><Relationship Id="rId11" Type="http://schemas.openxmlformats.org/officeDocument/2006/relationships/slideLayout" Target="../slideLayouts/slideLayout566.xml"/><Relationship Id="rId12" Type="http://schemas.openxmlformats.org/officeDocument/2006/relationships/slideLayout" Target="../slideLayouts/slideLayout567.xml"/><Relationship Id="rId13" Type="http://schemas.openxmlformats.org/officeDocument/2006/relationships/slideLayout" Target="../slideLayouts/slideLayout568.xml"/><Relationship Id="rId14" Type="http://schemas.openxmlformats.org/officeDocument/2006/relationships/slideLayout" Target="../slideLayouts/slideLayout569.xml"/><Relationship Id="rId15" Type="http://schemas.openxmlformats.org/officeDocument/2006/relationships/slideLayout" Target="../slideLayouts/slideLayout570.xml"/><Relationship Id="rId16" Type="http://schemas.openxmlformats.org/officeDocument/2006/relationships/slideLayout" Target="../slideLayouts/slideLayout571.xml"/><Relationship Id="rId17" Type="http://schemas.openxmlformats.org/officeDocument/2006/relationships/slideLayout" Target="../slideLayouts/slideLayout572.xml"/><Relationship Id="rId18" Type="http://schemas.openxmlformats.org/officeDocument/2006/relationships/slideLayout" Target="../slideLayouts/slideLayout573.xml"/><Relationship Id="rId19" Type="http://schemas.openxmlformats.org/officeDocument/2006/relationships/slideLayout" Target="../slideLayouts/slideLayout574.xml"/><Relationship Id="rId37" Type="http://schemas.openxmlformats.org/officeDocument/2006/relationships/slideLayout" Target="../slideLayouts/slideLayout592.xml"/><Relationship Id="rId38" Type="http://schemas.openxmlformats.org/officeDocument/2006/relationships/slideLayout" Target="../slideLayouts/slideLayout593.xml"/><Relationship Id="rId39" Type="http://schemas.openxmlformats.org/officeDocument/2006/relationships/slideLayout" Target="../slideLayouts/slideLayout594.xml"/><Relationship Id="rId40" Type="http://schemas.openxmlformats.org/officeDocument/2006/relationships/slideLayout" Target="../slideLayouts/slideLayout595.xml"/><Relationship Id="rId41" Type="http://schemas.openxmlformats.org/officeDocument/2006/relationships/slideLayout" Target="../slideLayouts/slideLayout596.xml"/><Relationship Id="rId42" Type="http://schemas.openxmlformats.org/officeDocument/2006/relationships/slideLayout" Target="../slideLayouts/slideLayout597.xml"/><Relationship Id="rId43" Type="http://schemas.openxmlformats.org/officeDocument/2006/relationships/slideLayout" Target="../slideLayouts/slideLayout598.xml"/><Relationship Id="rId44" Type="http://schemas.openxmlformats.org/officeDocument/2006/relationships/slideLayout" Target="../slideLayouts/slideLayout599.xml"/><Relationship Id="rId45" Type="http://schemas.openxmlformats.org/officeDocument/2006/relationships/slideLayout" Target="../slideLayouts/slideLayout600.xml"/></Relationships>
</file>

<file path=ppt/slideMasters/_rels/slideMaster4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98.xml"/><Relationship Id="rId21" Type="http://schemas.openxmlformats.org/officeDocument/2006/relationships/slideLayout" Target="../slideLayouts/slideLayout99.xml"/><Relationship Id="rId22" Type="http://schemas.openxmlformats.org/officeDocument/2006/relationships/slideLayout" Target="../slideLayouts/slideLayout100.xml"/><Relationship Id="rId23" Type="http://schemas.openxmlformats.org/officeDocument/2006/relationships/slideLayout" Target="../slideLayouts/slideLayout101.xml"/><Relationship Id="rId24" Type="http://schemas.openxmlformats.org/officeDocument/2006/relationships/slideLayout" Target="../slideLayouts/slideLayout102.xml"/><Relationship Id="rId25" Type="http://schemas.openxmlformats.org/officeDocument/2006/relationships/slideLayout" Target="../slideLayouts/slideLayout103.xml"/><Relationship Id="rId26" Type="http://schemas.openxmlformats.org/officeDocument/2006/relationships/slideLayout" Target="../slideLayouts/slideLayout104.xml"/><Relationship Id="rId27" Type="http://schemas.openxmlformats.org/officeDocument/2006/relationships/slideLayout" Target="../slideLayouts/slideLayout105.xml"/><Relationship Id="rId28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79.xml"/><Relationship Id="rId2" Type="http://schemas.openxmlformats.org/officeDocument/2006/relationships/slideLayout" Target="../slideLayouts/slideLayout80.xml"/><Relationship Id="rId3" Type="http://schemas.openxmlformats.org/officeDocument/2006/relationships/slideLayout" Target="../slideLayouts/slideLayout81.xml"/><Relationship Id="rId4" Type="http://schemas.openxmlformats.org/officeDocument/2006/relationships/slideLayout" Target="../slideLayouts/slideLayout82.xml"/><Relationship Id="rId5" Type="http://schemas.openxmlformats.org/officeDocument/2006/relationships/slideLayout" Target="../slideLayouts/slideLayout83.xml"/><Relationship Id="rId30" Type="http://schemas.openxmlformats.org/officeDocument/2006/relationships/slideLayout" Target="../slideLayouts/slideLayout108.xml"/><Relationship Id="rId31" Type="http://schemas.openxmlformats.org/officeDocument/2006/relationships/slideLayout" Target="../slideLayouts/slideLayout109.xml"/><Relationship Id="rId32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87.xml"/><Relationship Id="rId6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5.xml"/><Relationship Id="rId8" Type="http://schemas.openxmlformats.org/officeDocument/2006/relationships/slideLayout" Target="../slideLayouts/slideLayout86.xml"/><Relationship Id="rId33" Type="http://schemas.openxmlformats.org/officeDocument/2006/relationships/slideLayout" Target="../slideLayouts/slideLayout111.xml"/><Relationship Id="rId34" Type="http://schemas.openxmlformats.org/officeDocument/2006/relationships/slideLayout" Target="../slideLayouts/slideLayout112.xml"/><Relationship Id="rId35" Type="http://schemas.openxmlformats.org/officeDocument/2006/relationships/slideLayout" Target="../slideLayouts/slideLayout113.xml"/><Relationship Id="rId36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93.xml"/><Relationship Id="rId16" Type="http://schemas.openxmlformats.org/officeDocument/2006/relationships/slideLayout" Target="../slideLayouts/slideLayout94.xml"/><Relationship Id="rId17" Type="http://schemas.openxmlformats.org/officeDocument/2006/relationships/slideLayout" Target="../slideLayouts/slideLayout95.xml"/><Relationship Id="rId18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97.xml"/><Relationship Id="rId37" Type="http://schemas.openxmlformats.org/officeDocument/2006/relationships/theme" Target="../theme/theme4.xml"/><Relationship Id="rId38" Type="http://schemas.openxmlformats.org/officeDocument/2006/relationships/image" Target="../media/image2.png"/></Relationships>
</file>

<file path=ppt/slideMasters/_rels/slideMaster40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620.xml"/><Relationship Id="rId21" Type="http://schemas.openxmlformats.org/officeDocument/2006/relationships/slideLayout" Target="../slideLayouts/slideLayout621.xml"/><Relationship Id="rId22" Type="http://schemas.openxmlformats.org/officeDocument/2006/relationships/slideLayout" Target="../slideLayouts/slideLayout622.xml"/><Relationship Id="rId23" Type="http://schemas.openxmlformats.org/officeDocument/2006/relationships/slideLayout" Target="../slideLayouts/slideLayout623.xml"/><Relationship Id="rId24" Type="http://schemas.openxmlformats.org/officeDocument/2006/relationships/slideLayout" Target="../slideLayouts/slideLayout624.xml"/><Relationship Id="rId25" Type="http://schemas.openxmlformats.org/officeDocument/2006/relationships/slideLayout" Target="../slideLayouts/slideLayout625.xml"/><Relationship Id="rId26" Type="http://schemas.openxmlformats.org/officeDocument/2006/relationships/slideLayout" Target="../slideLayouts/slideLayout626.xml"/><Relationship Id="rId27" Type="http://schemas.openxmlformats.org/officeDocument/2006/relationships/slideLayout" Target="../slideLayouts/slideLayout627.xml"/><Relationship Id="rId28" Type="http://schemas.openxmlformats.org/officeDocument/2006/relationships/slideLayout" Target="../slideLayouts/slideLayout628.xml"/><Relationship Id="rId29" Type="http://schemas.openxmlformats.org/officeDocument/2006/relationships/slideLayout" Target="../slideLayouts/slideLayout629.xml"/><Relationship Id="rId1" Type="http://schemas.openxmlformats.org/officeDocument/2006/relationships/slideLayout" Target="../slideLayouts/slideLayout601.xml"/><Relationship Id="rId2" Type="http://schemas.openxmlformats.org/officeDocument/2006/relationships/slideLayout" Target="../slideLayouts/slideLayout602.xml"/><Relationship Id="rId3" Type="http://schemas.openxmlformats.org/officeDocument/2006/relationships/slideLayout" Target="../slideLayouts/slideLayout603.xml"/><Relationship Id="rId4" Type="http://schemas.openxmlformats.org/officeDocument/2006/relationships/slideLayout" Target="../slideLayouts/slideLayout604.xml"/><Relationship Id="rId5" Type="http://schemas.openxmlformats.org/officeDocument/2006/relationships/slideLayout" Target="../slideLayouts/slideLayout605.xml"/><Relationship Id="rId30" Type="http://schemas.openxmlformats.org/officeDocument/2006/relationships/slideLayout" Target="../slideLayouts/slideLayout630.xml"/><Relationship Id="rId31" Type="http://schemas.openxmlformats.org/officeDocument/2006/relationships/slideLayout" Target="../slideLayouts/slideLayout631.xml"/><Relationship Id="rId32" Type="http://schemas.openxmlformats.org/officeDocument/2006/relationships/slideLayout" Target="../slideLayouts/slideLayout632.xml"/><Relationship Id="rId9" Type="http://schemas.openxmlformats.org/officeDocument/2006/relationships/slideLayout" Target="../slideLayouts/slideLayout609.xml"/><Relationship Id="rId6" Type="http://schemas.openxmlformats.org/officeDocument/2006/relationships/slideLayout" Target="../slideLayouts/slideLayout606.xml"/><Relationship Id="rId7" Type="http://schemas.openxmlformats.org/officeDocument/2006/relationships/slideLayout" Target="../slideLayouts/slideLayout607.xml"/><Relationship Id="rId8" Type="http://schemas.openxmlformats.org/officeDocument/2006/relationships/slideLayout" Target="../slideLayouts/slideLayout608.xml"/><Relationship Id="rId33" Type="http://schemas.openxmlformats.org/officeDocument/2006/relationships/slideLayout" Target="../slideLayouts/slideLayout633.xml"/><Relationship Id="rId34" Type="http://schemas.openxmlformats.org/officeDocument/2006/relationships/slideLayout" Target="../slideLayouts/slideLayout634.xml"/><Relationship Id="rId35" Type="http://schemas.openxmlformats.org/officeDocument/2006/relationships/slideLayout" Target="../slideLayouts/slideLayout635.xml"/><Relationship Id="rId36" Type="http://schemas.openxmlformats.org/officeDocument/2006/relationships/slideLayout" Target="../slideLayouts/slideLayout636.xml"/><Relationship Id="rId10" Type="http://schemas.openxmlformats.org/officeDocument/2006/relationships/slideLayout" Target="../slideLayouts/slideLayout610.xml"/><Relationship Id="rId11" Type="http://schemas.openxmlformats.org/officeDocument/2006/relationships/slideLayout" Target="../slideLayouts/slideLayout611.xml"/><Relationship Id="rId12" Type="http://schemas.openxmlformats.org/officeDocument/2006/relationships/slideLayout" Target="../slideLayouts/slideLayout612.xml"/><Relationship Id="rId13" Type="http://schemas.openxmlformats.org/officeDocument/2006/relationships/slideLayout" Target="../slideLayouts/slideLayout613.xml"/><Relationship Id="rId14" Type="http://schemas.openxmlformats.org/officeDocument/2006/relationships/slideLayout" Target="../slideLayouts/slideLayout614.xml"/><Relationship Id="rId15" Type="http://schemas.openxmlformats.org/officeDocument/2006/relationships/slideLayout" Target="../slideLayouts/slideLayout615.xml"/><Relationship Id="rId16" Type="http://schemas.openxmlformats.org/officeDocument/2006/relationships/slideLayout" Target="../slideLayouts/slideLayout616.xml"/><Relationship Id="rId17" Type="http://schemas.openxmlformats.org/officeDocument/2006/relationships/slideLayout" Target="../slideLayouts/slideLayout617.xml"/><Relationship Id="rId18" Type="http://schemas.openxmlformats.org/officeDocument/2006/relationships/slideLayout" Target="../slideLayouts/slideLayout618.xml"/><Relationship Id="rId19" Type="http://schemas.openxmlformats.org/officeDocument/2006/relationships/slideLayout" Target="../slideLayouts/slideLayout619.xml"/><Relationship Id="rId37" Type="http://schemas.openxmlformats.org/officeDocument/2006/relationships/slideLayout" Target="../slideLayouts/slideLayout637.xml"/><Relationship Id="rId38" Type="http://schemas.openxmlformats.org/officeDocument/2006/relationships/slideLayout" Target="../slideLayouts/slideLayout638.xml"/><Relationship Id="rId39" Type="http://schemas.openxmlformats.org/officeDocument/2006/relationships/slideLayout" Target="../slideLayouts/slideLayout639.xml"/><Relationship Id="rId40" Type="http://schemas.openxmlformats.org/officeDocument/2006/relationships/slideLayout" Target="../slideLayouts/slideLayout640.xml"/><Relationship Id="rId41" Type="http://schemas.openxmlformats.org/officeDocument/2006/relationships/slideLayout" Target="../slideLayouts/slideLayout641.xml"/><Relationship Id="rId42" Type="http://schemas.openxmlformats.org/officeDocument/2006/relationships/slideLayout" Target="../slideLayouts/slideLayout642.xml"/><Relationship Id="rId43" Type="http://schemas.openxmlformats.org/officeDocument/2006/relationships/slideLayout" Target="../slideLayouts/slideLayout643.xml"/><Relationship Id="rId44" Type="http://schemas.openxmlformats.org/officeDocument/2006/relationships/theme" Target="../theme/theme40.xml"/><Relationship Id="rId45" Type="http://schemas.openxmlformats.org/officeDocument/2006/relationships/image" Target="../media/image46.png"/></Relationships>
</file>

<file path=ppt/slideMasters/_rels/slideMaster41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663.xml"/><Relationship Id="rId21" Type="http://schemas.openxmlformats.org/officeDocument/2006/relationships/slideLayout" Target="../slideLayouts/slideLayout664.xml"/><Relationship Id="rId22" Type="http://schemas.openxmlformats.org/officeDocument/2006/relationships/slideLayout" Target="../slideLayouts/slideLayout665.xml"/><Relationship Id="rId23" Type="http://schemas.openxmlformats.org/officeDocument/2006/relationships/slideLayout" Target="../slideLayouts/slideLayout666.xml"/><Relationship Id="rId24" Type="http://schemas.openxmlformats.org/officeDocument/2006/relationships/slideLayout" Target="../slideLayouts/slideLayout667.xml"/><Relationship Id="rId25" Type="http://schemas.openxmlformats.org/officeDocument/2006/relationships/slideLayout" Target="../slideLayouts/slideLayout668.xml"/><Relationship Id="rId26" Type="http://schemas.openxmlformats.org/officeDocument/2006/relationships/slideLayout" Target="../slideLayouts/slideLayout669.xml"/><Relationship Id="rId27" Type="http://schemas.openxmlformats.org/officeDocument/2006/relationships/slideLayout" Target="../slideLayouts/slideLayout670.xml"/><Relationship Id="rId28" Type="http://schemas.openxmlformats.org/officeDocument/2006/relationships/slideLayout" Target="../slideLayouts/slideLayout671.xml"/><Relationship Id="rId29" Type="http://schemas.openxmlformats.org/officeDocument/2006/relationships/slideLayout" Target="../slideLayouts/slideLayout672.xml"/><Relationship Id="rId1" Type="http://schemas.openxmlformats.org/officeDocument/2006/relationships/slideLayout" Target="../slideLayouts/slideLayout644.xml"/><Relationship Id="rId2" Type="http://schemas.openxmlformats.org/officeDocument/2006/relationships/slideLayout" Target="../slideLayouts/slideLayout645.xml"/><Relationship Id="rId3" Type="http://schemas.openxmlformats.org/officeDocument/2006/relationships/slideLayout" Target="../slideLayouts/slideLayout646.xml"/><Relationship Id="rId4" Type="http://schemas.openxmlformats.org/officeDocument/2006/relationships/slideLayout" Target="../slideLayouts/slideLayout647.xml"/><Relationship Id="rId5" Type="http://schemas.openxmlformats.org/officeDocument/2006/relationships/slideLayout" Target="../slideLayouts/slideLayout648.xml"/><Relationship Id="rId30" Type="http://schemas.openxmlformats.org/officeDocument/2006/relationships/slideLayout" Target="../slideLayouts/slideLayout673.xml"/><Relationship Id="rId31" Type="http://schemas.openxmlformats.org/officeDocument/2006/relationships/slideLayout" Target="../slideLayouts/slideLayout674.xml"/><Relationship Id="rId32" Type="http://schemas.openxmlformats.org/officeDocument/2006/relationships/slideLayout" Target="../slideLayouts/slideLayout675.xml"/><Relationship Id="rId9" Type="http://schemas.openxmlformats.org/officeDocument/2006/relationships/slideLayout" Target="../slideLayouts/slideLayout652.xml"/><Relationship Id="rId6" Type="http://schemas.openxmlformats.org/officeDocument/2006/relationships/slideLayout" Target="../slideLayouts/slideLayout649.xml"/><Relationship Id="rId7" Type="http://schemas.openxmlformats.org/officeDocument/2006/relationships/slideLayout" Target="../slideLayouts/slideLayout650.xml"/><Relationship Id="rId8" Type="http://schemas.openxmlformats.org/officeDocument/2006/relationships/slideLayout" Target="../slideLayouts/slideLayout651.xml"/><Relationship Id="rId33" Type="http://schemas.openxmlformats.org/officeDocument/2006/relationships/slideLayout" Target="../slideLayouts/slideLayout676.xml"/><Relationship Id="rId34" Type="http://schemas.openxmlformats.org/officeDocument/2006/relationships/slideLayout" Target="../slideLayouts/slideLayout677.xml"/><Relationship Id="rId35" Type="http://schemas.openxmlformats.org/officeDocument/2006/relationships/slideLayout" Target="../slideLayouts/slideLayout678.xml"/><Relationship Id="rId36" Type="http://schemas.openxmlformats.org/officeDocument/2006/relationships/slideLayout" Target="../slideLayouts/slideLayout679.xml"/><Relationship Id="rId10" Type="http://schemas.openxmlformats.org/officeDocument/2006/relationships/slideLayout" Target="../slideLayouts/slideLayout653.xml"/><Relationship Id="rId11" Type="http://schemas.openxmlformats.org/officeDocument/2006/relationships/slideLayout" Target="../slideLayouts/slideLayout654.xml"/><Relationship Id="rId12" Type="http://schemas.openxmlformats.org/officeDocument/2006/relationships/slideLayout" Target="../slideLayouts/slideLayout655.xml"/><Relationship Id="rId13" Type="http://schemas.openxmlformats.org/officeDocument/2006/relationships/slideLayout" Target="../slideLayouts/slideLayout656.xml"/><Relationship Id="rId14" Type="http://schemas.openxmlformats.org/officeDocument/2006/relationships/slideLayout" Target="../slideLayouts/slideLayout657.xml"/><Relationship Id="rId15" Type="http://schemas.openxmlformats.org/officeDocument/2006/relationships/slideLayout" Target="../slideLayouts/slideLayout658.xml"/><Relationship Id="rId16" Type="http://schemas.openxmlformats.org/officeDocument/2006/relationships/slideLayout" Target="../slideLayouts/slideLayout659.xml"/><Relationship Id="rId17" Type="http://schemas.openxmlformats.org/officeDocument/2006/relationships/slideLayout" Target="../slideLayouts/slideLayout660.xml"/><Relationship Id="rId18" Type="http://schemas.openxmlformats.org/officeDocument/2006/relationships/slideLayout" Target="../slideLayouts/slideLayout661.xml"/><Relationship Id="rId19" Type="http://schemas.openxmlformats.org/officeDocument/2006/relationships/slideLayout" Target="../slideLayouts/slideLayout662.xml"/><Relationship Id="rId37" Type="http://schemas.openxmlformats.org/officeDocument/2006/relationships/slideLayout" Target="../slideLayouts/slideLayout680.xml"/><Relationship Id="rId38" Type="http://schemas.openxmlformats.org/officeDocument/2006/relationships/slideLayout" Target="../slideLayouts/slideLayout681.xml"/><Relationship Id="rId39" Type="http://schemas.openxmlformats.org/officeDocument/2006/relationships/slideLayout" Target="../slideLayouts/slideLayout682.xml"/><Relationship Id="rId40" Type="http://schemas.openxmlformats.org/officeDocument/2006/relationships/slideLayout" Target="../slideLayouts/slideLayout683.xml"/><Relationship Id="rId41" Type="http://schemas.openxmlformats.org/officeDocument/2006/relationships/slideLayout" Target="../slideLayouts/slideLayout684.xml"/><Relationship Id="rId42" Type="http://schemas.openxmlformats.org/officeDocument/2006/relationships/slideLayout" Target="../slideLayouts/slideLayout685.xml"/><Relationship Id="rId43" Type="http://schemas.openxmlformats.org/officeDocument/2006/relationships/slideLayout" Target="../slideLayouts/slideLayout686.xml"/><Relationship Id="rId44" Type="http://schemas.openxmlformats.org/officeDocument/2006/relationships/theme" Target="../theme/theme41.xml"/><Relationship Id="rId45" Type="http://schemas.openxmlformats.org/officeDocument/2006/relationships/image" Target="../media/image46.png"/></Relationships>
</file>

<file path=ppt/slideMasters/_rels/slideMaster42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706.xml"/><Relationship Id="rId21" Type="http://schemas.openxmlformats.org/officeDocument/2006/relationships/slideLayout" Target="../slideLayouts/slideLayout707.xml"/><Relationship Id="rId22" Type="http://schemas.openxmlformats.org/officeDocument/2006/relationships/slideLayout" Target="../slideLayouts/slideLayout708.xml"/><Relationship Id="rId23" Type="http://schemas.openxmlformats.org/officeDocument/2006/relationships/slideLayout" Target="../slideLayouts/slideLayout709.xml"/><Relationship Id="rId24" Type="http://schemas.openxmlformats.org/officeDocument/2006/relationships/slideLayout" Target="../slideLayouts/slideLayout710.xml"/><Relationship Id="rId25" Type="http://schemas.openxmlformats.org/officeDocument/2006/relationships/slideLayout" Target="../slideLayouts/slideLayout711.xml"/><Relationship Id="rId26" Type="http://schemas.openxmlformats.org/officeDocument/2006/relationships/slideLayout" Target="../slideLayouts/slideLayout712.xml"/><Relationship Id="rId27" Type="http://schemas.openxmlformats.org/officeDocument/2006/relationships/slideLayout" Target="../slideLayouts/slideLayout713.xml"/><Relationship Id="rId28" Type="http://schemas.openxmlformats.org/officeDocument/2006/relationships/slideLayout" Target="../slideLayouts/slideLayout714.xml"/><Relationship Id="rId29" Type="http://schemas.openxmlformats.org/officeDocument/2006/relationships/slideLayout" Target="../slideLayouts/slideLayout715.xml"/><Relationship Id="rId1" Type="http://schemas.openxmlformats.org/officeDocument/2006/relationships/slideLayout" Target="../slideLayouts/slideLayout687.xml"/><Relationship Id="rId2" Type="http://schemas.openxmlformats.org/officeDocument/2006/relationships/slideLayout" Target="../slideLayouts/slideLayout688.xml"/><Relationship Id="rId3" Type="http://schemas.openxmlformats.org/officeDocument/2006/relationships/slideLayout" Target="../slideLayouts/slideLayout689.xml"/><Relationship Id="rId4" Type="http://schemas.openxmlformats.org/officeDocument/2006/relationships/slideLayout" Target="../slideLayouts/slideLayout690.xml"/><Relationship Id="rId5" Type="http://schemas.openxmlformats.org/officeDocument/2006/relationships/slideLayout" Target="../slideLayouts/slideLayout691.xml"/><Relationship Id="rId30" Type="http://schemas.openxmlformats.org/officeDocument/2006/relationships/slideLayout" Target="../slideLayouts/slideLayout716.xml"/><Relationship Id="rId31" Type="http://schemas.openxmlformats.org/officeDocument/2006/relationships/slideLayout" Target="../slideLayouts/slideLayout717.xml"/><Relationship Id="rId32" Type="http://schemas.openxmlformats.org/officeDocument/2006/relationships/slideLayout" Target="../slideLayouts/slideLayout718.xml"/><Relationship Id="rId9" Type="http://schemas.openxmlformats.org/officeDocument/2006/relationships/slideLayout" Target="../slideLayouts/slideLayout695.xml"/><Relationship Id="rId6" Type="http://schemas.openxmlformats.org/officeDocument/2006/relationships/slideLayout" Target="../slideLayouts/slideLayout692.xml"/><Relationship Id="rId7" Type="http://schemas.openxmlformats.org/officeDocument/2006/relationships/slideLayout" Target="../slideLayouts/slideLayout693.xml"/><Relationship Id="rId8" Type="http://schemas.openxmlformats.org/officeDocument/2006/relationships/slideLayout" Target="../slideLayouts/slideLayout694.xml"/><Relationship Id="rId33" Type="http://schemas.openxmlformats.org/officeDocument/2006/relationships/slideLayout" Target="../slideLayouts/slideLayout719.xml"/><Relationship Id="rId34" Type="http://schemas.openxmlformats.org/officeDocument/2006/relationships/slideLayout" Target="../slideLayouts/slideLayout720.xml"/><Relationship Id="rId35" Type="http://schemas.openxmlformats.org/officeDocument/2006/relationships/slideLayout" Target="../slideLayouts/slideLayout721.xml"/><Relationship Id="rId36" Type="http://schemas.openxmlformats.org/officeDocument/2006/relationships/slideLayout" Target="../slideLayouts/slideLayout722.xml"/><Relationship Id="rId10" Type="http://schemas.openxmlformats.org/officeDocument/2006/relationships/slideLayout" Target="../slideLayouts/slideLayout696.xml"/><Relationship Id="rId11" Type="http://schemas.openxmlformats.org/officeDocument/2006/relationships/slideLayout" Target="../slideLayouts/slideLayout697.xml"/><Relationship Id="rId12" Type="http://schemas.openxmlformats.org/officeDocument/2006/relationships/slideLayout" Target="../slideLayouts/slideLayout698.xml"/><Relationship Id="rId13" Type="http://schemas.openxmlformats.org/officeDocument/2006/relationships/slideLayout" Target="../slideLayouts/slideLayout699.xml"/><Relationship Id="rId14" Type="http://schemas.openxmlformats.org/officeDocument/2006/relationships/slideLayout" Target="../slideLayouts/slideLayout700.xml"/><Relationship Id="rId15" Type="http://schemas.openxmlformats.org/officeDocument/2006/relationships/slideLayout" Target="../slideLayouts/slideLayout701.xml"/><Relationship Id="rId16" Type="http://schemas.openxmlformats.org/officeDocument/2006/relationships/slideLayout" Target="../slideLayouts/slideLayout702.xml"/><Relationship Id="rId17" Type="http://schemas.openxmlformats.org/officeDocument/2006/relationships/slideLayout" Target="../slideLayouts/slideLayout703.xml"/><Relationship Id="rId18" Type="http://schemas.openxmlformats.org/officeDocument/2006/relationships/slideLayout" Target="../slideLayouts/slideLayout704.xml"/><Relationship Id="rId19" Type="http://schemas.openxmlformats.org/officeDocument/2006/relationships/slideLayout" Target="../slideLayouts/slideLayout705.xml"/><Relationship Id="rId37" Type="http://schemas.openxmlformats.org/officeDocument/2006/relationships/slideLayout" Target="../slideLayouts/slideLayout723.xml"/><Relationship Id="rId38" Type="http://schemas.openxmlformats.org/officeDocument/2006/relationships/slideLayout" Target="../slideLayouts/slideLayout724.xml"/><Relationship Id="rId39" Type="http://schemas.openxmlformats.org/officeDocument/2006/relationships/slideLayout" Target="../slideLayouts/slideLayout725.xml"/><Relationship Id="rId40" Type="http://schemas.openxmlformats.org/officeDocument/2006/relationships/slideLayout" Target="../slideLayouts/slideLayout726.xml"/><Relationship Id="rId41" Type="http://schemas.openxmlformats.org/officeDocument/2006/relationships/slideLayout" Target="../slideLayouts/slideLayout727.xml"/><Relationship Id="rId42" Type="http://schemas.openxmlformats.org/officeDocument/2006/relationships/slideLayout" Target="../slideLayouts/slideLayout728.xml"/><Relationship Id="rId43" Type="http://schemas.openxmlformats.org/officeDocument/2006/relationships/slideLayout" Target="../slideLayouts/slideLayout729.xml"/><Relationship Id="rId44" Type="http://schemas.openxmlformats.org/officeDocument/2006/relationships/theme" Target="../theme/theme42.xml"/><Relationship Id="rId45" Type="http://schemas.openxmlformats.org/officeDocument/2006/relationships/image" Target="../media/image46.png"/></Relationships>
</file>

<file path=ppt/slideMasters/_rels/slideMaster43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749.xml"/><Relationship Id="rId21" Type="http://schemas.openxmlformats.org/officeDocument/2006/relationships/slideLayout" Target="../slideLayouts/slideLayout750.xml"/><Relationship Id="rId22" Type="http://schemas.openxmlformats.org/officeDocument/2006/relationships/slideLayout" Target="../slideLayouts/slideLayout751.xml"/><Relationship Id="rId23" Type="http://schemas.openxmlformats.org/officeDocument/2006/relationships/slideLayout" Target="../slideLayouts/slideLayout752.xml"/><Relationship Id="rId24" Type="http://schemas.openxmlformats.org/officeDocument/2006/relationships/slideLayout" Target="../slideLayouts/slideLayout753.xml"/><Relationship Id="rId25" Type="http://schemas.openxmlformats.org/officeDocument/2006/relationships/slideLayout" Target="../slideLayouts/slideLayout754.xml"/><Relationship Id="rId26" Type="http://schemas.openxmlformats.org/officeDocument/2006/relationships/slideLayout" Target="../slideLayouts/slideLayout755.xml"/><Relationship Id="rId27" Type="http://schemas.openxmlformats.org/officeDocument/2006/relationships/slideLayout" Target="../slideLayouts/slideLayout756.xml"/><Relationship Id="rId28" Type="http://schemas.openxmlformats.org/officeDocument/2006/relationships/slideLayout" Target="../slideLayouts/slideLayout757.xml"/><Relationship Id="rId29" Type="http://schemas.openxmlformats.org/officeDocument/2006/relationships/slideLayout" Target="../slideLayouts/slideLayout758.xml"/><Relationship Id="rId1" Type="http://schemas.openxmlformats.org/officeDocument/2006/relationships/slideLayout" Target="../slideLayouts/slideLayout730.xml"/><Relationship Id="rId2" Type="http://schemas.openxmlformats.org/officeDocument/2006/relationships/slideLayout" Target="../slideLayouts/slideLayout731.xml"/><Relationship Id="rId3" Type="http://schemas.openxmlformats.org/officeDocument/2006/relationships/slideLayout" Target="../slideLayouts/slideLayout732.xml"/><Relationship Id="rId4" Type="http://schemas.openxmlformats.org/officeDocument/2006/relationships/slideLayout" Target="../slideLayouts/slideLayout733.xml"/><Relationship Id="rId5" Type="http://schemas.openxmlformats.org/officeDocument/2006/relationships/slideLayout" Target="../slideLayouts/slideLayout734.xml"/><Relationship Id="rId30" Type="http://schemas.openxmlformats.org/officeDocument/2006/relationships/slideLayout" Target="../slideLayouts/slideLayout759.xml"/><Relationship Id="rId31" Type="http://schemas.openxmlformats.org/officeDocument/2006/relationships/slideLayout" Target="../slideLayouts/slideLayout760.xml"/><Relationship Id="rId32" Type="http://schemas.openxmlformats.org/officeDocument/2006/relationships/slideLayout" Target="../slideLayouts/slideLayout761.xml"/><Relationship Id="rId9" Type="http://schemas.openxmlformats.org/officeDocument/2006/relationships/slideLayout" Target="../slideLayouts/slideLayout738.xml"/><Relationship Id="rId6" Type="http://schemas.openxmlformats.org/officeDocument/2006/relationships/slideLayout" Target="../slideLayouts/slideLayout735.xml"/><Relationship Id="rId7" Type="http://schemas.openxmlformats.org/officeDocument/2006/relationships/slideLayout" Target="../slideLayouts/slideLayout736.xml"/><Relationship Id="rId8" Type="http://schemas.openxmlformats.org/officeDocument/2006/relationships/slideLayout" Target="../slideLayouts/slideLayout737.xml"/><Relationship Id="rId33" Type="http://schemas.openxmlformats.org/officeDocument/2006/relationships/slideLayout" Target="../slideLayouts/slideLayout762.xml"/><Relationship Id="rId34" Type="http://schemas.openxmlformats.org/officeDocument/2006/relationships/slideLayout" Target="../slideLayouts/slideLayout763.xml"/><Relationship Id="rId35" Type="http://schemas.openxmlformats.org/officeDocument/2006/relationships/slideLayout" Target="../slideLayouts/slideLayout764.xml"/><Relationship Id="rId36" Type="http://schemas.openxmlformats.org/officeDocument/2006/relationships/slideLayout" Target="../slideLayouts/slideLayout765.xml"/><Relationship Id="rId10" Type="http://schemas.openxmlformats.org/officeDocument/2006/relationships/slideLayout" Target="../slideLayouts/slideLayout739.xml"/><Relationship Id="rId11" Type="http://schemas.openxmlformats.org/officeDocument/2006/relationships/slideLayout" Target="../slideLayouts/slideLayout740.xml"/><Relationship Id="rId12" Type="http://schemas.openxmlformats.org/officeDocument/2006/relationships/slideLayout" Target="../slideLayouts/slideLayout741.xml"/><Relationship Id="rId13" Type="http://schemas.openxmlformats.org/officeDocument/2006/relationships/slideLayout" Target="../slideLayouts/slideLayout742.xml"/><Relationship Id="rId14" Type="http://schemas.openxmlformats.org/officeDocument/2006/relationships/slideLayout" Target="../slideLayouts/slideLayout743.xml"/><Relationship Id="rId15" Type="http://schemas.openxmlformats.org/officeDocument/2006/relationships/slideLayout" Target="../slideLayouts/slideLayout744.xml"/><Relationship Id="rId16" Type="http://schemas.openxmlformats.org/officeDocument/2006/relationships/slideLayout" Target="../slideLayouts/slideLayout745.xml"/><Relationship Id="rId17" Type="http://schemas.openxmlformats.org/officeDocument/2006/relationships/slideLayout" Target="../slideLayouts/slideLayout746.xml"/><Relationship Id="rId18" Type="http://schemas.openxmlformats.org/officeDocument/2006/relationships/slideLayout" Target="../slideLayouts/slideLayout747.xml"/><Relationship Id="rId19" Type="http://schemas.openxmlformats.org/officeDocument/2006/relationships/slideLayout" Target="../slideLayouts/slideLayout748.xml"/><Relationship Id="rId37" Type="http://schemas.openxmlformats.org/officeDocument/2006/relationships/slideLayout" Target="../slideLayouts/slideLayout766.xml"/><Relationship Id="rId38" Type="http://schemas.openxmlformats.org/officeDocument/2006/relationships/slideLayout" Target="../slideLayouts/slideLayout767.xml"/><Relationship Id="rId39" Type="http://schemas.openxmlformats.org/officeDocument/2006/relationships/slideLayout" Target="../slideLayouts/slideLayout768.xml"/><Relationship Id="rId40" Type="http://schemas.openxmlformats.org/officeDocument/2006/relationships/slideLayout" Target="../slideLayouts/slideLayout769.xml"/><Relationship Id="rId41" Type="http://schemas.openxmlformats.org/officeDocument/2006/relationships/slideLayout" Target="../slideLayouts/slideLayout770.xml"/><Relationship Id="rId42" Type="http://schemas.openxmlformats.org/officeDocument/2006/relationships/slideLayout" Target="../slideLayouts/slideLayout771.xml"/><Relationship Id="rId43" Type="http://schemas.openxmlformats.org/officeDocument/2006/relationships/theme" Target="../theme/theme43.xml"/><Relationship Id="rId44" Type="http://schemas.openxmlformats.org/officeDocument/2006/relationships/image" Target="../media/image46.png"/></Relationships>
</file>

<file path=ppt/slideMasters/_rels/slideMaster44.xml.rels><?xml version="1.0" encoding="UTF-8" standalone="yes"?>
<Relationships xmlns="http://schemas.openxmlformats.org/package/2006/relationships"><Relationship Id="rId11" Type="http://schemas.openxmlformats.org/officeDocument/2006/relationships/theme" Target="../theme/theme44.xml"/><Relationship Id="rId12" Type="http://schemas.openxmlformats.org/officeDocument/2006/relationships/image" Target="../media/image46.png"/><Relationship Id="rId1" Type="http://schemas.openxmlformats.org/officeDocument/2006/relationships/slideLayout" Target="../slideLayouts/slideLayout772.xml"/><Relationship Id="rId2" Type="http://schemas.openxmlformats.org/officeDocument/2006/relationships/slideLayout" Target="../slideLayouts/slideLayout773.xml"/><Relationship Id="rId3" Type="http://schemas.openxmlformats.org/officeDocument/2006/relationships/slideLayout" Target="../slideLayouts/slideLayout774.xml"/><Relationship Id="rId4" Type="http://schemas.openxmlformats.org/officeDocument/2006/relationships/slideLayout" Target="../slideLayouts/slideLayout775.xml"/><Relationship Id="rId5" Type="http://schemas.openxmlformats.org/officeDocument/2006/relationships/slideLayout" Target="../slideLayouts/slideLayout776.xml"/><Relationship Id="rId6" Type="http://schemas.openxmlformats.org/officeDocument/2006/relationships/slideLayout" Target="../slideLayouts/slideLayout777.xml"/><Relationship Id="rId7" Type="http://schemas.openxmlformats.org/officeDocument/2006/relationships/slideLayout" Target="../slideLayouts/slideLayout778.xml"/><Relationship Id="rId8" Type="http://schemas.openxmlformats.org/officeDocument/2006/relationships/slideLayout" Target="../slideLayouts/slideLayout779.xml"/><Relationship Id="rId9" Type="http://schemas.openxmlformats.org/officeDocument/2006/relationships/slideLayout" Target="../slideLayouts/slideLayout780.xml"/><Relationship Id="rId10" Type="http://schemas.openxmlformats.org/officeDocument/2006/relationships/slideLayout" Target="../slideLayouts/slideLayout781.xml"/></Relationships>
</file>

<file path=ppt/slideMasters/_rels/slideMaster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84.xml"/><Relationship Id="rId4" Type="http://schemas.openxmlformats.org/officeDocument/2006/relationships/slideLayout" Target="../slideLayouts/slideLayout785.xml"/><Relationship Id="rId5" Type="http://schemas.openxmlformats.org/officeDocument/2006/relationships/slideLayout" Target="../slideLayouts/slideLayout786.xml"/><Relationship Id="rId6" Type="http://schemas.openxmlformats.org/officeDocument/2006/relationships/slideLayout" Target="../slideLayouts/slideLayout787.xml"/><Relationship Id="rId7" Type="http://schemas.openxmlformats.org/officeDocument/2006/relationships/slideLayout" Target="../slideLayouts/slideLayout788.xml"/><Relationship Id="rId8" Type="http://schemas.openxmlformats.org/officeDocument/2006/relationships/slideLayout" Target="../slideLayouts/slideLayout789.xml"/><Relationship Id="rId9" Type="http://schemas.openxmlformats.org/officeDocument/2006/relationships/slideLayout" Target="../slideLayouts/slideLayout790.xml"/><Relationship Id="rId10" Type="http://schemas.openxmlformats.org/officeDocument/2006/relationships/theme" Target="../theme/theme45.xml"/><Relationship Id="rId11" Type="http://schemas.openxmlformats.org/officeDocument/2006/relationships/image" Target="../media/image46.png"/><Relationship Id="rId1" Type="http://schemas.openxmlformats.org/officeDocument/2006/relationships/slideLayout" Target="../slideLayouts/slideLayout782.xml"/><Relationship Id="rId2" Type="http://schemas.openxmlformats.org/officeDocument/2006/relationships/slideLayout" Target="../slideLayouts/slideLayout783.xml"/></Relationships>
</file>

<file path=ppt/slideMasters/_rels/slideMaster46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810.xml"/><Relationship Id="rId21" Type="http://schemas.openxmlformats.org/officeDocument/2006/relationships/slideLayout" Target="../slideLayouts/slideLayout811.xml"/><Relationship Id="rId22" Type="http://schemas.openxmlformats.org/officeDocument/2006/relationships/slideLayout" Target="../slideLayouts/slideLayout812.xml"/><Relationship Id="rId23" Type="http://schemas.openxmlformats.org/officeDocument/2006/relationships/slideLayout" Target="../slideLayouts/slideLayout813.xml"/><Relationship Id="rId24" Type="http://schemas.openxmlformats.org/officeDocument/2006/relationships/slideLayout" Target="../slideLayouts/slideLayout814.xml"/><Relationship Id="rId25" Type="http://schemas.openxmlformats.org/officeDocument/2006/relationships/slideLayout" Target="../slideLayouts/slideLayout815.xml"/><Relationship Id="rId26" Type="http://schemas.openxmlformats.org/officeDocument/2006/relationships/slideLayout" Target="../slideLayouts/slideLayout816.xml"/><Relationship Id="rId27" Type="http://schemas.openxmlformats.org/officeDocument/2006/relationships/slideLayout" Target="../slideLayouts/slideLayout817.xml"/><Relationship Id="rId28" Type="http://schemas.openxmlformats.org/officeDocument/2006/relationships/slideLayout" Target="../slideLayouts/slideLayout818.xml"/><Relationship Id="rId29" Type="http://schemas.openxmlformats.org/officeDocument/2006/relationships/slideLayout" Target="../slideLayouts/slideLayout819.xml"/><Relationship Id="rId1" Type="http://schemas.openxmlformats.org/officeDocument/2006/relationships/slideLayout" Target="../slideLayouts/slideLayout791.xml"/><Relationship Id="rId2" Type="http://schemas.openxmlformats.org/officeDocument/2006/relationships/slideLayout" Target="../slideLayouts/slideLayout792.xml"/><Relationship Id="rId3" Type="http://schemas.openxmlformats.org/officeDocument/2006/relationships/slideLayout" Target="../slideLayouts/slideLayout793.xml"/><Relationship Id="rId4" Type="http://schemas.openxmlformats.org/officeDocument/2006/relationships/slideLayout" Target="../slideLayouts/slideLayout794.xml"/><Relationship Id="rId5" Type="http://schemas.openxmlformats.org/officeDocument/2006/relationships/slideLayout" Target="../slideLayouts/slideLayout795.xml"/><Relationship Id="rId30" Type="http://schemas.openxmlformats.org/officeDocument/2006/relationships/slideLayout" Target="../slideLayouts/slideLayout820.xml"/><Relationship Id="rId31" Type="http://schemas.openxmlformats.org/officeDocument/2006/relationships/slideLayout" Target="../slideLayouts/slideLayout821.xml"/><Relationship Id="rId32" Type="http://schemas.openxmlformats.org/officeDocument/2006/relationships/slideLayout" Target="../slideLayouts/slideLayout822.xml"/><Relationship Id="rId9" Type="http://schemas.openxmlformats.org/officeDocument/2006/relationships/slideLayout" Target="../slideLayouts/slideLayout799.xml"/><Relationship Id="rId6" Type="http://schemas.openxmlformats.org/officeDocument/2006/relationships/slideLayout" Target="../slideLayouts/slideLayout796.xml"/><Relationship Id="rId7" Type="http://schemas.openxmlformats.org/officeDocument/2006/relationships/slideLayout" Target="../slideLayouts/slideLayout797.xml"/><Relationship Id="rId8" Type="http://schemas.openxmlformats.org/officeDocument/2006/relationships/slideLayout" Target="../slideLayouts/slideLayout798.xml"/><Relationship Id="rId33" Type="http://schemas.openxmlformats.org/officeDocument/2006/relationships/slideLayout" Target="../slideLayouts/slideLayout823.xml"/><Relationship Id="rId34" Type="http://schemas.openxmlformats.org/officeDocument/2006/relationships/slideLayout" Target="../slideLayouts/slideLayout824.xml"/><Relationship Id="rId35" Type="http://schemas.openxmlformats.org/officeDocument/2006/relationships/slideLayout" Target="../slideLayouts/slideLayout825.xml"/><Relationship Id="rId36" Type="http://schemas.openxmlformats.org/officeDocument/2006/relationships/slideLayout" Target="../slideLayouts/slideLayout826.xml"/><Relationship Id="rId10" Type="http://schemas.openxmlformats.org/officeDocument/2006/relationships/slideLayout" Target="../slideLayouts/slideLayout800.xml"/><Relationship Id="rId11" Type="http://schemas.openxmlformats.org/officeDocument/2006/relationships/slideLayout" Target="../slideLayouts/slideLayout801.xml"/><Relationship Id="rId12" Type="http://schemas.openxmlformats.org/officeDocument/2006/relationships/slideLayout" Target="../slideLayouts/slideLayout802.xml"/><Relationship Id="rId13" Type="http://schemas.openxmlformats.org/officeDocument/2006/relationships/slideLayout" Target="../slideLayouts/slideLayout803.xml"/><Relationship Id="rId14" Type="http://schemas.openxmlformats.org/officeDocument/2006/relationships/slideLayout" Target="../slideLayouts/slideLayout804.xml"/><Relationship Id="rId15" Type="http://schemas.openxmlformats.org/officeDocument/2006/relationships/slideLayout" Target="../slideLayouts/slideLayout805.xml"/><Relationship Id="rId16" Type="http://schemas.openxmlformats.org/officeDocument/2006/relationships/slideLayout" Target="../slideLayouts/slideLayout806.xml"/><Relationship Id="rId17" Type="http://schemas.openxmlformats.org/officeDocument/2006/relationships/slideLayout" Target="../slideLayouts/slideLayout807.xml"/><Relationship Id="rId18" Type="http://schemas.openxmlformats.org/officeDocument/2006/relationships/slideLayout" Target="../slideLayouts/slideLayout808.xml"/><Relationship Id="rId19" Type="http://schemas.openxmlformats.org/officeDocument/2006/relationships/slideLayout" Target="../slideLayouts/slideLayout809.xml"/><Relationship Id="rId37" Type="http://schemas.openxmlformats.org/officeDocument/2006/relationships/slideLayout" Target="../slideLayouts/slideLayout827.xml"/><Relationship Id="rId38" Type="http://schemas.openxmlformats.org/officeDocument/2006/relationships/slideLayout" Target="../slideLayouts/slideLayout828.xml"/><Relationship Id="rId39" Type="http://schemas.openxmlformats.org/officeDocument/2006/relationships/theme" Target="../theme/theme46.xml"/><Relationship Id="rId40" Type="http://schemas.openxmlformats.org/officeDocument/2006/relationships/image" Target="../media/image53.png"/><Relationship Id="rId41" Type="http://schemas.openxmlformats.org/officeDocument/2006/relationships/image" Target="../media/image46.png"/></Relationships>
</file>

<file path=ppt/slideMasters/_rels/slideMaster47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839.xml"/><Relationship Id="rId12" Type="http://schemas.openxmlformats.org/officeDocument/2006/relationships/slideLayout" Target="../slideLayouts/slideLayout840.xml"/><Relationship Id="rId13" Type="http://schemas.openxmlformats.org/officeDocument/2006/relationships/theme" Target="../theme/theme47.xml"/><Relationship Id="rId14" Type="http://schemas.openxmlformats.org/officeDocument/2006/relationships/image" Target="../media/image13.png"/><Relationship Id="rId1" Type="http://schemas.openxmlformats.org/officeDocument/2006/relationships/slideLayout" Target="../slideLayouts/slideLayout829.xml"/><Relationship Id="rId2" Type="http://schemas.openxmlformats.org/officeDocument/2006/relationships/slideLayout" Target="../slideLayouts/slideLayout830.xml"/><Relationship Id="rId3" Type="http://schemas.openxmlformats.org/officeDocument/2006/relationships/slideLayout" Target="../slideLayouts/slideLayout831.xml"/><Relationship Id="rId4" Type="http://schemas.openxmlformats.org/officeDocument/2006/relationships/slideLayout" Target="../slideLayouts/slideLayout832.xml"/><Relationship Id="rId5" Type="http://schemas.openxmlformats.org/officeDocument/2006/relationships/slideLayout" Target="../slideLayouts/slideLayout833.xml"/><Relationship Id="rId6" Type="http://schemas.openxmlformats.org/officeDocument/2006/relationships/slideLayout" Target="../slideLayouts/slideLayout834.xml"/><Relationship Id="rId7" Type="http://schemas.openxmlformats.org/officeDocument/2006/relationships/slideLayout" Target="../slideLayouts/slideLayout835.xml"/><Relationship Id="rId8" Type="http://schemas.openxmlformats.org/officeDocument/2006/relationships/slideLayout" Target="../slideLayouts/slideLayout836.xml"/><Relationship Id="rId9" Type="http://schemas.openxmlformats.org/officeDocument/2006/relationships/slideLayout" Target="../slideLayouts/slideLayout837.xml"/><Relationship Id="rId10" Type="http://schemas.openxmlformats.org/officeDocument/2006/relationships/slideLayout" Target="../slideLayouts/slideLayout838.xml"/></Relationships>
</file>

<file path=ppt/slideMasters/_rels/slideMaster4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3.xml"/><Relationship Id="rId14" Type="http://schemas.openxmlformats.org/officeDocument/2006/relationships/slideLayout" Target="../slideLayouts/slideLayout854.xml"/><Relationship Id="rId15" Type="http://schemas.openxmlformats.org/officeDocument/2006/relationships/slideLayout" Target="../slideLayouts/slideLayout855.xml"/><Relationship Id="rId16" Type="http://schemas.openxmlformats.org/officeDocument/2006/relationships/slideLayout" Target="../slideLayouts/slideLayout856.xml"/><Relationship Id="rId17" Type="http://schemas.openxmlformats.org/officeDocument/2006/relationships/slideLayout" Target="../slideLayouts/slideLayout857.xml"/><Relationship Id="rId18" Type="http://schemas.openxmlformats.org/officeDocument/2006/relationships/slideLayout" Target="../slideLayouts/slideLayout858.xml"/><Relationship Id="rId19" Type="http://schemas.openxmlformats.org/officeDocument/2006/relationships/slideLayout" Target="../slideLayouts/slideLayout859.xml"/><Relationship Id="rId63" Type="http://schemas.openxmlformats.org/officeDocument/2006/relationships/slideLayout" Target="../slideLayouts/slideLayout903.xml"/><Relationship Id="rId64" Type="http://schemas.openxmlformats.org/officeDocument/2006/relationships/slideLayout" Target="../slideLayouts/slideLayout904.xml"/><Relationship Id="rId65" Type="http://schemas.openxmlformats.org/officeDocument/2006/relationships/slideLayout" Target="../slideLayouts/slideLayout905.xml"/><Relationship Id="rId66" Type="http://schemas.openxmlformats.org/officeDocument/2006/relationships/slideLayout" Target="../slideLayouts/slideLayout906.xml"/><Relationship Id="rId67" Type="http://schemas.openxmlformats.org/officeDocument/2006/relationships/slideLayout" Target="../slideLayouts/slideLayout907.xml"/><Relationship Id="rId68" Type="http://schemas.openxmlformats.org/officeDocument/2006/relationships/slideLayout" Target="../slideLayouts/slideLayout908.xml"/><Relationship Id="rId69" Type="http://schemas.openxmlformats.org/officeDocument/2006/relationships/theme" Target="../theme/theme48.xml"/><Relationship Id="rId50" Type="http://schemas.openxmlformats.org/officeDocument/2006/relationships/slideLayout" Target="../slideLayouts/slideLayout890.xml"/><Relationship Id="rId51" Type="http://schemas.openxmlformats.org/officeDocument/2006/relationships/slideLayout" Target="../slideLayouts/slideLayout891.xml"/><Relationship Id="rId52" Type="http://schemas.openxmlformats.org/officeDocument/2006/relationships/slideLayout" Target="../slideLayouts/slideLayout892.xml"/><Relationship Id="rId53" Type="http://schemas.openxmlformats.org/officeDocument/2006/relationships/slideLayout" Target="../slideLayouts/slideLayout893.xml"/><Relationship Id="rId54" Type="http://schemas.openxmlformats.org/officeDocument/2006/relationships/slideLayout" Target="../slideLayouts/slideLayout894.xml"/><Relationship Id="rId55" Type="http://schemas.openxmlformats.org/officeDocument/2006/relationships/slideLayout" Target="../slideLayouts/slideLayout895.xml"/><Relationship Id="rId56" Type="http://schemas.openxmlformats.org/officeDocument/2006/relationships/slideLayout" Target="../slideLayouts/slideLayout896.xml"/><Relationship Id="rId57" Type="http://schemas.openxmlformats.org/officeDocument/2006/relationships/slideLayout" Target="../slideLayouts/slideLayout897.xml"/><Relationship Id="rId58" Type="http://schemas.openxmlformats.org/officeDocument/2006/relationships/slideLayout" Target="../slideLayouts/slideLayout898.xml"/><Relationship Id="rId59" Type="http://schemas.openxmlformats.org/officeDocument/2006/relationships/slideLayout" Target="../slideLayouts/slideLayout899.xml"/><Relationship Id="rId40" Type="http://schemas.openxmlformats.org/officeDocument/2006/relationships/slideLayout" Target="../slideLayouts/slideLayout880.xml"/><Relationship Id="rId41" Type="http://schemas.openxmlformats.org/officeDocument/2006/relationships/slideLayout" Target="../slideLayouts/slideLayout881.xml"/><Relationship Id="rId42" Type="http://schemas.openxmlformats.org/officeDocument/2006/relationships/slideLayout" Target="../slideLayouts/slideLayout882.xml"/><Relationship Id="rId43" Type="http://schemas.openxmlformats.org/officeDocument/2006/relationships/slideLayout" Target="../slideLayouts/slideLayout883.xml"/><Relationship Id="rId44" Type="http://schemas.openxmlformats.org/officeDocument/2006/relationships/slideLayout" Target="../slideLayouts/slideLayout884.xml"/><Relationship Id="rId45" Type="http://schemas.openxmlformats.org/officeDocument/2006/relationships/slideLayout" Target="../slideLayouts/slideLayout885.xml"/><Relationship Id="rId46" Type="http://schemas.openxmlformats.org/officeDocument/2006/relationships/slideLayout" Target="../slideLayouts/slideLayout886.xml"/><Relationship Id="rId47" Type="http://schemas.openxmlformats.org/officeDocument/2006/relationships/slideLayout" Target="../slideLayouts/slideLayout887.xml"/><Relationship Id="rId48" Type="http://schemas.openxmlformats.org/officeDocument/2006/relationships/slideLayout" Target="../slideLayouts/slideLayout888.xml"/><Relationship Id="rId49" Type="http://schemas.openxmlformats.org/officeDocument/2006/relationships/slideLayout" Target="../slideLayouts/slideLayout889.xml"/><Relationship Id="rId1" Type="http://schemas.openxmlformats.org/officeDocument/2006/relationships/slideLayout" Target="../slideLayouts/slideLayout841.xml"/><Relationship Id="rId2" Type="http://schemas.openxmlformats.org/officeDocument/2006/relationships/slideLayout" Target="../slideLayouts/slideLayout842.xml"/><Relationship Id="rId3" Type="http://schemas.openxmlformats.org/officeDocument/2006/relationships/slideLayout" Target="../slideLayouts/slideLayout843.xml"/><Relationship Id="rId4" Type="http://schemas.openxmlformats.org/officeDocument/2006/relationships/slideLayout" Target="../slideLayouts/slideLayout844.xml"/><Relationship Id="rId5" Type="http://schemas.openxmlformats.org/officeDocument/2006/relationships/slideLayout" Target="../slideLayouts/slideLayout845.xml"/><Relationship Id="rId6" Type="http://schemas.openxmlformats.org/officeDocument/2006/relationships/slideLayout" Target="../slideLayouts/slideLayout846.xml"/><Relationship Id="rId7" Type="http://schemas.openxmlformats.org/officeDocument/2006/relationships/slideLayout" Target="../slideLayouts/slideLayout847.xml"/><Relationship Id="rId8" Type="http://schemas.openxmlformats.org/officeDocument/2006/relationships/slideLayout" Target="../slideLayouts/slideLayout848.xml"/><Relationship Id="rId9" Type="http://schemas.openxmlformats.org/officeDocument/2006/relationships/slideLayout" Target="../slideLayouts/slideLayout849.xml"/><Relationship Id="rId30" Type="http://schemas.openxmlformats.org/officeDocument/2006/relationships/slideLayout" Target="../slideLayouts/slideLayout870.xml"/><Relationship Id="rId31" Type="http://schemas.openxmlformats.org/officeDocument/2006/relationships/slideLayout" Target="../slideLayouts/slideLayout871.xml"/><Relationship Id="rId32" Type="http://schemas.openxmlformats.org/officeDocument/2006/relationships/slideLayout" Target="../slideLayouts/slideLayout872.xml"/><Relationship Id="rId33" Type="http://schemas.openxmlformats.org/officeDocument/2006/relationships/slideLayout" Target="../slideLayouts/slideLayout873.xml"/><Relationship Id="rId34" Type="http://schemas.openxmlformats.org/officeDocument/2006/relationships/slideLayout" Target="../slideLayouts/slideLayout874.xml"/><Relationship Id="rId35" Type="http://schemas.openxmlformats.org/officeDocument/2006/relationships/slideLayout" Target="../slideLayouts/slideLayout875.xml"/><Relationship Id="rId36" Type="http://schemas.openxmlformats.org/officeDocument/2006/relationships/slideLayout" Target="../slideLayouts/slideLayout876.xml"/><Relationship Id="rId37" Type="http://schemas.openxmlformats.org/officeDocument/2006/relationships/slideLayout" Target="../slideLayouts/slideLayout877.xml"/><Relationship Id="rId38" Type="http://schemas.openxmlformats.org/officeDocument/2006/relationships/slideLayout" Target="../slideLayouts/slideLayout878.xml"/><Relationship Id="rId39" Type="http://schemas.openxmlformats.org/officeDocument/2006/relationships/slideLayout" Target="../slideLayouts/slideLayout879.xml"/><Relationship Id="rId20" Type="http://schemas.openxmlformats.org/officeDocument/2006/relationships/slideLayout" Target="../slideLayouts/slideLayout860.xml"/><Relationship Id="rId21" Type="http://schemas.openxmlformats.org/officeDocument/2006/relationships/slideLayout" Target="../slideLayouts/slideLayout861.xml"/><Relationship Id="rId22" Type="http://schemas.openxmlformats.org/officeDocument/2006/relationships/slideLayout" Target="../slideLayouts/slideLayout862.xml"/><Relationship Id="rId23" Type="http://schemas.openxmlformats.org/officeDocument/2006/relationships/slideLayout" Target="../slideLayouts/slideLayout863.xml"/><Relationship Id="rId24" Type="http://schemas.openxmlformats.org/officeDocument/2006/relationships/slideLayout" Target="../slideLayouts/slideLayout864.xml"/><Relationship Id="rId25" Type="http://schemas.openxmlformats.org/officeDocument/2006/relationships/slideLayout" Target="../slideLayouts/slideLayout865.xml"/><Relationship Id="rId26" Type="http://schemas.openxmlformats.org/officeDocument/2006/relationships/slideLayout" Target="../slideLayouts/slideLayout866.xml"/><Relationship Id="rId27" Type="http://schemas.openxmlformats.org/officeDocument/2006/relationships/slideLayout" Target="../slideLayouts/slideLayout867.xml"/><Relationship Id="rId28" Type="http://schemas.openxmlformats.org/officeDocument/2006/relationships/slideLayout" Target="../slideLayouts/slideLayout868.xml"/><Relationship Id="rId29" Type="http://schemas.openxmlformats.org/officeDocument/2006/relationships/slideLayout" Target="../slideLayouts/slideLayout869.xml"/><Relationship Id="rId60" Type="http://schemas.openxmlformats.org/officeDocument/2006/relationships/slideLayout" Target="../slideLayouts/slideLayout900.xml"/><Relationship Id="rId61" Type="http://schemas.openxmlformats.org/officeDocument/2006/relationships/slideLayout" Target="../slideLayouts/slideLayout901.xml"/><Relationship Id="rId62" Type="http://schemas.openxmlformats.org/officeDocument/2006/relationships/slideLayout" Target="../slideLayouts/slideLayout902.xml"/><Relationship Id="rId10" Type="http://schemas.openxmlformats.org/officeDocument/2006/relationships/slideLayout" Target="../slideLayouts/slideLayout850.xml"/><Relationship Id="rId11" Type="http://schemas.openxmlformats.org/officeDocument/2006/relationships/slideLayout" Target="../slideLayouts/slideLayout851.xml"/><Relationship Id="rId12" Type="http://schemas.openxmlformats.org/officeDocument/2006/relationships/slideLayout" Target="../slideLayouts/slideLayout852.xml"/></Relationships>
</file>

<file path=ppt/slideMasters/_rels/slideMaster4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17.xml"/><Relationship Id="rId20" Type="http://schemas.openxmlformats.org/officeDocument/2006/relationships/slideLayout" Target="../slideLayouts/slideLayout928.xml"/><Relationship Id="rId21" Type="http://schemas.openxmlformats.org/officeDocument/2006/relationships/slideLayout" Target="../slideLayouts/slideLayout929.xml"/><Relationship Id="rId22" Type="http://schemas.openxmlformats.org/officeDocument/2006/relationships/slideLayout" Target="../slideLayouts/slideLayout930.xml"/><Relationship Id="rId23" Type="http://schemas.openxmlformats.org/officeDocument/2006/relationships/slideLayout" Target="../slideLayouts/slideLayout931.xml"/><Relationship Id="rId24" Type="http://schemas.openxmlformats.org/officeDocument/2006/relationships/slideLayout" Target="../slideLayouts/slideLayout932.xml"/><Relationship Id="rId25" Type="http://schemas.openxmlformats.org/officeDocument/2006/relationships/slideLayout" Target="../slideLayouts/slideLayout933.xml"/><Relationship Id="rId26" Type="http://schemas.openxmlformats.org/officeDocument/2006/relationships/slideLayout" Target="../slideLayouts/slideLayout934.xml"/><Relationship Id="rId27" Type="http://schemas.openxmlformats.org/officeDocument/2006/relationships/slideLayout" Target="../slideLayouts/slideLayout935.xml"/><Relationship Id="rId28" Type="http://schemas.openxmlformats.org/officeDocument/2006/relationships/slideLayout" Target="../slideLayouts/slideLayout936.xml"/><Relationship Id="rId29" Type="http://schemas.openxmlformats.org/officeDocument/2006/relationships/slideLayout" Target="../slideLayouts/slideLayout937.xml"/><Relationship Id="rId30" Type="http://schemas.openxmlformats.org/officeDocument/2006/relationships/slideLayout" Target="../slideLayouts/slideLayout938.xml"/><Relationship Id="rId31" Type="http://schemas.openxmlformats.org/officeDocument/2006/relationships/slideLayout" Target="../slideLayouts/slideLayout939.xml"/><Relationship Id="rId32" Type="http://schemas.openxmlformats.org/officeDocument/2006/relationships/theme" Target="../theme/theme49.xml"/><Relationship Id="rId10" Type="http://schemas.openxmlformats.org/officeDocument/2006/relationships/slideLayout" Target="../slideLayouts/slideLayout918.xml"/><Relationship Id="rId11" Type="http://schemas.openxmlformats.org/officeDocument/2006/relationships/slideLayout" Target="../slideLayouts/slideLayout919.xml"/><Relationship Id="rId12" Type="http://schemas.openxmlformats.org/officeDocument/2006/relationships/slideLayout" Target="../slideLayouts/slideLayout920.xml"/><Relationship Id="rId13" Type="http://schemas.openxmlformats.org/officeDocument/2006/relationships/slideLayout" Target="../slideLayouts/slideLayout921.xml"/><Relationship Id="rId14" Type="http://schemas.openxmlformats.org/officeDocument/2006/relationships/slideLayout" Target="../slideLayouts/slideLayout922.xml"/><Relationship Id="rId15" Type="http://schemas.openxmlformats.org/officeDocument/2006/relationships/slideLayout" Target="../slideLayouts/slideLayout923.xml"/><Relationship Id="rId16" Type="http://schemas.openxmlformats.org/officeDocument/2006/relationships/slideLayout" Target="../slideLayouts/slideLayout924.xml"/><Relationship Id="rId17" Type="http://schemas.openxmlformats.org/officeDocument/2006/relationships/slideLayout" Target="../slideLayouts/slideLayout925.xml"/><Relationship Id="rId18" Type="http://schemas.openxmlformats.org/officeDocument/2006/relationships/slideLayout" Target="../slideLayouts/slideLayout926.xml"/><Relationship Id="rId19" Type="http://schemas.openxmlformats.org/officeDocument/2006/relationships/slideLayout" Target="../slideLayouts/slideLayout927.xml"/><Relationship Id="rId1" Type="http://schemas.openxmlformats.org/officeDocument/2006/relationships/slideLayout" Target="../slideLayouts/slideLayout909.xml"/><Relationship Id="rId2" Type="http://schemas.openxmlformats.org/officeDocument/2006/relationships/slideLayout" Target="../slideLayouts/slideLayout910.xml"/><Relationship Id="rId3" Type="http://schemas.openxmlformats.org/officeDocument/2006/relationships/slideLayout" Target="../slideLayouts/slideLayout911.xml"/><Relationship Id="rId4" Type="http://schemas.openxmlformats.org/officeDocument/2006/relationships/slideLayout" Target="../slideLayouts/slideLayout912.xml"/><Relationship Id="rId5" Type="http://schemas.openxmlformats.org/officeDocument/2006/relationships/slideLayout" Target="../slideLayouts/slideLayout913.xml"/><Relationship Id="rId6" Type="http://schemas.openxmlformats.org/officeDocument/2006/relationships/slideLayout" Target="../slideLayouts/slideLayout914.xml"/><Relationship Id="rId7" Type="http://schemas.openxmlformats.org/officeDocument/2006/relationships/slideLayout" Target="../slideLayouts/slideLayout915.xml"/><Relationship Id="rId8" Type="http://schemas.openxmlformats.org/officeDocument/2006/relationships/slideLayout" Target="../slideLayouts/slideLayout916.xml"/></Relationships>
</file>

<file path=ppt/slideMasters/_rels/slideMaster5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135.xml"/><Relationship Id="rId22" Type="http://schemas.openxmlformats.org/officeDocument/2006/relationships/slideLayout" Target="../slideLayouts/slideLayout136.xml"/><Relationship Id="rId23" Type="http://schemas.openxmlformats.org/officeDocument/2006/relationships/slideLayout" Target="../slideLayouts/slideLayout137.xml"/><Relationship Id="rId24" Type="http://schemas.openxmlformats.org/officeDocument/2006/relationships/slideLayout" Target="../slideLayouts/slideLayout138.xml"/><Relationship Id="rId25" Type="http://schemas.openxmlformats.org/officeDocument/2006/relationships/slideLayout" Target="../slideLayouts/slideLayout139.xml"/><Relationship Id="rId26" Type="http://schemas.openxmlformats.org/officeDocument/2006/relationships/slideLayout" Target="../slideLayouts/slideLayout140.xml"/><Relationship Id="rId27" Type="http://schemas.openxmlformats.org/officeDocument/2006/relationships/slideLayout" Target="../slideLayouts/slideLayout141.xml"/><Relationship Id="rId28" Type="http://schemas.openxmlformats.org/officeDocument/2006/relationships/slideLayout" Target="../slideLayouts/slideLayout142.xml"/><Relationship Id="rId29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9.xml"/><Relationship Id="rId30" Type="http://schemas.openxmlformats.org/officeDocument/2006/relationships/slideLayout" Target="../slideLayouts/slideLayout144.xml"/><Relationship Id="rId31" Type="http://schemas.openxmlformats.org/officeDocument/2006/relationships/slideLayout" Target="../slideLayouts/slideLayout145.xml"/><Relationship Id="rId32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1.xml"/><Relationship Id="rId8" Type="http://schemas.openxmlformats.org/officeDocument/2006/relationships/slideLayout" Target="../slideLayouts/slideLayout122.xml"/><Relationship Id="rId33" Type="http://schemas.openxmlformats.org/officeDocument/2006/relationships/slideLayout" Target="../slideLayouts/slideLayout147.xml"/><Relationship Id="rId34" Type="http://schemas.openxmlformats.org/officeDocument/2006/relationships/slideLayout" Target="../slideLayouts/slideLayout148.xml"/><Relationship Id="rId35" Type="http://schemas.openxmlformats.org/officeDocument/2006/relationships/slideLayout" Target="../slideLayouts/slideLayout149.xml"/><Relationship Id="rId36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28.xml"/><Relationship Id="rId15" Type="http://schemas.openxmlformats.org/officeDocument/2006/relationships/slideLayout" Target="../slideLayouts/slideLayout129.xml"/><Relationship Id="rId16" Type="http://schemas.openxmlformats.org/officeDocument/2006/relationships/slideLayout" Target="../slideLayouts/slideLayout130.xml"/><Relationship Id="rId17" Type="http://schemas.openxmlformats.org/officeDocument/2006/relationships/slideLayout" Target="../slideLayouts/slideLayout131.xml"/><Relationship Id="rId18" Type="http://schemas.openxmlformats.org/officeDocument/2006/relationships/slideLayout" Target="../slideLayouts/slideLayout132.xml"/><Relationship Id="rId19" Type="http://schemas.openxmlformats.org/officeDocument/2006/relationships/slideLayout" Target="../slideLayouts/slideLayout133.xml"/><Relationship Id="rId37" Type="http://schemas.openxmlformats.org/officeDocument/2006/relationships/slideLayout" Target="../slideLayouts/slideLayout151.xml"/><Relationship Id="rId38" Type="http://schemas.openxmlformats.org/officeDocument/2006/relationships/slideLayout" Target="../slideLayouts/slideLayout152.xml"/><Relationship Id="rId39" Type="http://schemas.openxmlformats.org/officeDocument/2006/relationships/slideLayout" Target="../slideLayouts/slideLayout153.xml"/><Relationship Id="rId40" Type="http://schemas.openxmlformats.org/officeDocument/2006/relationships/slideLayout" Target="../slideLayouts/slideLayout154.xml"/><Relationship Id="rId41" Type="http://schemas.openxmlformats.org/officeDocument/2006/relationships/theme" Target="../theme/theme5.xml"/></Relationships>
</file>

<file path=ppt/slideMasters/_rels/slideMaster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0.xml"/><Relationship Id="rId2" Type="http://schemas.openxmlformats.org/officeDocument/2006/relationships/slideLayout" Target="../slideLayouts/slideLayout941.xml"/><Relationship Id="rId3" Type="http://schemas.openxmlformats.org/officeDocument/2006/relationships/theme" Target="../theme/theme50.xml"/></Relationships>
</file>

<file path=ppt/slideMasters/_rels/slideMaster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2.xml"/><Relationship Id="rId2" Type="http://schemas.openxmlformats.org/officeDocument/2006/relationships/slideLayout" Target="../slideLayouts/slideLayout943.xml"/><Relationship Id="rId3" Type="http://schemas.openxmlformats.org/officeDocument/2006/relationships/theme" Target="../theme/theme51.xml"/></Relationships>
</file>

<file path=ppt/slideMasters/_rels/slideMaster5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52.xml"/><Relationship Id="rId20" Type="http://schemas.openxmlformats.org/officeDocument/2006/relationships/slideLayout" Target="../slideLayouts/slideLayout963.xml"/><Relationship Id="rId21" Type="http://schemas.openxmlformats.org/officeDocument/2006/relationships/slideLayout" Target="../slideLayouts/slideLayout964.xml"/><Relationship Id="rId22" Type="http://schemas.openxmlformats.org/officeDocument/2006/relationships/slideLayout" Target="../slideLayouts/slideLayout965.xml"/><Relationship Id="rId23" Type="http://schemas.openxmlformats.org/officeDocument/2006/relationships/slideLayout" Target="../slideLayouts/slideLayout966.xml"/><Relationship Id="rId24" Type="http://schemas.openxmlformats.org/officeDocument/2006/relationships/slideLayout" Target="../slideLayouts/slideLayout967.xml"/><Relationship Id="rId25" Type="http://schemas.openxmlformats.org/officeDocument/2006/relationships/slideLayout" Target="../slideLayouts/slideLayout968.xml"/><Relationship Id="rId26" Type="http://schemas.openxmlformats.org/officeDocument/2006/relationships/slideLayout" Target="../slideLayouts/slideLayout969.xml"/><Relationship Id="rId27" Type="http://schemas.openxmlformats.org/officeDocument/2006/relationships/slideLayout" Target="../slideLayouts/slideLayout970.xml"/><Relationship Id="rId28" Type="http://schemas.openxmlformats.org/officeDocument/2006/relationships/slideLayout" Target="../slideLayouts/slideLayout971.xml"/><Relationship Id="rId29" Type="http://schemas.openxmlformats.org/officeDocument/2006/relationships/slideLayout" Target="../slideLayouts/slideLayout972.xml"/><Relationship Id="rId30" Type="http://schemas.openxmlformats.org/officeDocument/2006/relationships/theme" Target="../theme/theme52.xml"/><Relationship Id="rId10" Type="http://schemas.openxmlformats.org/officeDocument/2006/relationships/slideLayout" Target="../slideLayouts/slideLayout953.xml"/><Relationship Id="rId11" Type="http://schemas.openxmlformats.org/officeDocument/2006/relationships/slideLayout" Target="../slideLayouts/slideLayout954.xml"/><Relationship Id="rId12" Type="http://schemas.openxmlformats.org/officeDocument/2006/relationships/slideLayout" Target="../slideLayouts/slideLayout955.xml"/><Relationship Id="rId13" Type="http://schemas.openxmlformats.org/officeDocument/2006/relationships/slideLayout" Target="../slideLayouts/slideLayout956.xml"/><Relationship Id="rId14" Type="http://schemas.openxmlformats.org/officeDocument/2006/relationships/slideLayout" Target="../slideLayouts/slideLayout957.xml"/><Relationship Id="rId15" Type="http://schemas.openxmlformats.org/officeDocument/2006/relationships/slideLayout" Target="../slideLayouts/slideLayout958.xml"/><Relationship Id="rId16" Type="http://schemas.openxmlformats.org/officeDocument/2006/relationships/slideLayout" Target="../slideLayouts/slideLayout959.xml"/><Relationship Id="rId17" Type="http://schemas.openxmlformats.org/officeDocument/2006/relationships/slideLayout" Target="../slideLayouts/slideLayout960.xml"/><Relationship Id="rId18" Type="http://schemas.openxmlformats.org/officeDocument/2006/relationships/slideLayout" Target="../slideLayouts/slideLayout961.xml"/><Relationship Id="rId19" Type="http://schemas.openxmlformats.org/officeDocument/2006/relationships/slideLayout" Target="../slideLayouts/slideLayout962.xml"/><Relationship Id="rId1" Type="http://schemas.openxmlformats.org/officeDocument/2006/relationships/slideLayout" Target="../slideLayouts/slideLayout944.xml"/><Relationship Id="rId2" Type="http://schemas.openxmlformats.org/officeDocument/2006/relationships/slideLayout" Target="../slideLayouts/slideLayout945.xml"/><Relationship Id="rId3" Type="http://schemas.openxmlformats.org/officeDocument/2006/relationships/slideLayout" Target="../slideLayouts/slideLayout946.xml"/><Relationship Id="rId4" Type="http://schemas.openxmlformats.org/officeDocument/2006/relationships/slideLayout" Target="../slideLayouts/slideLayout947.xml"/><Relationship Id="rId5" Type="http://schemas.openxmlformats.org/officeDocument/2006/relationships/slideLayout" Target="../slideLayouts/slideLayout948.xml"/><Relationship Id="rId6" Type="http://schemas.openxmlformats.org/officeDocument/2006/relationships/slideLayout" Target="../slideLayouts/slideLayout949.xml"/><Relationship Id="rId7" Type="http://schemas.openxmlformats.org/officeDocument/2006/relationships/slideLayout" Target="../slideLayouts/slideLayout950.xml"/><Relationship Id="rId8" Type="http://schemas.openxmlformats.org/officeDocument/2006/relationships/slideLayout" Target="../slideLayouts/slideLayout951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tags" Target="../tags/tag20.xml"/><Relationship Id="rId20" Type="http://schemas.openxmlformats.org/officeDocument/2006/relationships/image" Target="../media/image1.emf"/><Relationship Id="rId21" Type="http://schemas.openxmlformats.org/officeDocument/2006/relationships/image" Target="../media/image2.png"/><Relationship Id="rId10" Type="http://schemas.openxmlformats.org/officeDocument/2006/relationships/tags" Target="../tags/tag21.xml"/><Relationship Id="rId11" Type="http://schemas.openxmlformats.org/officeDocument/2006/relationships/tags" Target="../tags/tag22.xml"/><Relationship Id="rId12" Type="http://schemas.openxmlformats.org/officeDocument/2006/relationships/tags" Target="../tags/tag23.xml"/><Relationship Id="rId13" Type="http://schemas.openxmlformats.org/officeDocument/2006/relationships/tags" Target="../tags/tag24.xml"/><Relationship Id="rId14" Type="http://schemas.openxmlformats.org/officeDocument/2006/relationships/tags" Target="../tags/tag25.xml"/><Relationship Id="rId15" Type="http://schemas.openxmlformats.org/officeDocument/2006/relationships/tags" Target="../tags/tag26.xml"/><Relationship Id="rId16" Type="http://schemas.openxmlformats.org/officeDocument/2006/relationships/tags" Target="../tags/tag27.xml"/><Relationship Id="rId17" Type="http://schemas.openxmlformats.org/officeDocument/2006/relationships/tags" Target="../tags/tag28.xml"/><Relationship Id="rId18" Type="http://schemas.openxmlformats.org/officeDocument/2006/relationships/tags" Target="../tags/tag29.xml"/><Relationship Id="rId19" Type="http://schemas.openxmlformats.org/officeDocument/2006/relationships/tags" Target="../tags/tag30.xml"/><Relationship Id="rId1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156.xml"/><Relationship Id="rId3" Type="http://schemas.openxmlformats.org/officeDocument/2006/relationships/slideLayout" Target="../slideLayouts/slideLayout157.xml"/><Relationship Id="rId4" Type="http://schemas.openxmlformats.org/officeDocument/2006/relationships/theme" Target="../theme/theme6.xml"/><Relationship Id="rId5" Type="http://schemas.openxmlformats.org/officeDocument/2006/relationships/tags" Target="../tags/tag16.xml"/><Relationship Id="rId6" Type="http://schemas.openxmlformats.org/officeDocument/2006/relationships/tags" Target="../tags/tag17.xml"/><Relationship Id="rId7" Type="http://schemas.openxmlformats.org/officeDocument/2006/relationships/tags" Target="../tags/tag18.xml"/><Relationship Id="rId8" Type="http://schemas.openxmlformats.org/officeDocument/2006/relationships/tags" Target="../tags/tag19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tags" Target="../tags/tag35.xml"/><Relationship Id="rId20" Type="http://schemas.openxmlformats.org/officeDocument/2006/relationships/image" Target="../media/image1.emf"/><Relationship Id="rId21" Type="http://schemas.openxmlformats.org/officeDocument/2006/relationships/image" Target="../media/image2.png"/><Relationship Id="rId10" Type="http://schemas.openxmlformats.org/officeDocument/2006/relationships/tags" Target="../tags/tag36.xml"/><Relationship Id="rId11" Type="http://schemas.openxmlformats.org/officeDocument/2006/relationships/tags" Target="../tags/tag37.xml"/><Relationship Id="rId12" Type="http://schemas.openxmlformats.org/officeDocument/2006/relationships/tags" Target="../tags/tag38.xml"/><Relationship Id="rId13" Type="http://schemas.openxmlformats.org/officeDocument/2006/relationships/tags" Target="../tags/tag39.xml"/><Relationship Id="rId14" Type="http://schemas.openxmlformats.org/officeDocument/2006/relationships/tags" Target="../tags/tag40.xml"/><Relationship Id="rId15" Type="http://schemas.openxmlformats.org/officeDocument/2006/relationships/tags" Target="../tags/tag41.xml"/><Relationship Id="rId16" Type="http://schemas.openxmlformats.org/officeDocument/2006/relationships/tags" Target="../tags/tag42.xml"/><Relationship Id="rId17" Type="http://schemas.openxmlformats.org/officeDocument/2006/relationships/tags" Target="../tags/tag43.xml"/><Relationship Id="rId18" Type="http://schemas.openxmlformats.org/officeDocument/2006/relationships/tags" Target="../tags/tag44.xml"/><Relationship Id="rId19" Type="http://schemas.openxmlformats.org/officeDocument/2006/relationships/tags" Target="../tags/tag45.xml"/><Relationship Id="rId1" Type="http://schemas.openxmlformats.org/officeDocument/2006/relationships/slideLayout" Target="../slideLayouts/slideLayout158.xml"/><Relationship Id="rId2" Type="http://schemas.openxmlformats.org/officeDocument/2006/relationships/slideLayout" Target="../slideLayouts/slideLayout159.xml"/><Relationship Id="rId3" Type="http://schemas.openxmlformats.org/officeDocument/2006/relationships/slideLayout" Target="../slideLayouts/slideLayout160.xml"/><Relationship Id="rId4" Type="http://schemas.openxmlformats.org/officeDocument/2006/relationships/theme" Target="../theme/theme7.xml"/><Relationship Id="rId5" Type="http://schemas.openxmlformats.org/officeDocument/2006/relationships/tags" Target="../tags/tag31.xml"/><Relationship Id="rId6" Type="http://schemas.openxmlformats.org/officeDocument/2006/relationships/tags" Target="../tags/tag32.xml"/><Relationship Id="rId7" Type="http://schemas.openxmlformats.org/officeDocument/2006/relationships/tags" Target="../tags/tag33.xml"/><Relationship Id="rId8" Type="http://schemas.openxmlformats.org/officeDocument/2006/relationships/tags" Target="../tags/tag34.xml"/></Relationships>
</file>

<file path=ppt/slideMasters/_rels/slideMaster8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180.xml"/><Relationship Id="rId21" Type="http://schemas.openxmlformats.org/officeDocument/2006/relationships/slideLayout" Target="../slideLayouts/slideLayout181.xml"/><Relationship Id="rId22" Type="http://schemas.openxmlformats.org/officeDocument/2006/relationships/slideLayout" Target="../slideLayouts/slideLayout182.xml"/><Relationship Id="rId23" Type="http://schemas.openxmlformats.org/officeDocument/2006/relationships/slideLayout" Target="../slideLayouts/slideLayout183.xml"/><Relationship Id="rId24" Type="http://schemas.openxmlformats.org/officeDocument/2006/relationships/slideLayout" Target="../slideLayouts/slideLayout184.xml"/><Relationship Id="rId25" Type="http://schemas.openxmlformats.org/officeDocument/2006/relationships/slideLayout" Target="../slideLayouts/slideLayout185.xml"/><Relationship Id="rId26" Type="http://schemas.openxmlformats.org/officeDocument/2006/relationships/slideLayout" Target="../slideLayouts/slideLayout186.xml"/><Relationship Id="rId27" Type="http://schemas.openxmlformats.org/officeDocument/2006/relationships/slideLayout" Target="../slideLayouts/slideLayout187.xml"/><Relationship Id="rId28" Type="http://schemas.openxmlformats.org/officeDocument/2006/relationships/slideLayout" Target="../slideLayouts/slideLayout188.xml"/><Relationship Id="rId29" Type="http://schemas.openxmlformats.org/officeDocument/2006/relationships/slideLayout" Target="../slideLayouts/slideLayout189.xml"/><Relationship Id="rId1" Type="http://schemas.openxmlformats.org/officeDocument/2006/relationships/slideLayout" Target="../slideLayouts/slideLayout161.xml"/><Relationship Id="rId2" Type="http://schemas.openxmlformats.org/officeDocument/2006/relationships/slideLayout" Target="../slideLayouts/slideLayout162.xml"/><Relationship Id="rId3" Type="http://schemas.openxmlformats.org/officeDocument/2006/relationships/slideLayout" Target="../slideLayouts/slideLayout163.xml"/><Relationship Id="rId4" Type="http://schemas.openxmlformats.org/officeDocument/2006/relationships/slideLayout" Target="../slideLayouts/slideLayout164.xml"/><Relationship Id="rId5" Type="http://schemas.openxmlformats.org/officeDocument/2006/relationships/slideLayout" Target="../slideLayouts/slideLayout165.xml"/><Relationship Id="rId30" Type="http://schemas.openxmlformats.org/officeDocument/2006/relationships/slideLayout" Target="../slideLayouts/slideLayout190.xml"/><Relationship Id="rId31" Type="http://schemas.openxmlformats.org/officeDocument/2006/relationships/slideLayout" Target="../slideLayouts/slideLayout191.xml"/><Relationship Id="rId32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67.xml"/><Relationship Id="rId8" Type="http://schemas.openxmlformats.org/officeDocument/2006/relationships/slideLayout" Target="../slideLayouts/slideLayout168.xml"/><Relationship Id="rId33" Type="http://schemas.openxmlformats.org/officeDocument/2006/relationships/slideLayout" Target="../slideLayouts/slideLayout193.xml"/><Relationship Id="rId34" Type="http://schemas.openxmlformats.org/officeDocument/2006/relationships/slideLayout" Target="../slideLayouts/slideLayout194.xml"/><Relationship Id="rId35" Type="http://schemas.openxmlformats.org/officeDocument/2006/relationships/slideLayout" Target="../slideLayouts/slideLayout195.xml"/><Relationship Id="rId36" Type="http://schemas.openxmlformats.org/officeDocument/2006/relationships/theme" Target="../theme/theme8.xml"/><Relationship Id="rId10" Type="http://schemas.openxmlformats.org/officeDocument/2006/relationships/slideLayout" Target="../slideLayouts/slideLayout170.xml"/><Relationship Id="rId11" Type="http://schemas.openxmlformats.org/officeDocument/2006/relationships/slideLayout" Target="../slideLayouts/slideLayout171.xml"/><Relationship Id="rId12" Type="http://schemas.openxmlformats.org/officeDocument/2006/relationships/slideLayout" Target="../slideLayouts/slideLayout172.xml"/><Relationship Id="rId13" Type="http://schemas.openxmlformats.org/officeDocument/2006/relationships/slideLayout" Target="../slideLayouts/slideLayout173.xml"/><Relationship Id="rId14" Type="http://schemas.openxmlformats.org/officeDocument/2006/relationships/slideLayout" Target="../slideLayouts/slideLayout174.xml"/><Relationship Id="rId15" Type="http://schemas.openxmlformats.org/officeDocument/2006/relationships/slideLayout" Target="../slideLayouts/slideLayout175.xml"/><Relationship Id="rId16" Type="http://schemas.openxmlformats.org/officeDocument/2006/relationships/slideLayout" Target="../slideLayouts/slideLayout176.xml"/><Relationship Id="rId17" Type="http://schemas.openxmlformats.org/officeDocument/2006/relationships/slideLayout" Target="../slideLayouts/slideLayout177.xml"/><Relationship Id="rId18" Type="http://schemas.openxmlformats.org/officeDocument/2006/relationships/slideLayout" Target="../slideLayouts/slideLayout178.xml"/><Relationship Id="rId19" Type="http://schemas.openxmlformats.org/officeDocument/2006/relationships/slideLayout" Target="../slideLayouts/slideLayout179.xml"/><Relationship Id="rId37" Type="http://schemas.openxmlformats.org/officeDocument/2006/relationships/image" Target="../media/image13.png"/></Relationships>
</file>

<file path=ppt/slideMasters/_rels/slideMaster9.xml.rels><?xml version="1.0" encoding="UTF-8" standalone="yes"?>
<Relationships xmlns="http://schemas.openxmlformats.org/package/2006/relationships"><Relationship Id="rId20" Type="http://schemas.openxmlformats.org/officeDocument/2006/relationships/slideLayout" Target="../slideLayouts/slideLayout215.xml"/><Relationship Id="rId21" Type="http://schemas.openxmlformats.org/officeDocument/2006/relationships/slideLayout" Target="../slideLayouts/slideLayout216.xml"/><Relationship Id="rId22" Type="http://schemas.openxmlformats.org/officeDocument/2006/relationships/slideLayout" Target="../slideLayouts/slideLayout217.xml"/><Relationship Id="rId23" Type="http://schemas.openxmlformats.org/officeDocument/2006/relationships/slideLayout" Target="../slideLayouts/slideLayout218.xml"/><Relationship Id="rId24" Type="http://schemas.openxmlformats.org/officeDocument/2006/relationships/slideLayout" Target="../slideLayouts/slideLayout219.xml"/><Relationship Id="rId25" Type="http://schemas.openxmlformats.org/officeDocument/2006/relationships/slideLayout" Target="../slideLayouts/slideLayout220.xml"/><Relationship Id="rId26" Type="http://schemas.openxmlformats.org/officeDocument/2006/relationships/slideLayout" Target="../slideLayouts/slideLayout221.xml"/><Relationship Id="rId27" Type="http://schemas.openxmlformats.org/officeDocument/2006/relationships/slideLayout" Target="../slideLayouts/slideLayout222.xml"/><Relationship Id="rId28" Type="http://schemas.openxmlformats.org/officeDocument/2006/relationships/slideLayout" Target="../slideLayouts/slideLayout223.xml"/><Relationship Id="rId29" Type="http://schemas.openxmlformats.org/officeDocument/2006/relationships/slideLayout" Target="../slideLayouts/slideLayout224.xml"/><Relationship Id="rId1" Type="http://schemas.openxmlformats.org/officeDocument/2006/relationships/slideLayout" Target="../slideLayouts/slideLayout196.xml"/><Relationship Id="rId2" Type="http://schemas.openxmlformats.org/officeDocument/2006/relationships/slideLayout" Target="../slideLayouts/slideLayout197.xml"/><Relationship Id="rId3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200.xml"/><Relationship Id="rId30" Type="http://schemas.openxmlformats.org/officeDocument/2006/relationships/slideLayout" Target="../slideLayouts/slideLayout225.xml"/><Relationship Id="rId31" Type="http://schemas.openxmlformats.org/officeDocument/2006/relationships/slideLayout" Target="../slideLayouts/slideLayout226.xml"/><Relationship Id="rId32" Type="http://schemas.openxmlformats.org/officeDocument/2006/relationships/slideLayout" Target="../slideLayouts/slideLayout227.xml"/><Relationship Id="rId9" Type="http://schemas.openxmlformats.org/officeDocument/2006/relationships/slideLayout" Target="../slideLayouts/slideLayout204.xml"/><Relationship Id="rId6" Type="http://schemas.openxmlformats.org/officeDocument/2006/relationships/slideLayout" Target="../slideLayouts/slideLayout201.xml"/><Relationship Id="rId7" Type="http://schemas.openxmlformats.org/officeDocument/2006/relationships/slideLayout" Target="../slideLayouts/slideLayout202.xml"/><Relationship Id="rId8" Type="http://schemas.openxmlformats.org/officeDocument/2006/relationships/slideLayout" Target="../slideLayouts/slideLayout203.xml"/><Relationship Id="rId33" Type="http://schemas.openxmlformats.org/officeDocument/2006/relationships/slideLayout" Target="../slideLayouts/slideLayout228.xml"/><Relationship Id="rId34" Type="http://schemas.openxmlformats.org/officeDocument/2006/relationships/slideLayout" Target="../slideLayouts/slideLayout229.xml"/><Relationship Id="rId35" Type="http://schemas.openxmlformats.org/officeDocument/2006/relationships/slideLayout" Target="../slideLayouts/slideLayout230.xml"/><Relationship Id="rId36" Type="http://schemas.openxmlformats.org/officeDocument/2006/relationships/theme" Target="../theme/theme9.xml"/><Relationship Id="rId10" Type="http://schemas.openxmlformats.org/officeDocument/2006/relationships/slideLayout" Target="../slideLayouts/slideLayout205.xml"/><Relationship Id="rId11" Type="http://schemas.openxmlformats.org/officeDocument/2006/relationships/slideLayout" Target="../slideLayouts/slideLayout206.xml"/><Relationship Id="rId12" Type="http://schemas.openxmlformats.org/officeDocument/2006/relationships/slideLayout" Target="../slideLayouts/slideLayout207.xml"/><Relationship Id="rId13" Type="http://schemas.openxmlformats.org/officeDocument/2006/relationships/slideLayout" Target="../slideLayouts/slideLayout208.xml"/><Relationship Id="rId14" Type="http://schemas.openxmlformats.org/officeDocument/2006/relationships/slideLayout" Target="../slideLayouts/slideLayout209.xml"/><Relationship Id="rId15" Type="http://schemas.openxmlformats.org/officeDocument/2006/relationships/slideLayout" Target="../slideLayouts/slideLayout210.xml"/><Relationship Id="rId16" Type="http://schemas.openxmlformats.org/officeDocument/2006/relationships/slideLayout" Target="../slideLayouts/slideLayout211.xml"/><Relationship Id="rId17" Type="http://schemas.openxmlformats.org/officeDocument/2006/relationships/slideLayout" Target="../slideLayouts/slideLayout212.xml"/><Relationship Id="rId18" Type="http://schemas.openxmlformats.org/officeDocument/2006/relationships/slideLayout" Target="../slideLayouts/slideLayout213.xml"/><Relationship Id="rId19" Type="http://schemas.openxmlformats.org/officeDocument/2006/relationships/slideLayout" Target="../slideLayouts/slideLayout214.xml"/><Relationship Id="rId37" Type="http://schemas.openxmlformats.org/officeDocument/2006/relationships/image" Target="../media/image1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0" y="25"/>
            <a:ext cx="161984" cy="121481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6" y="1989514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ext styles</a:t>
            </a:r>
          </a:p>
          <a:p>
            <a:pPr lvl="1"/>
            <a:r>
              <a:rPr lang="en-US" altLang="ja-JP" noProof="0" smtClean="0"/>
              <a:t>Second level</a:t>
            </a:r>
          </a:p>
          <a:p>
            <a:pPr lvl="2"/>
            <a:r>
              <a:rPr lang="en-US" altLang="ja-JP" noProof="0" smtClean="0"/>
              <a:t>Third level</a:t>
            </a:r>
          </a:p>
          <a:p>
            <a:pPr lvl="3"/>
            <a:r>
              <a:rPr lang="en-US" altLang="ja-JP" noProof="0" smtClean="0"/>
              <a:t>Fourth level</a:t>
            </a:r>
          </a:p>
          <a:p>
            <a:pPr lvl="4"/>
            <a:r>
              <a:rPr lang="en-US" altLang="ja-JP" noProof="0" smtClean="0"/>
              <a:t>Fifth level</a:t>
            </a:r>
            <a:endParaRPr lang="en-US" altLang="ja-JP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  <p:sp>
        <p:nvSpPr>
          <p:cNvPr id="12" name="McK 3. Unit of measure" hidden="1"/>
          <p:cNvSpPr txBox="1">
            <a:spLocks noChangeArrowheads="1"/>
          </p:cNvSpPr>
          <p:nvPr/>
        </p:nvSpPr>
        <p:spPr bwMode="auto">
          <a:xfrm>
            <a:off x="166814" y="567123"/>
            <a:ext cx="8810379" cy="246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600" dirty="0" smtClean="0">
                <a:solidFill>
                  <a:srgbClr val="808080"/>
                </a:solidFill>
                <a:latin typeface="Arial"/>
                <a:cs typeface="Arial" pitchFamily="34" charset="0"/>
              </a:rPr>
              <a:t>Unit of measure</a:t>
            </a:r>
          </a:p>
        </p:txBody>
      </p: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2377116" y="1435560"/>
            <a:ext cx="4389768" cy="506574"/>
            <a:chOff x="915" y="613"/>
            <a:chExt cx="2686" cy="417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b="1" dirty="0">
                  <a:solidFill>
                    <a:srgbClr val="676767"/>
                  </a:solidFill>
                  <a:cs typeface="Arial" pitchFamily="34" charset="0"/>
                </a:rPr>
                <a:t>Title</a:t>
              </a:r>
            </a:p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dirty="0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grpSp>
        <p:nvGrpSpPr>
          <p:cNvPr id="66" name="LegendBoxes" hidden="1"/>
          <p:cNvGrpSpPr/>
          <p:nvPr/>
        </p:nvGrpSpPr>
        <p:grpSpPr bwMode="auto">
          <a:xfrm>
            <a:off x="8323524" y="297015"/>
            <a:ext cx="656070" cy="874313"/>
            <a:chOff x="8336837" y="2006068"/>
            <a:chExt cx="656070" cy="874312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auto">
            <a:xfrm>
              <a:off x="8567310" y="2006068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2" name="LegendRectangle1"/>
            <p:cNvSpPr>
              <a:spLocks noChangeArrowheads="1"/>
            </p:cNvSpPr>
            <p:nvPr/>
          </p:nvSpPr>
          <p:spPr bwMode="auto">
            <a:xfrm>
              <a:off x="8336837" y="2006068"/>
              <a:ext cx="149807" cy="1463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3" name="Legend2"/>
            <p:cNvSpPr>
              <a:spLocks noChangeArrowheads="1"/>
            </p:cNvSpPr>
            <p:nvPr/>
          </p:nvSpPr>
          <p:spPr bwMode="auto">
            <a:xfrm>
              <a:off x="8567310" y="2246225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4" name="LegendRectangle2"/>
            <p:cNvSpPr>
              <a:spLocks noChangeArrowheads="1"/>
            </p:cNvSpPr>
            <p:nvPr/>
          </p:nvSpPr>
          <p:spPr bwMode="auto">
            <a:xfrm>
              <a:off x="8336837" y="2246225"/>
              <a:ext cx="149807" cy="1463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auto">
            <a:xfrm>
              <a:off x="8567310" y="2486382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6" name="LegendRectangle3"/>
            <p:cNvSpPr>
              <a:spLocks noChangeArrowheads="1"/>
            </p:cNvSpPr>
            <p:nvPr/>
          </p:nvSpPr>
          <p:spPr bwMode="auto">
            <a:xfrm>
              <a:off x="8336837" y="2486382"/>
              <a:ext cx="149807" cy="146304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7" name="Legend4"/>
            <p:cNvSpPr>
              <a:spLocks noChangeArrowheads="1"/>
            </p:cNvSpPr>
            <p:nvPr/>
          </p:nvSpPr>
          <p:spPr bwMode="auto">
            <a:xfrm>
              <a:off x="8567310" y="2726539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8" name="LegendRectangle4"/>
            <p:cNvSpPr>
              <a:spLocks noChangeArrowheads="1"/>
            </p:cNvSpPr>
            <p:nvPr/>
          </p:nvSpPr>
          <p:spPr bwMode="auto">
            <a:xfrm>
              <a:off x="8336837" y="2726539"/>
              <a:ext cx="149807" cy="146304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</p:grpSp>
      <p:grpSp>
        <p:nvGrpSpPr>
          <p:cNvPr id="71" name="LegendLines" hidden="1"/>
          <p:cNvGrpSpPr/>
          <p:nvPr/>
        </p:nvGrpSpPr>
        <p:grpSpPr bwMode="auto">
          <a:xfrm>
            <a:off x="8044074" y="297001"/>
            <a:ext cx="935518" cy="614828"/>
            <a:chOff x="8057389" y="2020564"/>
            <a:chExt cx="935518" cy="614827"/>
          </a:xfrm>
        </p:grpSpPr>
        <p:sp>
          <p:nvSpPr>
            <p:cNvPr id="30" name="LineLegend1"/>
            <p:cNvSpPr>
              <a:spLocks noChangeShapeType="1"/>
            </p:cNvSpPr>
            <p:nvPr/>
          </p:nvSpPr>
          <p:spPr bwMode="auto">
            <a:xfrm>
              <a:off x="8057389" y="2097508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3" name="Legend1"/>
            <p:cNvSpPr>
              <a:spLocks noChangeArrowheads="1"/>
            </p:cNvSpPr>
            <p:nvPr/>
          </p:nvSpPr>
          <p:spPr bwMode="auto">
            <a:xfrm>
              <a:off x="8567310" y="2020564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31" name="LineLegend2"/>
            <p:cNvSpPr>
              <a:spLocks noChangeShapeType="1"/>
            </p:cNvSpPr>
            <p:nvPr/>
          </p:nvSpPr>
          <p:spPr bwMode="auto">
            <a:xfrm>
              <a:off x="8057389" y="2328001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4" name="Legend2"/>
            <p:cNvSpPr>
              <a:spLocks noChangeArrowheads="1"/>
            </p:cNvSpPr>
            <p:nvPr/>
          </p:nvSpPr>
          <p:spPr bwMode="auto">
            <a:xfrm>
              <a:off x="8567310" y="2251057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32" name="LineLegend3"/>
            <p:cNvSpPr>
              <a:spLocks noChangeShapeType="1"/>
            </p:cNvSpPr>
            <p:nvPr/>
          </p:nvSpPr>
          <p:spPr bwMode="auto">
            <a:xfrm>
              <a:off x="8057389" y="2558494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5" name="Legend3"/>
            <p:cNvSpPr>
              <a:spLocks noChangeArrowheads="1"/>
            </p:cNvSpPr>
            <p:nvPr/>
          </p:nvSpPr>
          <p:spPr bwMode="auto">
            <a:xfrm>
              <a:off x="8567310" y="2481550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</p:grpSp>
      <p:grpSp>
        <p:nvGrpSpPr>
          <p:cNvPr id="36" name="McKSticker" hidden="1"/>
          <p:cNvGrpSpPr/>
          <p:nvPr/>
        </p:nvGrpSpPr>
        <p:grpSpPr bwMode="auto">
          <a:xfrm>
            <a:off x="8082365" y="297001"/>
            <a:ext cx="894925" cy="181588"/>
            <a:chOff x="7754493" y="285750"/>
            <a:chExt cx="986282" cy="237304"/>
          </a:xfrm>
        </p:grpSpPr>
        <p:sp>
          <p:nvSpPr>
            <p:cNvPr id="37" name="StickerRectangle"/>
            <p:cNvSpPr>
              <a:spLocks noChangeArrowheads="1"/>
            </p:cNvSpPr>
            <p:nvPr/>
          </p:nvSpPr>
          <p:spPr bwMode="auto">
            <a:xfrm>
              <a:off x="7754493" y="285750"/>
              <a:ext cx="986282" cy="23730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8" name="AutoShape 31"/>
            <p:cNvCxnSpPr>
              <a:cxnSpLocks noChangeShapeType="1"/>
              <a:stCxn id="37" idx="2"/>
              <a:endCxn id="37" idx="4"/>
            </p:cNvCxnSpPr>
            <p:nvPr/>
          </p:nvCxnSpPr>
          <p:spPr bwMode="auto">
            <a:xfrm>
              <a:off x="7754493" y="285750"/>
              <a:ext cx="0" cy="23730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AutoShape 32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7754493" y="523054"/>
              <a:ext cx="9862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2" name="LegendMoons" hidden="1"/>
          <p:cNvGrpSpPr/>
          <p:nvPr/>
        </p:nvGrpSpPr>
        <p:grpSpPr bwMode="auto">
          <a:xfrm>
            <a:off x="8277315" y="297022"/>
            <a:ext cx="702280" cy="1104851"/>
            <a:chOff x="6915362" y="2006068"/>
            <a:chExt cx="702280" cy="1104851"/>
          </a:xfrm>
        </p:grpSpPr>
        <p:sp>
          <p:nvSpPr>
            <p:cNvPr id="44" name="Legend1"/>
            <p:cNvSpPr>
              <a:spLocks noChangeArrowheads="1"/>
            </p:cNvSpPr>
            <p:nvPr userDrawn="1"/>
          </p:nvSpPr>
          <p:spPr bwMode="auto">
            <a:xfrm>
              <a:off x="7192045" y="2020564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49" name="MoonLegend1"/>
            <p:cNvGrpSpPr>
              <a:grpSpLocks/>
            </p:cNvGrpSpPr>
            <p:nvPr userDrawn="1">
              <p:custDataLst>
                <p:tags r:id="rId4"/>
              </p:custDataLst>
            </p:nvPr>
          </p:nvGrpSpPr>
          <p:grpSpPr bwMode="auto">
            <a:xfrm>
              <a:off x="6915362" y="2006068"/>
              <a:ext cx="182880" cy="182880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5" name="Legend2"/>
            <p:cNvSpPr>
              <a:spLocks noChangeArrowheads="1"/>
            </p:cNvSpPr>
            <p:nvPr userDrawn="1"/>
          </p:nvSpPr>
          <p:spPr bwMode="auto">
            <a:xfrm>
              <a:off x="7192045" y="2251057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0" name="MoonLegend2"/>
            <p:cNvGrpSpPr>
              <a:grpSpLocks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6915362" y="2236561"/>
              <a:ext cx="182880" cy="182880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6" name="Legend3"/>
            <p:cNvSpPr>
              <a:spLocks noChangeArrowheads="1"/>
            </p:cNvSpPr>
            <p:nvPr userDrawn="1"/>
          </p:nvSpPr>
          <p:spPr bwMode="auto">
            <a:xfrm>
              <a:off x="7192045" y="2481550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1" name="MoonLegend3"/>
            <p:cNvGrpSpPr>
              <a:grpSpLocks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6915362" y="2467054"/>
              <a:ext cx="182880" cy="182880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7" name="Legend4"/>
            <p:cNvSpPr>
              <a:spLocks noChangeArrowheads="1"/>
            </p:cNvSpPr>
            <p:nvPr userDrawn="1"/>
          </p:nvSpPr>
          <p:spPr bwMode="auto">
            <a:xfrm>
              <a:off x="7192045" y="2712043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2" name="MoonLegend4"/>
            <p:cNvGrpSpPr>
              <a:grpSpLocks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6915362" y="2697547"/>
              <a:ext cx="182880" cy="182880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8" name="Legend5"/>
            <p:cNvSpPr>
              <a:spLocks noChangeArrowheads="1"/>
            </p:cNvSpPr>
            <p:nvPr userDrawn="1"/>
          </p:nvSpPr>
          <p:spPr bwMode="auto">
            <a:xfrm>
              <a:off x="7192045" y="2942535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3" name="MoonLegend5"/>
            <p:cNvGrpSpPr>
              <a:grpSpLocks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6915362" y="2928039"/>
              <a:ext cx="182880" cy="182880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</p:grpSp>
      <p:sp>
        <p:nvSpPr>
          <p:cNvPr id="11" name="McK 1. On-page tracker" hidden="1"/>
          <p:cNvSpPr>
            <a:spLocks noChangeArrowheads="1"/>
          </p:cNvSpPr>
          <p:nvPr/>
        </p:nvSpPr>
        <p:spPr bwMode="auto">
          <a:xfrm>
            <a:off x="166814" y="7915"/>
            <a:ext cx="872835" cy="219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214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67" name="TextBox 66"/>
          <p:cNvSpPr txBox="1">
            <a:spLocks/>
          </p:cNvSpPr>
          <p:nvPr/>
        </p:nvSpPr>
        <p:spPr bwMode="auto">
          <a:xfrm>
            <a:off x="8663149" y="4935545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 algn="r" defTabSz="913214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altLang="ja-JP" sz="700" smtClean="0">
                <a:solidFill>
                  <a:srgbClr val="676767"/>
                </a:solidFill>
                <a:latin typeface="Arial"/>
                <a:ea typeface="ＭＳ Ｐゴシック"/>
              </a:rPr>
              <a:pPr algn="r" defTabSz="91321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700" dirty="0">
              <a:solidFill>
                <a:srgbClr val="676767"/>
              </a:solidFill>
              <a:latin typeface="Arial"/>
              <a:ea typeface="ＭＳ Ｐゴシック"/>
            </a:endParaRPr>
          </a:p>
        </p:txBody>
      </p:sp>
      <p:grpSp>
        <p:nvGrpSpPr>
          <p:cNvPr id="3" name="McK Slide Elements" hidden="1"/>
          <p:cNvGrpSpPr/>
          <p:nvPr/>
        </p:nvGrpSpPr>
        <p:grpSpPr bwMode="auto">
          <a:xfrm>
            <a:off x="166814" y="4428739"/>
            <a:ext cx="8810379" cy="347102"/>
            <a:chOff x="166811" y="4241226"/>
            <a:chExt cx="8810379" cy="347101"/>
          </a:xfrm>
        </p:grpSpPr>
        <p:sp>
          <p:nvSpPr>
            <p:cNvPr id="68" name="McK 4. Footnote"/>
            <p:cNvSpPr txBox="1">
              <a:spLocks noChangeArrowheads="1"/>
            </p:cNvSpPr>
            <p:nvPr userDrawn="1"/>
          </p:nvSpPr>
          <p:spPr bwMode="auto">
            <a:xfrm>
              <a:off x="166811" y="4241226"/>
              <a:ext cx="8810379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676767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9" name="McK 5. Source"/>
            <p:cNvSpPr>
              <a:spLocks noChangeArrowheads="1"/>
            </p:cNvSpPr>
            <p:nvPr userDrawn="1"/>
          </p:nvSpPr>
          <p:spPr bwMode="auto">
            <a:xfrm>
              <a:off x="166811" y="4434486"/>
              <a:ext cx="8810379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269" indent="-469269" defTabSz="894184" fontAlgn="base">
                <a:spcBef>
                  <a:spcPct val="0"/>
                </a:spcBef>
                <a:spcAft>
                  <a:spcPct val="0"/>
                </a:spcAft>
                <a:tabLst>
                  <a:tab pos="474032" algn="l"/>
                </a:tabLst>
              </a:pPr>
              <a:r>
                <a:rPr lang="en-US" sz="1000" dirty="0">
                  <a:solidFill>
                    <a:srgbClr val="676767"/>
                  </a:solidFill>
                </a:rPr>
                <a:t>Source: Source</a:t>
              </a:r>
            </a:p>
          </p:txBody>
        </p:sp>
      </p:grpSp>
      <p:pic>
        <p:nvPicPr>
          <p:cNvPr id="64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943" y="480189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Rectangle 4"/>
          <p:cNvSpPr>
            <a:spLocks noChangeArrowheads="1"/>
          </p:cNvSpPr>
          <p:nvPr/>
        </p:nvSpPr>
        <p:spPr bwMode="auto">
          <a:xfrm>
            <a:off x="5575731" y="4935546"/>
            <a:ext cx="2906245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09954">
              <a:defRPr/>
            </a:pPr>
            <a:r>
              <a:rPr lang="en-US" sz="700" dirty="0">
                <a:solidFill>
                  <a:srgbClr val="676767"/>
                </a:solidFill>
                <a:cs typeface="CiscoSans Thin"/>
              </a:rPr>
              <a:t>© 2015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734659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4" r:id="rId1"/>
    <p:sldLayoutId id="2147484530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760494" rtl="0" eaLnBrk="1" fontAlgn="base" hangingPunct="1">
        <a:spcBef>
          <a:spcPct val="0"/>
        </a:spcBef>
        <a:spcAft>
          <a:spcPct val="0"/>
        </a:spcAft>
        <a:tabLst>
          <a:tab pos="303392" algn="l"/>
        </a:tabLst>
        <a:defRPr kumimoji="1" sz="2200" b="0" baseline="0">
          <a:solidFill>
            <a:schemeClr val="tx1"/>
          </a:solidFill>
          <a:latin typeface="+mj-lt"/>
          <a:ea typeface="+mj-ea"/>
          <a:cs typeface="Arial" pitchFamily="34" charset="0"/>
        </a:defRPr>
      </a:lvl1pPr>
      <a:lvl2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2pPr>
      <a:lvl3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3pPr>
      <a:lvl4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4pPr>
      <a:lvl5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5pPr>
      <a:lvl6pPr marL="388373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6pPr>
      <a:lvl7pPr marL="776671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7pPr>
      <a:lvl8pPr marL="1165018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8pPr>
      <a:lvl9pPr marL="1553340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164510" indent="-163160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388373" indent="-222464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21831" indent="-132159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▫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6pPr>
      <a:lvl7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7pPr>
      <a:lvl8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8pPr>
      <a:lvl9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9pPr>
    </p:bodyStyle>
    <p:otherStyle>
      <a:defPPr>
        <a:defRPr lang="en-US"/>
      </a:defPPr>
      <a:lvl1pPr marL="0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8373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6671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5018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3340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1713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0037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18358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06682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0" y="25"/>
            <a:ext cx="161984" cy="121481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6" y="1989514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ext styles</a:t>
            </a:r>
          </a:p>
          <a:p>
            <a:pPr lvl="1"/>
            <a:r>
              <a:rPr lang="en-US" altLang="ja-JP" noProof="0" smtClean="0"/>
              <a:t>Second level</a:t>
            </a:r>
          </a:p>
          <a:p>
            <a:pPr lvl="2"/>
            <a:r>
              <a:rPr lang="en-US" altLang="ja-JP" noProof="0" smtClean="0"/>
              <a:t>Third level</a:t>
            </a:r>
          </a:p>
          <a:p>
            <a:pPr lvl="3"/>
            <a:r>
              <a:rPr lang="en-US" altLang="ja-JP" noProof="0" smtClean="0"/>
              <a:t>Fourth level</a:t>
            </a:r>
          </a:p>
          <a:p>
            <a:pPr lvl="4"/>
            <a:r>
              <a:rPr lang="en-US" altLang="ja-JP" noProof="0" smtClean="0"/>
              <a:t>Fifth level</a:t>
            </a:r>
            <a:endParaRPr lang="en-US" altLang="ja-JP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  <p:sp>
        <p:nvSpPr>
          <p:cNvPr id="12" name="McK 3. Unit of measure" hidden="1"/>
          <p:cNvSpPr txBox="1">
            <a:spLocks noChangeArrowheads="1"/>
          </p:cNvSpPr>
          <p:nvPr/>
        </p:nvSpPr>
        <p:spPr bwMode="auto">
          <a:xfrm>
            <a:off x="166814" y="567123"/>
            <a:ext cx="8810379" cy="246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600" dirty="0" smtClean="0">
                <a:solidFill>
                  <a:srgbClr val="808080"/>
                </a:solidFill>
                <a:latin typeface="Arial"/>
                <a:cs typeface="Arial" pitchFamily="34" charset="0"/>
              </a:rPr>
              <a:t>Unit of measure</a:t>
            </a:r>
          </a:p>
        </p:txBody>
      </p: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2377116" y="1435560"/>
            <a:ext cx="4389768" cy="506574"/>
            <a:chOff x="915" y="613"/>
            <a:chExt cx="2686" cy="417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b="1" dirty="0">
                  <a:solidFill>
                    <a:srgbClr val="676767"/>
                  </a:solidFill>
                  <a:cs typeface="Arial" pitchFamily="34" charset="0"/>
                </a:rPr>
                <a:t>Title</a:t>
              </a:r>
            </a:p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dirty="0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grpSp>
        <p:nvGrpSpPr>
          <p:cNvPr id="66" name="LegendBoxes" hidden="1"/>
          <p:cNvGrpSpPr/>
          <p:nvPr/>
        </p:nvGrpSpPr>
        <p:grpSpPr bwMode="auto">
          <a:xfrm>
            <a:off x="8323524" y="297015"/>
            <a:ext cx="656070" cy="874313"/>
            <a:chOff x="8336837" y="2006068"/>
            <a:chExt cx="656070" cy="874312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auto">
            <a:xfrm>
              <a:off x="8567310" y="2006068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2" name="LegendRectangle1"/>
            <p:cNvSpPr>
              <a:spLocks noChangeArrowheads="1"/>
            </p:cNvSpPr>
            <p:nvPr/>
          </p:nvSpPr>
          <p:spPr bwMode="auto">
            <a:xfrm>
              <a:off x="8336837" y="2006068"/>
              <a:ext cx="149807" cy="1463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3" name="Legend2"/>
            <p:cNvSpPr>
              <a:spLocks noChangeArrowheads="1"/>
            </p:cNvSpPr>
            <p:nvPr/>
          </p:nvSpPr>
          <p:spPr bwMode="auto">
            <a:xfrm>
              <a:off x="8567310" y="2246225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4" name="LegendRectangle2"/>
            <p:cNvSpPr>
              <a:spLocks noChangeArrowheads="1"/>
            </p:cNvSpPr>
            <p:nvPr/>
          </p:nvSpPr>
          <p:spPr bwMode="auto">
            <a:xfrm>
              <a:off x="8336837" y="2246225"/>
              <a:ext cx="149807" cy="1463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auto">
            <a:xfrm>
              <a:off x="8567310" y="2486382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6" name="LegendRectangle3"/>
            <p:cNvSpPr>
              <a:spLocks noChangeArrowheads="1"/>
            </p:cNvSpPr>
            <p:nvPr/>
          </p:nvSpPr>
          <p:spPr bwMode="auto">
            <a:xfrm>
              <a:off x="8336837" y="2486382"/>
              <a:ext cx="149807" cy="146304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7" name="Legend4"/>
            <p:cNvSpPr>
              <a:spLocks noChangeArrowheads="1"/>
            </p:cNvSpPr>
            <p:nvPr/>
          </p:nvSpPr>
          <p:spPr bwMode="auto">
            <a:xfrm>
              <a:off x="8567310" y="2726539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8" name="LegendRectangle4"/>
            <p:cNvSpPr>
              <a:spLocks noChangeArrowheads="1"/>
            </p:cNvSpPr>
            <p:nvPr/>
          </p:nvSpPr>
          <p:spPr bwMode="auto">
            <a:xfrm>
              <a:off x="8336837" y="2726539"/>
              <a:ext cx="149807" cy="146304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</p:grpSp>
      <p:grpSp>
        <p:nvGrpSpPr>
          <p:cNvPr id="71" name="LegendLines" hidden="1"/>
          <p:cNvGrpSpPr/>
          <p:nvPr/>
        </p:nvGrpSpPr>
        <p:grpSpPr bwMode="auto">
          <a:xfrm>
            <a:off x="8044074" y="297001"/>
            <a:ext cx="935518" cy="614828"/>
            <a:chOff x="8057389" y="2020564"/>
            <a:chExt cx="935518" cy="614827"/>
          </a:xfrm>
        </p:grpSpPr>
        <p:sp>
          <p:nvSpPr>
            <p:cNvPr id="30" name="LineLegend1"/>
            <p:cNvSpPr>
              <a:spLocks noChangeShapeType="1"/>
            </p:cNvSpPr>
            <p:nvPr/>
          </p:nvSpPr>
          <p:spPr bwMode="auto">
            <a:xfrm>
              <a:off x="8057389" y="2097508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3" name="Legend1"/>
            <p:cNvSpPr>
              <a:spLocks noChangeArrowheads="1"/>
            </p:cNvSpPr>
            <p:nvPr/>
          </p:nvSpPr>
          <p:spPr bwMode="auto">
            <a:xfrm>
              <a:off x="8567310" y="2020564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31" name="LineLegend2"/>
            <p:cNvSpPr>
              <a:spLocks noChangeShapeType="1"/>
            </p:cNvSpPr>
            <p:nvPr/>
          </p:nvSpPr>
          <p:spPr bwMode="auto">
            <a:xfrm>
              <a:off x="8057389" y="2328001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4" name="Legend2"/>
            <p:cNvSpPr>
              <a:spLocks noChangeArrowheads="1"/>
            </p:cNvSpPr>
            <p:nvPr/>
          </p:nvSpPr>
          <p:spPr bwMode="auto">
            <a:xfrm>
              <a:off x="8567310" y="2251057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32" name="LineLegend3"/>
            <p:cNvSpPr>
              <a:spLocks noChangeShapeType="1"/>
            </p:cNvSpPr>
            <p:nvPr/>
          </p:nvSpPr>
          <p:spPr bwMode="auto">
            <a:xfrm>
              <a:off x="8057389" y="2558494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5" name="Legend3"/>
            <p:cNvSpPr>
              <a:spLocks noChangeArrowheads="1"/>
            </p:cNvSpPr>
            <p:nvPr/>
          </p:nvSpPr>
          <p:spPr bwMode="auto">
            <a:xfrm>
              <a:off x="8567310" y="2481550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</p:grpSp>
      <p:grpSp>
        <p:nvGrpSpPr>
          <p:cNvPr id="36" name="McKSticker" hidden="1"/>
          <p:cNvGrpSpPr/>
          <p:nvPr/>
        </p:nvGrpSpPr>
        <p:grpSpPr bwMode="auto">
          <a:xfrm>
            <a:off x="8082365" y="297001"/>
            <a:ext cx="894925" cy="181588"/>
            <a:chOff x="7754493" y="285750"/>
            <a:chExt cx="986282" cy="237304"/>
          </a:xfrm>
        </p:grpSpPr>
        <p:sp>
          <p:nvSpPr>
            <p:cNvPr id="37" name="StickerRectangle"/>
            <p:cNvSpPr>
              <a:spLocks noChangeArrowheads="1"/>
            </p:cNvSpPr>
            <p:nvPr/>
          </p:nvSpPr>
          <p:spPr bwMode="auto">
            <a:xfrm>
              <a:off x="7754493" y="285750"/>
              <a:ext cx="986282" cy="23730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8" name="AutoShape 31"/>
            <p:cNvCxnSpPr>
              <a:cxnSpLocks noChangeShapeType="1"/>
              <a:stCxn id="37" idx="2"/>
              <a:endCxn id="37" idx="4"/>
            </p:cNvCxnSpPr>
            <p:nvPr/>
          </p:nvCxnSpPr>
          <p:spPr bwMode="auto">
            <a:xfrm>
              <a:off x="7754493" y="285750"/>
              <a:ext cx="0" cy="23730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AutoShape 32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7754493" y="523054"/>
              <a:ext cx="9862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2" name="LegendMoons" hidden="1"/>
          <p:cNvGrpSpPr/>
          <p:nvPr/>
        </p:nvGrpSpPr>
        <p:grpSpPr bwMode="auto">
          <a:xfrm>
            <a:off x="8277315" y="297022"/>
            <a:ext cx="702280" cy="1104851"/>
            <a:chOff x="6915362" y="2006068"/>
            <a:chExt cx="702280" cy="1104851"/>
          </a:xfrm>
        </p:grpSpPr>
        <p:sp>
          <p:nvSpPr>
            <p:cNvPr id="44" name="Legend1"/>
            <p:cNvSpPr>
              <a:spLocks noChangeArrowheads="1"/>
            </p:cNvSpPr>
            <p:nvPr userDrawn="1"/>
          </p:nvSpPr>
          <p:spPr bwMode="auto">
            <a:xfrm>
              <a:off x="7192045" y="2020564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49" name="MoonLegend1"/>
            <p:cNvGrpSpPr>
              <a:grpSpLocks/>
            </p:cNvGrpSpPr>
            <p:nvPr userDrawn="1">
              <p:custDataLst>
                <p:tags r:id="rId4"/>
              </p:custDataLst>
            </p:nvPr>
          </p:nvGrpSpPr>
          <p:grpSpPr bwMode="auto">
            <a:xfrm>
              <a:off x="6915362" y="2006068"/>
              <a:ext cx="182880" cy="182880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5" name="Legend2"/>
            <p:cNvSpPr>
              <a:spLocks noChangeArrowheads="1"/>
            </p:cNvSpPr>
            <p:nvPr userDrawn="1"/>
          </p:nvSpPr>
          <p:spPr bwMode="auto">
            <a:xfrm>
              <a:off x="7192045" y="2251057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0" name="MoonLegend2"/>
            <p:cNvGrpSpPr>
              <a:grpSpLocks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6915362" y="2236561"/>
              <a:ext cx="182880" cy="182880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6" name="Legend3"/>
            <p:cNvSpPr>
              <a:spLocks noChangeArrowheads="1"/>
            </p:cNvSpPr>
            <p:nvPr userDrawn="1"/>
          </p:nvSpPr>
          <p:spPr bwMode="auto">
            <a:xfrm>
              <a:off x="7192045" y="2481550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1" name="MoonLegend3"/>
            <p:cNvGrpSpPr>
              <a:grpSpLocks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6915362" y="2467054"/>
              <a:ext cx="182880" cy="182880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7" name="Legend4"/>
            <p:cNvSpPr>
              <a:spLocks noChangeArrowheads="1"/>
            </p:cNvSpPr>
            <p:nvPr userDrawn="1"/>
          </p:nvSpPr>
          <p:spPr bwMode="auto">
            <a:xfrm>
              <a:off x="7192045" y="2712043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2" name="MoonLegend4"/>
            <p:cNvGrpSpPr>
              <a:grpSpLocks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6915362" y="2697547"/>
              <a:ext cx="182880" cy="182880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8" name="Legend5"/>
            <p:cNvSpPr>
              <a:spLocks noChangeArrowheads="1"/>
            </p:cNvSpPr>
            <p:nvPr userDrawn="1"/>
          </p:nvSpPr>
          <p:spPr bwMode="auto">
            <a:xfrm>
              <a:off x="7192045" y="2942535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3" name="MoonLegend5"/>
            <p:cNvGrpSpPr>
              <a:grpSpLocks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6915362" y="2928039"/>
              <a:ext cx="182880" cy="182880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</p:grpSp>
      <p:sp>
        <p:nvSpPr>
          <p:cNvPr id="11" name="McK 1. On-page tracker" hidden="1"/>
          <p:cNvSpPr>
            <a:spLocks noChangeArrowheads="1"/>
          </p:cNvSpPr>
          <p:nvPr/>
        </p:nvSpPr>
        <p:spPr bwMode="auto">
          <a:xfrm>
            <a:off x="166814" y="7915"/>
            <a:ext cx="872835" cy="219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214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67" name="TextBox 66"/>
          <p:cNvSpPr txBox="1">
            <a:spLocks/>
          </p:cNvSpPr>
          <p:nvPr/>
        </p:nvSpPr>
        <p:spPr bwMode="auto">
          <a:xfrm>
            <a:off x="8663149" y="4935545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 algn="r" defTabSz="913214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altLang="ja-JP" sz="700" smtClean="0">
                <a:solidFill>
                  <a:srgbClr val="676767"/>
                </a:solidFill>
                <a:latin typeface="Arial"/>
                <a:ea typeface="ＭＳ Ｐゴシック"/>
              </a:rPr>
              <a:pPr algn="r" defTabSz="91321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700" dirty="0">
              <a:solidFill>
                <a:srgbClr val="676767"/>
              </a:solidFill>
              <a:latin typeface="Arial"/>
              <a:ea typeface="ＭＳ Ｐゴシック"/>
            </a:endParaRPr>
          </a:p>
        </p:txBody>
      </p:sp>
      <p:grpSp>
        <p:nvGrpSpPr>
          <p:cNvPr id="3" name="McK Slide Elements" hidden="1"/>
          <p:cNvGrpSpPr/>
          <p:nvPr/>
        </p:nvGrpSpPr>
        <p:grpSpPr bwMode="auto">
          <a:xfrm>
            <a:off x="166814" y="4428739"/>
            <a:ext cx="8810379" cy="347102"/>
            <a:chOff x="166811" y="4241226"/>
            <a:chExt cx="8810379" cy="347101"/>
          </a:xfrm>
        </p:grpSpPr>
        <p:sp>
          <p:nvSpPr>
            <p:cNvPr id="68" name="McK 4. Footnote"/>
            <p:cNvSpPr txBox="1">
              <a:spLocks noChangeArrowheads="1"/>
            </p:cNvSpPr>
            <p:nvPr userDrawn="1"/>
          </p:nvSpPr>
          <p:spPr bwMode="auto">
            <a:xfrm>
              <a:off x="166811" y="4241226"/>
              <a:ext cx="8810379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676767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9" name="McK 5. Source"/>
            <p:cNvSpPr>
              <a:spLocks noChangeArrowheads="1"/>
            </p:cNvSpPr>
            <p:nvPr userDrawn="1"/>
          </p:nvSpPr>
          <p:spPr bwMode="auto">
            <a:xfrm>
              <a:off x="166811" y="4434486"/>
              <a:ext cx="8810379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269" indent="-469269" defTabSz="894184" fontAlgn="base">
                <a:spcBef>
                  <a:spcPct val="0"/>
                </a:spcBef>
                <a:spcAft>
                  <a:spcPct val="0"/>
                </a:spcAft>
                <a:tabLst>
                  <a:tab pos="474032" algn="l"/>
                </a:tabLst>
              </a:pPr>
              <a:r>
                <a:rPr lang="en-US" sz="1000" dirty="0">
                  <a:solidFill>
                    <a:srgbClr val="676767"/>
                  </a:solidFill>
                </a:rPr>
                <a:t>Source: Source</a:t>
              </a:r>
            </a:p>
          </p:txBody>
        </p:sp>
      </p:grpSp>
      <p:pic>
        <p:nvPicPr>
          <p:cNvPr id="64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943" y="480189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Rectangle 4"/>
          <p:cNvSpPr>
            <a:spLocks noChangeArrowheads="1"/>
          </p:cNvSpPr>
          <p:nvPr/>
        </p:nvSpPr>
        <p:spPr bwMode="auto">
          <a:xfrm>
            <a:off x="5575731" y="4935546"/>
            <a:ext cx="2906245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09954">
              <a:defRPr/>
            </a:pPr>
            <a:r>
              <a:rPr lang="en-US" sz="700" dirty="0">
                <a:solidFill>
                  <a:srgbClr val="676767"/>
                </a:solidFill>
                <a:cs typeface="CiscoSans Thin"/>
              </a:rPr>
              <a:t>© 2015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575857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70" r:id="rId1"/>
    <p:sldLayoutId id="2147484773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760494" rtl="0" eaLnBrk="1" fontAlgn="base" hangingPunct="1">
        <a:spcBef>
          <a:spcPct val="0"/>
        </a:spcBef>
        <a:spcAft>
          <a:spcPct val="0"/>
        </a:spcAft>
        <a:tabLst>
          <a:tab pos="303392" algn="l"/>
        </a:tabLst>
        <a:defRPr kumimoji="1" sz="2200" b="0" baseline="0">
          <a:solidFill>
            <a:schemeClr val="tx1"/>
          </a:solidFill>
          <a:latin typeface="+mj-lt"/>
          <a:ea typeface="+mj-ea"/>
          <a:cs typeface="Arial" pitchFamily="34" charset="0"/>
        </a:defRPr>
      </a:lvl1pPr>
      <a:lvl2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2pPr>
      <a:lvl3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3pPr>
      <a:lvl4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4pPr>
      <a:lvl5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5pPr>
      <a:lvl6pPr marL="388373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6pPr>
      <a:lvl7pPr marL="776671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7pPr>
      <a:lvl8pPr marL="1165018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8pPr>
      <a:lvl9pPr marL="1553340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164510" indent="-163160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388373" indent="-222464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21831" indent="-132159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▫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6pPr>
      <a:lvl7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7pPr>
      <a:lvl8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8pPr>
      <a:lvl9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9pPr>
    </p:bodyStyle>
    <p:otherStyle>
      <a:defPPr>
        <a:defRPr lang="en-US"/>
      </a:defPPr>
      <a:lvl1pPr marL="0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8373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6671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5018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3340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1713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0037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18358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06682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0" y="25"/>
            <a:ext cx="161984" cy="121481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6" y="1989514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ext styles</a:t>
            </a:r>
          </a:p>
          <a:p>
            <a:pPr lvl="1"/>
            <a:r>
              <a:rPr lang="en-US" altLang="ja-JP" noProof="0" smtClean="0"/>
              <a:t>Second level</a:t>
            </a:r>
          </a:p>
          <a:p>
            <a:pPr lvl="2"/>
            <a:r>
              <a:rPr lang="en-US" altLang="ja-JP" noProof="0" smtClean="0"/>
              <a:t>Third level</a:t>
            </a:r>
          </a:p>
          <a:p>
            <a:pPr lvl="3"/>
            <a:r>
              <a:rPr lang="en-US" altLang="ja-JP" noProof="0" smtClean="0"/>
              <a:t>Fourth level</a:t>
            </a:r>
          </a:p>
          <a:p>
            <a:pPr lvl="4"/>
            <a:r>
              <a:rPr lang="en-US" altLang="ja-JP" noProof="0" smtClean="0"/>
              <a:t>Fifth level</a:t>
            </a:r>
            <a:endParaRPr lang="en-US" altLang="ja-JP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  <p:sp>
        <p:nvSpPr>
          <p:cNvPr id="12" name="McK 3. Unit of measure" hidden="1"/>
          <p:cNvSpPr txBox="1">
            <a:spLocks noChangeArrowheads="1"/>
          </p:cNvSpPr>
          <p:nvPr/>
        </p:nvSpPr>
        <p:spPr bwMode="auto">
          <a:xfrm>
            <a:off x="166814" y="567123"/>
            <a:ext cx="8810379" cy="246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600" dirty="0" smtClean="0">
                <a:solidFill>
                  <a:srgbClr val="808080"/>
                </a:solidFill>
                <a:latin typeface="Arial"/>
                <a:cs typeface="Arial" pitchFamily="34" charset="0"/>
              </a:rPr>
              <a:t>Unit of measure</a:t>
            </a:r>
          </a:p>
        </p:txBody>
      </p: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2377116" y="1435560"/>
            <a:ext cx="4389768" cy="506574"/>
            <a:chOff x="915" y="613"/>
            <a:chExt cx="2686" cy="417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b="1" dirty="0">
                  <a:solidFill>
                    <a:srgbClr val="676767"/>
                  </a:solidFill>
                  <a:cs typeface="Arial" pitchFamily="34" charset="0"/>
                </a:rPr>
                <a:t>Title</a:t>
              </a:r>
            </a:p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dirty="0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grpSp>
        <p:nvGrpSpPr>
          <p:cNvPr id="66" name="LegendBoxes" hidden="1"/>
          <p:cNvGrpSpPr/>
          <p:nvPr/>
        </p:nvGrpSpPr>
        <p:grpSpPr bwMode="auto">
          <a:xfrm>
            <a:off x="8323524" y="297015"/>
            <a:ext cx="656070" cy="874313"/>
            <a:chOff x="8336837" y="2006068"/>
            <a:chExt cx="656070" cy="874312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auto">
            <a:xfrm>
              <a:off x="8567310" y="2006068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2" name="LegendRectangle1"/>
            <p:cNvSpPr>
              <a:spLocks noChangeArrowheads="1"/>
            </p:cNvSpPr>
            <p:nvPr/>
          </p:nvSpPr>
          <p:spPr bwMode="auto">
            <a:xfrm>
              <a:off x="8336837" y="2006068"/>
              <a:ext cx="149807" cy="1463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3" name="Legend2"/>
            <p:cNvSpPr>
              <a:spLocks noChangeArrowheads="1"/>
            </p:cNvSpPr>
            <p:nvPr/>
          </p:nvSpPr>
          <p:spPr bwMode="auto">
            <a:xfrm>
              <a:off x="8567310" y="2246225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4" name="LegendRectangle2"/>
            <p:cNvSpPr>
              <a:spLocks noChangeArrowheads="1"/>
            </p:cNvSpPr>
            <p:nvPr/>
          </p:nvSpPr>
          <p:spPr bwMode="auto">
            <a:xfrm>
              <a:off x="8336837" y="2246225"/>
              <a:ext cx="149807" cy="1463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auto">
            <a:xfrm>
              <a:off x="8567310" y="2486382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6" name="LegendRectangle3"/>
            <p:cNvSpPr>
              <a:spLocks noChangeArrowheads="1"/>
            </p:cNvSpPr>
            <p:nvPr/>
          </p:nvSpPr>
          <p:spPr bwMode="auto">
            <a:xfrm>
              <a:off x="8336837" y="2486382"/>
              <a:ext cx="149807" cy="146304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7" name="Legend4"/>
            <p:cNvSpPr>
              <a:spLocks noChangeArrowheads="1"/>
            </p:cNvSpPr>
            <p:nvPr/>
          </p:nvSpPr>
          <p:spPr bwMode="auto">
            <a:xfrm>
              <a:off x="8567310" y="2726539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8" name="LegendRectangle4"/>
            <p:cNvSpPr>
              <a:spLocks noChangeArrowheads="1"/>
            </p:cNvSpPr>
            <p:nvPr/>
          </p:nvSpPr>
          <p:spPr bwMode="auto">
            <a:xfrm>
              <a:off x="8336837" y="2726539"/>
              <a:ext cx="149807" cy="146304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</p:grpSp>
      <p:grpSp>
        <p:nvGrpSpPr>
          <p:cNvPr id="71" name="LegendLines" hidden="1"/>
          <p:cNvGrpSpPr/>
          <p:nvPr/>
        </p:nvGrpSpPr>
        <p:grpSpPr bwMode="auto">
          <a:xfrm>
            <a:off x="8044074" y="297001"/>
            <a:ext cx="935518" cy="614828"/>
            <a:chOff x="8057389" y="2020564"/>
            <a:chExt cx="935518" cy="614827"/>
          </a:xfrm>
        </p:grpSpPr>
        <p:sp>
          <p:nvSpPr>
            <p:cNvPr id="30" name="LineLegend1"/>
            <p:cNvSpPr>
              <a:spLocks noChangeShapeType="1"/>
            </p:cNvSpPr>
            <p:nvPr/>
          </p:nvSpPr>
          <p:spPr bwMode="auto">
            <a:xfrm>
              <a:off x="8057389" y="2097508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3" name="Legend1"/>
            <p:cNvSpPr>
              <a:spLocks noChangeArrowheads="1"/>
            </p:cNvSpPr>
            <p:nvPr/>
          </p:nvSpPr>
          <p:spPr bwMode="auto">
            <a:xfrm>
              <a:off x="8567310" y="2020564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31" name="LineLegend2"/>
            <p:cNvSpPr>
              <a:spLocks noChangeShapeType="1"/>
            </p:cNvSpPr>
            <p:nvPr/>
          </p:nvSpPr>
          <p:spPr bwMode="auto">
            <a:xfrm>
              <a:off x="8057389" y="2328001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4" name="Legend2"/>
            <p:cNvSpPr>
              <a:spLocks noChangeArrowheads="1"/>
            </p:cNvSpPr>
            <p:nvPr/>
          </p:nvSpPr>
          <p:spPr bwMode="auto">
            <a:xfrm>
              <a:off x="8567310" y="2251057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32" name="LineLegend3"/>
            <p:cNvSpPr>
              <a:spLocks noChangeShapeType="1"/>
            </p:cNvSpPr>
            <p:nvPr/>
          </p:nvSpPr>
          <p:spPr bwMode="auto">
            <a:xfrm>
              <a:off x="8057389" y="2558494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5" name="Legend3"/>
            <p:cNvSpPr>
              <a:spLocks noChangeArrowheads="1"/>
            </p:cNvSpPr>
            <p:nvPr/>
          </p:nvSpPr>
          <p:spPr bwMode="auto">
            <a:xfrm>
              <a:off x="8567310" y="2481550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</p:grpSp>
      <p:grpSp>
        <p:nvGrpSpPr>
          <p:cNvPr id="36" name="McKSticker" hidden="1"/>
          <p:cNvGrpSpPr/>
          <p:nvPr/>
        </p:nvGrpSpPr>
        <p:grpSpPr bwMode="auto">
          <a:xfrm>
            <a:off x="8082365" y="297001"/>
            <a:ext cx="894925" cy="181588"/>
            <a:chOff x="7754493" y="285750"/>
            <a:chExt cx="986282" cy="237304"/>
          </a:xfrm>
        </p:grpSpPr>
        <p:sp>
          <p:nvSpPr>
            <p:cNvPr id="37" name="StickerRectangle"/>
            <p:cNvSpPr>
              <a:spLocks noChangeArrowheads="1"/>
            </p:cNvSpPr>
            <p:nvPr/>
          </p:nvSpPr>
          <p:spPr bwMode="auto">
            <a:xfrm>
              <a:off x="7754493" y="285750"/>
              <a:ext cx="986282" cy="23730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8" name="AutoShape 31"/>
            <p:cNvCxnSpPr>
              <a:cxnSpLocks noChangeShapeType="1"/>
              <a:stCxn id="37" idx="2"/>
              <a:endCxn id="37" idx="4"/>
            </p:cNvCxnSpPr>
            <p:nvPr/>
          </p:nvCxnSpPr>
          <p:spPr bwMode="auto">
            <a:xfrm>
              <a:off x="7754493" y="285750"/>
              <a:ext cx="0" cy="23730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AutoShape 32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7754493" y="523054"/>
              <a:ext cx="9862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2" name="LegendMoons" hidden="1"/>
          <p:cNvGrpSpPr/>
          <p:nvPr/>
        </p:nvGrpSpPr>
        <p:grpSpPr bwMode="auto">
          <a:xfrm>
            <a:off x="8277315" y="297022"/>
            <a:ext cx="702280" cy="1104851"/>
            <a:chOff x="6915362" y="2006068"/>
            <a:chExt cx="702280" cy="1104851"/>
          </a:xfrm>
        </p:grpSpPr>
        <p:sp>
          <p:nvSpPr>
            <p:cNvPr id="44" name="Legend1"/>
            <p:cNvSpPr>
              <a:spLocks noChangeArrowheads="1"/>
            </p:cNvSpPr>
            <p:nvPr userDrawn="1"/>
          </p:nvSpPr>
          <p:spPr bwMode="auto">
            <a:xfrm>
              <a:off x="7192045" y="2020564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49" name="MoonLegend1"/>
            <p:cNvGrpSpPr>
              <a:grpSpLocks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6915362" y="2006068"/>
              <a:ext cx="182880" cy="182880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5" name="Legend2"/>
            <p:cNvSpPr>
              <a:spLocks noChangeArrowheads="1"/>
            </p:cNvSpPr>
            <p:nvPr userDrawn="1"/>
          </p:nvSpPr>
          <p:spPr bwMode="auto">
            <a:xfrm>
              <a:off x="7192045" y="2251057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0" name="MoonLegend2"/>
            <p:cNvGrpSpPr>
              <a:grpSpLocks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6915362" y="2236561"/>
              <a:ext cx="182880" cy="182880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6" name="Legend3"/>
            <p:cNvSpPr>
              <a:spLocks noChangeArrowheads="1"/>
            </p:cNvSpPr>
            <p:nvPr userDrawn="1"/>
          </p:nvSpPr>
          <p:spPr bwMode="auto">
            <a:xfrm>
              <a:off x="7192045" y="2481550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1" name="MoonLegend3"/>
            <p:cNvGrpSpPr>
              <a:grpSpLocks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6915362" y="2467054"/>
              <a:ext cx="182880" cy="182880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7" name="Legend4"/>
            <p:cNvSpPr>
              <a:spLocks noChangeArrowheads="1"/>
            </p:cNvSpPr>
            <p:nvPr userDrawn="1"/>
          </p:nvSpPr>
          <p:spPr bwMode="auto">
            <a:xfrm>
              <a:off x="7192045" y="2712043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2" name="MoonLegend4"/>
            <p:cNvGrpSpPr>
              <a:grpSpLocks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6915362" y="2697547"/>
              <a:ext cx="182880" cy="182880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8" name="Legend5"/>
            <p:cNvSpPr>
              <a:spLocks noChangeArrowheads="1"/>
            </p:cNvSpPr>
            <p:nvPr userDrawn="1"/>
          </p:nvSpPr>
          <p:spPr bwMode="auto">
            <a:xfrm>
              <a:off x="7192045" y="2942535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3" name="MoonLegend5"/>
            <p:cNvGrpSpPr>
              <a:grpSpLocks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6915362" y="2928039"/>
              <a:ext cx="182880" cy="182880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</p:grpSp>
      <p:sp>
        <p:nvSpPr>
          <p:cNvPr id="11" name="McK 1. On-page tracker" hidden="1"/>
          <p:cNvSpPr>
            <a:spLocks noChangeArrowheads="1"/>
          </p:cNvSpPr>
          <p:nvPr/>
        </p:nvSpPr>
        <p:spPr bwMode="auto">
          <a:xfrm>
            <a:off x="166814" y="7915"/>
            <a:ext cx="872835" cy="219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214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67" name="TextBox 66"/>
          <p:cNvSpPr txBox="1">
            <a:spLocks/>
          </p:cNvSpPr>
          <p:nvPr/>
        </p:nvSpPr>
        <p:spPr bwMode="auto">
          <a:xfrm>
            <a:off x="8663149" y="4935545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 algn="r" defTabSz="913214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altLang="ja-JP" sz="700" smtClean="0">
                <a:solidFill>
                  <a:srgbClr val="676767"/>
                </a:solidFill>
                <a:latin typeface="Arial"/>
                <a:ea typeface="ＭＳ Ｐゴシック"/>
              </a:rPr>
              <a:pPr algn="r" defTabSz="91321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700" dirty="0">
              <a:solidFill>
                <a:srgbClr val="676767"/>
              </a:solidFill>
              <a:latin typeface="Arial"/>
              <a:ea typeface="ＭＳ Ｐゴシック"/>
            </a:endParaRPr>
          </a:p>
        </p:txBody>
      </p:sp>
      <p:grpSp>
        <p:nvGrpSpPr>
          <p:cNvPr id="3" name="McK Slide Elements" hidden="1"/>
          <p:cNvGrpSpPr/>
          <p:nvPr/>
        </p:nvGrpSpPr>
        <p:grpSpPr bwMode="auto">
          <a:xfrm>
            <a:off x="166814" y="4428739"/>
            <a:ext cx="8810379" cy="347102"/>
            <a:chOff x="166811" y="4241226"/>
            <a:chExt cx="8810379" cy="347101"/>
          </a:xfrm>
        </p:grpSpPr>
        <p:sp>
          <p:nvSpPr>
            <p:cNvPr id="68" name="McK 4. Footnote"/>
            <p:cNvSpPr txBox="1">
              <a:spLocks noChangeArrowheads="1"/>
            </p:cNvSpPr>
            <p:nvPr userDrawn="1"/>
          </p:nvSpPr>
          <p:spPr bwMode="auto">
            <a:xfrm>
              <a:off x="166811" y="4241226"/>
              <a:ext cx="8810379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676767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9" name="McK 5. Source"/>
            <p:cNvSpPr>
              <a:spLocks noChangeArrowheads="1"/>
            </p:cNvSpPr>
            <p:nvPr userDrawn="1"/>
          </p:nvSpPr>
          <p:spPr bwMode="auto">
            <a:xfrm>
              <a:off x="166811" y="4434486"/>
              <a:ext cx="8810379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269" indent="-469269" defTabSz="894184" fontAlgn="base">
                <a:spcBef>
                  <a:spcPct val="0"/>
                </a:spcBef>
                <a:spcAft>
                  <a:spcPct val="0"/>
                </a:spcAft>
                <a:tabLst>
                  <a:tab pos="474032" algn="l"/>
                </a:tabLst>
              </a:pPr>
              <a:r>
                <a:rPr lang="en-US" sz="1000" dirty="0">
                  <a:solidFill>
                    <a:srgbClr val="676767"/>
                  </a:solidFill>
                </a:rPr>
                <a:t>Source: Source</a:t>
              </a:r>
            </a:p>
          </p:txBody>
        </p:sp>
      </p:grpSp>
      <p:pic>
        <p:nvPicPr>
          <p:cNvPr id="64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943" y="480189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Rectangle 4"/>
          <p:cNvSpPr>
            <a:spLocks noChangeArrowheads="1"/>
          </p:cNvSpPr>
          <p:nvPr/>
        </p:nvSpPr>
        <p:spPr bwMode="auto">
          <a:xfrm>
            <a:off x="5575731" y="4935546"/>
            <a:ext cx="2906245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09954">
              <a:defRPr/>
            </a:pPr>
            <a:r>
              <a:rPr lang="en-US" sz="700" dirty="0">
                <a:solidFill>
                  <a:srgbClr val="676767"/>
                </a:solidFill>
                <a:cs typeface="CiscoSans Thin"/>
              </a:rPr>
              <a:t>© 2015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450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75" r:id="rId1"/>
    <p:sldLayoutId id="2147484777" r:id="rId2"/>
    <p:sldLayoutId id="214748477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760494" rtl="0" eaLnBrk="1" fontAlgn="base" hangingPunct="1">
        <a:spcBef>
          <a:spcPct val="0"/>
        </a:spcBef>
        <a:spcAft>
          <a:spcPct val="0"/>
        </a:spcAft>
        <a:tabLst>
          <a:tab pos="303392" algn="l"/>
        </a:tabLst>
        <a:defRPr kumimoji="1" sz="2200" b="0" baseline="0">
          <a:solidFill>
            <a:schemeClr val="tx1"/>
          </a:solidFill>
          <a:latin typeface="+mj-lt"/>
          <a:ea typeface="+mj-ea"/>
          <a:cs typeface="Arial" pitchFamily="34" charset="0"/>
        </a:defRPr>
      </a:lvl1pPr>
      <a:lvl2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2pPr>
      <a:lvl3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3pPr>
      <a:lvl4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4pPr>
      <a:lvl5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5pPr>
      <a:lvl6pPr marL="388373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6pPr>
      <a:lvl7pPr marL="776671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7pPr>
      <a:lvl8pPr marL="1165018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8pPr>
      <a:lvl9pPr marL="1553340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164510" indent="-163160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388373" indent="-222464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21831" indent="-132159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▫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6pPr>
      <a:lvl7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7pPr>
      <a:lvl8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8pPr>
      <a:lvl9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9pPr>
    </p:bodyStyle>
    <p:otherStyle>
      <a:defPPr>
        <a:defRPr lang="en-US"/>
      </a:defPPr>
      <a:lvl1pPr marL="0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8373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6671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5018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3340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1713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0037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18358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06682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35"/>
          <a:srcRect/>
          <a:stretch>
            <a:fillRect/>
          </a:stretch>
        </p:blipFill>
        <p:spPr bwMode="auto">
          <a:xfrm>
            <a:off x="0" y="20"/>
            <a:ext cx="161984" cy="121481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6" y="1989514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ext styles</a:t>
            </a:r>
          </a:p>
          <a:p>
            <a:pPr lvl="1"/>
            <a:r>
              <a:rPr lang="en-US" altLang="ja-JP" noProof="0" smtClean="0"/>
              <a:t>Second level</a:t>
            </a:r>
          </a:p>
          <a:p>
            <a:pPr lvl="2"/>
            <a:r>
              <a:rPr lang="en-US" altLang="ja-JP" noProof="0" smtClean="0"/>
              <a:t>Third level</a:t>
            </a:r>
          </a:p>
          <a:p>
            <a:pPr lvl="3"/>
            <a:r>
              <a:rPr lang="en-US" altLang="ja-JP" noProof="0" smtClean="0"/>
              <a:t>Fourth level</a:t>
            </a:r>
          </a:p>
          <a:p>
            <a:pPr lvl="4"/>
            <a:r>
              <a:rPr lang="en-US" altLang="ja-JP" noProof="0" smtClean="0"/>
              <a:t>Fifth level</a:t>
            </a:r>
            <a:endParaRPr lang="en-US" altLang="ja-JP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  <p:sp>
        <p:nvSpPr>
          <p:cNvPr id="12" name="McK 3. Unit of measure" hidden="1"/>
          <p:cNvSpPr txBox="1">
            <a:spLocks noChangeArrowheads="1"/>
          </p:cNvSpPr>
          <p:nvPr/>
        </p:nvSpPr>
        <p:spPr bwMode="auto">
          <a:xfrm>
            <a:off x="166814" y="567123"/>
            <a:ext cx="8810379" cy="246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600" dirty="0" smtClean="0">
                <a:solidFill>
                  <a:srgbClr val="808080"/>
                </a:solidFill>
                <a:latin typeface="Arial"/>
                <a:cs typeface="Arial" pitchFamily="34" charset="0"/>
              </a:rPr>
              <a:t>Unit of measure</a:t>
            </a:r>
          </a:p>
        </p:txBody>
      </p: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2377116" y="1435560"/>
            <a:ext cx="4389768" cy="506574"/>
            <a:chOff x="915" y="613"/>
            <a:chExt cx="2686" cy="417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93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b="1" dirty="0">
                  <a:solidFill>
                    <a:srgbClr val="676767"/>
                  </a:solidFill>
                  <a:cs typeface="Arial" pitchFamily="34" charset="0"/>
                </a:rPr>
                <a:t>Title</a:t>
              </a:r>
            </a:p>
            <a:p>
              <a:pPr defTabSz="91393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dirty="0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grpSp>
        <p:nvGrpSpPr>
          <p:cNvPr id="66" name="LegendBoxes" hidden="1"/>
          <p:cNvGrpSpPr/>
          <p:nvPr/>
        </p:nvGrpSpPr>
        <p:grpSpPr bwMode="auto">
          <a:xfrm>
            <a:off x="8323524" y="297015"/>
            <a:ext cx="656070" cy="874313"/>
            <a:chOff x="8336837" y="2006068"/>
            <a:chExt cx="656070" cy="874312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auto">
            <a:xfrm>
              <a:off x="8567310" y="2006068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10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2" name="LegendRectangle1"/>
            <p:cNvSpPr>
              <a:spLocks noChangeArrowheads="1"/>
            </p:cNvSpPr>
            <p:nvPr/>
          </p:nvSpPr>
          <p:spPr bwMode="auto">
            <a:xfrm>
              <a:off x="8336837" y="2006068"/>
              <a:ext cx="149807" cy="1463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93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3" name="Legend2"/>
            <p:cNvSpPr>
              <a:spLocks noChangeArrowheads="1"/>
            </p:cNvSpPr>
            <p:nvPr/>
          </p:nvSpPr>
          <p:spPr bwMode="auto">
            <a:xfrm>
              <a:off x="8567310" y="2246225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10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4" name="LegendRectangle2"/>
            <p:cNvSpPr>
              <a:spLocks noChangeArrowheads="1"/>
            </p:cNvSpPr>
            <p:nvPr/>
          </p:nvSpPr>
          <p:spPr bwMode="auto">
            <a:xfrm>
              <a:off x="8336837" y="2246225"/>
              <a:ext cx="149807" cy="1463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93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auto">
            <a:xfrm>
              <a:off x="8567310" y="2486382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10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6" name="LegendRectangle3"/>
            <p:cNvSpPr>
              <a:spLocks noChangeArrowheads="1"/>
            </p:cNvSpPr>
            <p:nvPr/>
          </p:nvSpPr>
          <p:spPr bwMode="auto">
            <a:xfrm>
              <a:off x="8336837" y="2486382"/>
              <a:ext cx="149807" cy="146304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93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7" name="Legend4"/>
            <p:cNvSpPr>
              <a:spLocks noChangeArrowheads="1"/>
            </p:cNvSpPr>
            <p:nvPr/>
          </p:nvSpPr>
          <p:spPr bwMode="auto">
            <a:xfrm>
              <a:off x="8567310" y="2726539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10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8" name="LegendRectangle4"/>
            <p:cNvSpPr>
              <a:spLocks noChangeArrowheads="1"/>
            </p:cNvSpPr>
            <p:nvPr/>
          </p:nvSpPr>
          <p:spPr bwMode="auto">
            <a:xfrm>
              <a:off x="8336837" y="2726539"/>
              <a:ext cx="149807" cy="146304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93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</p:grpSp>
      <p:grpSp>
        <p:nvGrpSpPr>
          <p:cNvPr id="71" name="LegendLines" hidden="1"/>
          <p:cNvGrpSpPr/>
          <p:nvPr/>
        </p:nvGrpSpPr>
        <p:grpSpPr bwMode="auto">
          <a:xfrm>
            <a:off x="8044074" y="297001"/>
            <a:ext cx="935518" cy="614828"/>
            <a:chOff x="8057389" y="2020564"/>
            <a:chExt cx="935518" cy="614827"/>
          </a:xfrm>
        </p:grpSpPr>
        <p:sp>
          <p:nvSpPr>
            <p:cNvPr id="30" name="LineLegend1"/>
            <p:cNvSpPr>
              <a:spLocks noChangeShapeType="1"/>
            </p:cNvSpPr>
            <p:nvPr/>
          </p:nvSpPr>
          <p:spPr bwMode="auto">
            <a:xfrm>
              <a:off x="8057389" y="2097508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93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3" name="Legend1"/>
            <p:cNvSpPr>
              <a:spLocks noChangeArrowheads="1"/>
            </p:cNvSpPr>
            <p:nvPr/>
          </p:nvSpPr>
          <p:spPr bwMode="auto">
            <a:xfrm>
              <a:off x="8567310" y="2020564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10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31" name="LineLegend2"/>
            <p:cNvSpPr>
              <a:spLocks noChangeShapeType="1"/>
            </p:cNvSpPr>
            <p:nvPr/>
          </p:nvSpPr>
          <p:spPr bwMode="auto">
            <a:xfrm>
              <a:off x="8057389" y="2328001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93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4" name="Legend2"/>
            <p:cNvSpPr>
              <a:spLocks noChangeArrowheads="1"/>
            </p:cNvSpPr>
            <p:nvPr/>
          </p:nvSpPr>
          <p:spPr bwMode="auto">
            <a:xfrm>
              <a:off x="8567310" y="2251057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10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32" name="LineLegend3"/>
            <p:cNvSpPr>
              <a:spLocks noChangeShapeType="1"/>
            </p:cNvSpPr>
            <p:nvPr/>
          </p:nvSpPr>
          <p:spPr bwMode="auto">
            <a:xfrm>
              <a:off x="8057389" y="2558494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93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5" name="Legend3"/>
            <p:cNvSpPr>
              <a:spLocks noChangeArrowheads="1"/>
            </p:cNvSpPr>
            <p:nvPr/>
          </p:nvSpPr>
          <p:spPr bwMode="auto">
            <a:xfrm>
              <a:off x="8567310" y="2481550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10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</p:grpSp>
      <p:grpSp>
        <p:nvGrpSpPr>
          <p:cNvPr id="36" name="McKSticker" hidden="1"/>
          <p:cNvGrpSpPr/>
          <p:nvPr/>
        </p:nvGrpSpPr>
        <p:grpSpPr bwMode="auto">
          <a:xfrm>
            <a:off x="8082301" y="297001"/>
            <a:ext cx="894925" cy="181588"/>
            <a:chOff x="7754493" y="285750"/>
            <a:chExt cx="986282" cy="237304"/>
          </a:xfrm>
        </p:grpSpPr>
        <p:sp>
          <p:nvSpPr>
            <p:cNvPr id="37" name="StickerRectangle"/>
            <p:cNvSpPr>
              <a:spLocks noChangeArrowheads="1"/>
            </p:cNvSpPr>
            <p:nvPr/>
          </p:nvSpPr>
          <p:spPr bwMode="auto">
            <a:xfrm>
              <a:off x="7754493" y="285750"/>
              <a:ext cx="986282" cy="23730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6110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8" name="AutoShape 31"/>
            <p:cNvCxnSpPr>
              <a:cxnSpLocks noChangeShapeType="1"/>
              <a:stCxn id="37" idx="2"/>
              <a:endCxn id="37" idx="4"/>
            </p:cNvCxnSpPr>
            <p:nvPr/>
          </p:nvCxnSpPr>
          <p:spPr bwMode="auto">
            <a:xfrm>
              <a:off x="7754493" y="285750"/>
              <a:ext cx="0" cy="23730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AutoShape 32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7754493" y="523054"/>
              <a:ext cx="9862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2" name="LegendMoons" hidden="1"/>
          <p:cNvGrpSpPr/>
          <p:nvPr/>
        </p:nvGrpSpPr>
        <p:grpSpPr bwMode="auto">
          <a:xfrm>
            <a:off x="8277315" y="297012"/>
            <a:ext cx="702280" cy="1104851"/>
            <a:chOff x="6915362" y="2006068"/>
            <a:chExt cx="702280" cy="1104851"/>
          </a:xfrm>
        </p:grpSpPr>
        <p:sp>
          <p:nvSpPr>
            <p:cNvPr id="44" name="Legend1"/>
            <p:cNvSpPr>
              <a:spLocks noChangeArrowheads="1"/>
            </p:cNvSpPr>
            <p:nvPr userDrawn="1"/>
          </p:nvSpPr>
          <p:spPr bwMode="auto">
            <a:xfrm>
              <a:off x="7192045" y="2020564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10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49" name="MoonLegend1"/>
            <p:cNvGrpSpPr>
              <a:grpSpLocks/>
            </p:cNvGrpSpPr>
            <p:nvPr userDrawn="1">
              <p:custDataLst>
                <p:tags r:id="rId20"/>
              </p:custDataLst>
            </p:nvPr>
          </p:nvGrpSpPr>
          <p:grpSpPr bwMode="auto">
            <a:xfrm>
              <a:off x="6915362" y="2006068"/>
              <a:ext cx="182880" cy="182880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93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93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5" name="Legend2"/>
            <p:cNvSpPr>
              <a:spLocks noChangeArrowheads="1"/>
            </p:cNvSpPr>
            <p:nvPr userDrawn="1"/>
          </p:nvSpPr>
          <p:spPr bwMode="auto">
            <a:xfrm>
              <a:off x="7192045" y="2251057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10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0" name="MoonLegend2"/>
            <p:cNvGrpSpPr>
              <a:grpSpLocks/>
            </p:cNvGrpSpPr>
            <p:nvPr userDrawn="1">
              <p:custDataLst>
                <p:tags r:id="rId21"/>
              </p:custDataLst>
            </p:nvPr>
          </p:nvGrpSpPr>
          <p:grpSpPr bwMode="auto">
            <a:xfrm>
              <a:off x="6915362" y="2236561"/>
              <a:ext cx="182880" cy="182880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93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93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6" name="Legend3"/>
            <p:cNvSpPr>
              <a:spLocks noChangeArrowheads="1"/>
            </p:cNvSpPr>
            <p:nvPr userDrawn="1"/>
          </p:nvSpPr>
          <p:spPr bwMode="auto">
            <a:xfrm>
              <a:off x="7192045" y="2481550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10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1" name="MoonLegend3"/>
            <p:cNvGrpSpPr>
              <a:grpSpLocks/>
            </p:cNvGrpSpPr>
            <p:nvPr userDrawn="1">
              <p:custDataLst>
                <p:tags r:id="rId22"/>
              </p:custDataLst>
            </p:nvPr>
          </p:nvGrpSpPr>
          <p:grpSpPr bwMode="auto">
            <a:xfrm>
              <a:off x="6915362" y="2467054"/>
              <a:ext cx="182880" cy="182880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93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93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7" name="Legend4"/>
            <p:cNvSpPr>
              <a:spLocks noChangeArrowheads="1"/>
            </p:cNvSpPr>
            <p:nvPr userDrawn="1"/>
          </p:nvSpPr>
          <p:spPr bwMode="auto">
            <a:xfrm>
              <a:off x="7192045" y="2712043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10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2" name="MoonLegend4"/>
            <p:cNvGrpSpPr>
              <a:grpSpLocks/>
            </p:cNvGrpSpPr>
            <p:nvPr userDrawn="1">
              <p:custDataLst>
                <p:tags r:id="rId23"/>
              </p:custDataLst>
            </p:nvPr>
          </p:nvGrpSpPr>
          <p:grpSpPr bwMode="auto">
            <a:xfrm>
              <a:off x="6915362" y="2697547"/>
              <a:ext cx="182880" cy="182880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93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93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8" name="Legend5"/>
            <p:cNvSpPr>
              <a:spLocks noChangeArrowheads="1"/>
            </p:cNvSpPr>
            <p:nvPr userDrawn="1"/>
          </p:nvSpPr>
          <p:spPr bwMode="auto">
            <a:xfrm>
              <a:off x="7192045" y="2942535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10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3" name="MoonLegend5"/>
            <p:cNvGrpSpPr>
              <a:grpSpLocks/>
            </p:cNvGrpSpPr>
            <p:nvPr userDrawn="1">
              <p:custDataLst>
                <p:tags r:id="rId24"/>
              </p:custDataLst>
            </p:nvPr>
          </p:nvGrpSpPr>
          <p:grpSpPr bwMode="auto">
            <a:xfrm>
              <a:off x="6915362" y="2928039"/>
              <a:ext cx="182880" cy="182880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93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93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</p:grpSp>
      <p:sp>
        <p:nvSpPr>
          <p:cNvPr id="11" name="McK 1. On-page tracker" hidden="1"/>
          <p:cNvSpPr>
            <a:spLocks noChangeArrowheads="1"/>
          </p:cNvSpPr>
          <p:nvPr/>
        </p:nvSpPr>
        <p:spPr bwMode="auto">
          <a:xfrm>
            <a:off x="166814" y="7915"/>
            <a:ext cx="872835" cy="219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934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67" name="TextBox 66"/>
          <p:cNvSpPr txBox="1">
            <a:spLocks/>
          </p:cNvSpPr>
          <p:nvPr/>
        </p:nvSpPr>
        <p:spPr bwMode="auto">
          <a:xfrm>
            <a:off x="8663149" y="4935545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 algn="r" defTabSz="913934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altLang="ja-JP" sz="700" smtClean="0">
                <a:solidFill>
                  <a:srgbClr val="676767"/>
                </a:solidFill>
                <a:latin typeface="Arial"/>
                <a:ea typeface="ＭＳ Ｐゴシック"/>
              </a:rPr>
              <a:pPr algn="r" defTabSz="91393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700" dirty="0">
              <a:solidFill>
                <a:srgbClr val="676767"/>
              </a:solidFill>
              <a:latin typeface="Arial"/>
              <a:ea typeface="ＭＳ Ｐゴシック"/>
            </a:endParaRPr>
          </a:p>
        </p:txBody>
      </p:sp>
      <p:grpSp>
        <p:nvGrpSpPr>
          <p:cNvPr id="3" name="McK Slide Elements" hidden="1"/>
          <p:cNvGrpSpPr/>
          <p:nvPr/>
        </p:nvGrpSpPr>
        <p:grpSpPr bwMode="auto">
          <a:xfrm>
            <a:off x="166814" y="4428739"/>
            <a:ext cx="8810379" cy="347102"/>
            <a:chOff x="166811" y="4241226"/>
            <a:chExt cx="8810379" cy="347101"/>
          </a:xfrm>
        </p:grpSpPr>
        <p:sp>
          <p:nvSpPr>
            <p:cNvPr id="68" name="McK 4. Footnote"/>
            <p:cNvSpPr txBox="1">
              <a:spLocks noChangeArrowheads="1"/>
            </p:cNvSpPr>
            <p:nvPr userDrawn="1"/>
          </p:nvSpPr>
          <p:spPr bwMode="auto">
            <a:xfrm>
              <a:off x="166811" y="4241226"/>
              <a:ext cx="8810379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676767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9" name="McK 5. Source"/>
            <p:cNvSpPr>
              <a:spLocks noChangeArrowheads="1"/>
            </p:cNvSpPr>
            <p:nvPr userDrawn="1"/>
          </p:nvSpPr>
          <p:spPr bwMode="auto">
            <a:xfrm>
              <a:off x="166811" y="4434486"/>
              <a:ext cx="8810379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653" indent="-469653" defTabSz="894888" fontAlgn="base">
                <a:spcBef>
                  <a:spcPct val="0"/>
                </a:spcBef>
                <a:spcAft>
                  <a:spcPct val="0"/>
                </a:spcAft>
                <a:tabLst>
                  <a:tab pos="474416" algn="l"/>
                </a:tabLst>
              </a:pPr>
              <a:r>
                <a:rPr lang="en-US" sz="1000" dirty="0">
                  <a:solidFill>
                    <a:srgbClr val="676767"/>
                  </a:solidFill>
                </a:rPr>
                <a:t>Source: Source</a:t>
              </a:r>
            </a:p>
          </p:txBody>
        </p:sp>
      </p:grpSp>
      <p:pic>
        <p:nvPicPr>
          <p:cNvPr id="64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943" y="480189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Rectangle 4"/>
          <p:cNvSpPr>
            <a:spLocks noChangeArrowheads="1"/>
          </p:cNvSpPr>
          <p:nvPr/>
        </p:nvSpPr>
        <p:spPr bwMode="auto">
          <a:xfrm>
            <a:off x="5575699" y="4935546"/>
            <a:ext cx="2906245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434">
              <a:defRPr/>
            </a:pPr>
            <a:r>
              <a:rPr lang="en-US" sz="700" dirty="0">
                <a:solidFill>
                  <a:srgbClr val="676767"/>
                </a:solidFill>
                <a:cs typeface="CiscoSans Thin"/>
              </a:rPr>
              <a:t>© 2015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152032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0" r:id="rId1"/>
    <p:sldLayoutId id="2147484781" r:id="rId2"/>
    <p:sldLayoutId id="2147484782" r:id="rId3"/>
    <p:sldLayoutId id="2147484783" r:id="rId4"/>
    <p:sldLayoutId id="2147484784" r:id="rId5"/>
    <p:sldLayoutId id="2147484785" r:id="rId6"/>
    <p:sldLayoutId id="2147484786" r:id="rId7"/>
    <p:sldLayoutId id="2147484787" r:id="rId8"/>
    <p:sldLayoutId id="2147484788" r:id="rId9"/>
    <p:sldLayoutId id="2147484789" r:id="rId10"/>
    <p:sldLayoutId id="2147484790" r:id="rId11"/>
    <p:sldLayoutId id="2147484791" r:id="rId12"/>
    <p:sldLayoutId id="2147484792" r:id="rId13"/>
    <p:sldLayoutId id="2147484793" r:id="rId14"/>
    <p:sldLayoutId id="2147484794" r:id="rId15"/>
    <p:sldLayoutId id="2147484795" r:id="rId16"/>
    <p:sldLayoutId id="2147484796" r:id="rId17"/>
    <p:sldLayoutId id="2147484797" r:id="rId1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761102" rtl="0" eaLnBrk="1" fontAlgn="base" hangingPunct="1">
        <a:spcBef>
          <a:spcPct val="0"/>
        </a:spcBef>
        <a:spcAft>
          <a:spcPct val="0"/>
        </a:spcAft>
        <a:tabLst>
          <a:tab pos="303632" algn="l"/>
        </a:tabLst>
        <a:defRPr kumimoji="1" sz="2200" b="0" baseline="0">
          <a:solidFill>
            <a:schemeClr val="tx1"/>
          </a:solidFill>
          <a:latin typeface="+mj-lt"/>
          <a:ea typeface="+mj-ea"/>
          <a:cs typeface="Arial" pitchFamily="34" charset="0"/>
        </a:defRPr>
      </a:lvl1pPr>
      <a:lvl2pPr algn="l" defTabSz="761102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2pPr>
      <a:lvl3pPr algn="l" defTabSz="761102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3pPr>
      <a:lvl4pPr algn="l" defTabSz="761102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4pPr>
      <a:lvl5pPr algn="l" defTabSz="761102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5pPr>
      <a:lvl6pPr marL="388661" algn="l" defTabSz="761102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6pPr>
      <a:lvl7pPr marL="777295" algn="l" defTabSz="761102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7pPr>
      <a:lvl8pPr marL="1165946" algn="l" defTabSz="761102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8pPr>
      <a:lvl9pPr marL="1554588" algn="l" defTabSz="761102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76110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164638" indent="-163288" algn="l" defTabSz="7611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388661" indent="-222656" algn="l" defTabSz="7611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22247" indent="-132255" algn="l" defTabSz="7611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▫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637382" indent="-110654" algn="l" defTabSz="7611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637382" indent="-110654" algn="l" defTabSz="7611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6pPr>
      <a:lvl7pPr marL="637382" indent="-110654" algn="l" defTabSz="7611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7pPr>
      <a:lvl8pPr marL="637382" indent="-110654" algn="l" defTabSz="7611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8pPr>
      <a:lvl9pPr marL="637382" indent="-110654" algn="l" defTabSz="76110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9pPr>
    </p:bodyStyle>
    <p:otherStyle>
      <a:defPPr>
        <a:defRPr lang="en-US"/>
      </a:defPPr>
      <a:lvl1pPr marL="0" algn="l" defTabSz="777295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8661" algn="l" defTabSz="777295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7295" algn="l" defTabSz="777295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5946" algn="l" defTabSz="777295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4588" algn="l" defTabSz="777295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3249" algn="l" defTabSz="777295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1893" algn="l" defTabSz="777295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0534" algn="l" defTabSz="777295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09178" algn="l" defTabSz="777295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35"/>
          <a:srcRect/>
          <a:stretch>
            <a:fillRect/>
          </a:stretch>
        </p:blipFill>
        <p:spPr bwMode="auto">
          <a:xfrm>
            <a:off x="0" y="13"/>
            <a:ext cx="161984" cy="121481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6" y="1989514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ext styles</a:t>
            </a:r>
          </a:p>
          <a:p>
            <a:pPr lvl="1"/>
            <a:r>
              <a:rPr lang="en-US" altLang="ja-JP" noProof="0" smtClean="0"/>
              <a:t>Second level</a:t>
            </a:r>
          </a:p>
          <a:p>
            <a:pPr lvl="2"/>
            <a:r>
              <a:rPr lang="en-US" altLang="ja-JP" noProof="0" smtClean="0"/>
              <a:t>Third level</a:t>
            </a:r>
          </a:p>
          <a:p>
            <a:pPr lvl="3"/>
            <a:r>
              <a:rPr lang="en-US" altLang="ja-JP" noProof="0" smtClean="0"/>
              <a:t>Fourth level</a:t>
            </a:r>
          </a:p>
          <a:p>
            <a:pPr lvl="4"/>
            <a:r>
              <a:rPr lang="en-US" altLang="ja-JP" noProof="0" smtClean="0"/>
              <a:t>Fifth level</a:t>
            </a:r>
            <a:endParaRPr lang="en-US" altLang="ja-JP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  <p:sp>
        <p:nvSpPr>
          <p:cNvPr id="12" name="McK 3. Unit of measure" hidden="1"/>
          <p:cNvSpPr txBox="1">
            <a:spLocks noChangeArrowheads="1"/>
          </p:cNvSpPr>
          <p:nvPr/>
        </p:nvSpPr>
        <p:spPr bwMode="auto">
          <a:xfrm>
            <a:off x="166814" y="567123"/>
            <a:ext cx="8810379" cy="246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600" dirty="0" smtClean="0">
                <a:solidFill>
                  <a:srgbClr val="808080"/>
                </a:solidFill>
                <a:latin typeface="Arial"/>
                <a:cs typeface="Arial" pitchFamily="34" charset="0"/>
              </a:rPr>
              <a:t>Unit of measure</a:t>
            </a:r>
          </a:p>
        </p:txBody>
      </p: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2377116" y="1435560"/>
            <a:ext cx="4389768" cy="506574"/>
            <a:chOff x="915" y="613"/>
            <a:chExt cx="2686" cy="417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09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b="1" dirty="0">
                  <a:solidFill>
                    <a:srgbClr val="676767"/>
                  </a:solidFill>
                  <a:cs typeface="Arial" pitchFamily="34" charset="0"/>
                </a:rPr>
                <a:t>Title</a:t>
              </a:r>
            </a:p>
            <a:p>
              <a:pPr defTabSz="91409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dirty="0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grpSp>
        <p:nvGrpSpPr>
          <p:cNvPr id="66" name="LegendBoxes" hidden="1"/>
          <p:cNvGrpSpPr/>
          <p:nvPr/>
        </p:nvGrpSpPr>
        <p:grpSpPr bwMode="auto">
          <a:xfrm>
            <a:off x="8323524" y="297009"/>
            <a:ext cx="656070" cy="874313"/>
            <a:chOff x="8336837" y="2006068"/>
            <a:chExt cx="656070" cy="874312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auto">
            <a:xfrm>
              <a:off x="8567310" y="2006068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235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2" name="LegendRectangle1"/>
            <p:cNvSpPr>
              <a:spLocks noChangeArrowheads="1"/>
            </p:cNvSpPr>
            <p:nvPr/>
          </p:nvSpPr>
          <p:spPr bwMode="auto">
            <a:xfrm>
              <a:off x="8336837" y="2006068"/>
              <a:ext cx="149807" cy="1463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091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3" name="Legend2"/>
            <p:cNvSpPr>
              <a:spLocks noChangeArrowheads="1"/>
            </p:cNvSpPr>
            <p:nvPr/>
          </p:nvSpPr>
          <p:spPr bwMode="auto">
            <a:xfrm>
              <a:off x="8567310" y="2246225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235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4" name="LegendRectangle2"/>
            <p:cNvSpPr>
              <a:spLocks noChangeArrowheads="1"/>
            </p:cNvSpPr>
            <p:nvPr/>
          </p:nvSpPr>
          <p:spPr bwMode="auto">
            <a:xfrm>
              <a:off x="8336837" y="2246225"/>
              <a:ext cx="149807" cy="1463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091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auto">
            <a:xfrm>
              <a:off x="8567310" y="2486382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235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6" name="LegendRectangle3"/>
            <p:cNvSpPr>
              <a:spLocks noChangeArrowheads="1"/>
            </p:cNvSpPr>
            <p:nvPr/>
          </p:nvSpPr>
          <p:spPr bwMode="auto">
            <a:xfrm>
              <a:off x="8336837" y="2486382"/>
              <a:ext cx="149807" cy="146304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091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7" name="Legend4"/>
            <p:cNvSpPr>
              <a:spLocks noChangeArrowheads="1"/>
            </p:cNvSpPr>
            <p:nvPr/>
          </p:nvSpPr>
          <p:spPr bwMode="auto">
            <a:xfrm>
              <a:off x="8567310" y="2726539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235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8" name="LegendRectangle4"/>
            <p:cNvSpPr>
              <a:spLocks noChangeArrowheads="1"/>
            </p:cNvSpPr>
            <p:nvPr/>
          </p:nvSpPr>
          <p:spPr bwMode="auto">
            <a:xfrm>
              <a:off x="8336837" y="2726539"/>
              <a:ext cx="149807" cy="146304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091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</p:grpSp>
      <p:grpSp>
        <p:nvGrpSpPr>
          <p:cNvPr id="71" name="LegendLines" hidden="1"/>
          <p:cNvGrpSpPr/>
          <p:nvPr/>
        </p:nvGrpSpPr>
        <p:grpSpPr bwMode="auto">
          <a:xfrm>
            <a:off x="8044074" y="297001"/>
            <a:ext cx="935518" cy="614828"/>
            <a:chOff x="8057389" y="2020564"/>
            <a:chExt cx="935518" cy="614827"/>
          </a:xfrm>
        </p:grpSpPr>
        <p:sp>
          <p:nvSpPr>
            <p:cNvPr id="30" name="LineLegend1"/>
            <p:cNvSpPr>
              <a:spLocks noChangeShapeType="1"/>
            </p:cNvSpPr>
            <p:nvPr/>
          </p:nvSpPr>
          <p:spPr bwMode="auto">
            <a:xfrm>
              <a:off x="8057389" y="2097508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091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3" name="Legend1"/>
            <p:cNvSpPr>
              <a:spLocks noChangeArrowheads="1"/>
            </p:cNvSpPr>
            <p:nvPr/>
          </p:nvSpPr>
          <p:spPr bwMode="auto">
            <a:xfrm>
              <a:off x="8567310" y="2020564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235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31" name="LineLegend2"/>
            <p:cNvSpPr>
              <a:spLocks noChangeShapeType="1"/>
            </p:cNvSpPr>
            <p:nvPr/>
          </p:nvSpPr>
          <p:spPr bwMode="auto">
            <a:xfrm>
              <a:off x="8057389" y="2328001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091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4" name="Legend2"/>
            <p:cNvSpPr>
              <a:spLocks noChangeArrowheads="1"/>
            </p:cNvSpPr>
            <p:nvPr/>
          </p:nvSpPr>
          <p:spPr bwMode="auto">
            <a:xfrm>
              <a:off x="8567310" y="2251057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235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32" name="LineLegend3"/>
            <p:cNvSpPr>
              <a:spLocks noChangeShapeType="1"/>
            </p:cNvSpPr>
            <p:nvPr/>
          </p:nvSpPr>
          <p:spPr bwMode="auto">
            <a:xfrm>
              <a:off x="8057389" y="2558494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091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5" name="Legend3"/>
            <p:cNvSpPr>
              <a:spLocks noChangeArrowheads="1"/>
            </p:cNvSpPr>
            <p:nvPr/>
          </p:nvSpPr>
          <p:spPr bwMode="auto">
            <a:xfrm>
              <a:off x="8567310" y="2481550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235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</p:grpSp>
      <p:grpSp>
        <p:nvGrpSpPr>
          <p:cNvPr id="36" name="McKSticker" hidden="1"/>
          <p:cNvGrpSpPr/>
          <p:nvPr/>
        </p:nvGrpSpPr>
        <p:grpSpPr bwMode="auto">
          <a:xfrm>
            <a:off x="8082287" y="297001"/>
            <a:ext cx="894925" cy="181588"/>
            <a:chOff x="7754493" y="285750"/>
            <a:chExt cx="986282" cy="237304"/>
          </a:xfrm>
        </p:grpSpPr>
        <p:sp>
          <p:nvSpPr>
            <p:cNvPr id="37" name="StickerRectangle"/>
            <p:cNvSpPr>
              <a:spLocks noChangeArrowheads="1"/>
            </p:cNvSpPr>
            <p:nvPr/>
          </p:nvSpPr>
          <p:spPr bwMode="auto">
            <a:xfrm>
              <a:off x="7754493" y="285750"/>
              <a:ext cx="986282" cy="23730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61235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8" name="AutoShape 31"/>
            <p:cNvCxnSpPr>
              <a:cxnSpLocks noChangeShapeType="1"/>
              <a:stCxn id="37" idx="2"/>
              <a:endCxn id="37" idx="4"/>
            </p:cNvCxnSpPr>
            <p:nvPr/>
          </p:nvCxnSpPr>
          <p:spPr bwMode="auto">
            <a:xfrm>
              <a:off x="7754493" y="285750"/>
              <a:ext cx="0" cy="23730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AutoShape 32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7754493" y="523054"/>
              <a:ext cx="9862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2" name="LegendMoons" hidden="1"/>
          <p:cNvGrpSpPr/>
          <p:nvPr/>
        </p:nvGrpSpPr>
        <p:grpSpPr bwMode="auto">
          <a:xfrm>
            <a:off x="8277315" y="297005"/>
            <a:ext cx="702280" cy="1104851"/>
            <a:chOff x="6915362" y="2006068"/>
            <a:chExt cx="702280" cy="1104851"/>
          </a:xfrm>
        </p:grpSpPr>
        <p:sp>
          <p:nvSpPr>
            <p:cNvPr id="44" name="Legend1"/>
            <p:cNvSpPr>
              <a:spLocks noChangeArrowheads="1"/>
            </p:cNvSpPr>
            <p:nvPr userDrawn="1"/>
          </p:nvSpPr>
          <p:spPr bwMode="auto">
            <a:xfrm>
              <a:off x="7192045" y="2020564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235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49" name="MoonLegend1"/>
            <p:cNvGrpSpPr>
              <a:grpSpLocks/>
            </p:cNvGrpSpPr>
            <p:nvPr userDrawn="1">
              <p:custDataLst>
                <p:tags r:id="rId20"/>
              </p:custDataLst>
            </p:nvPr>
          </p:nvGrpSpPr>
          <p:grpSpPr bwMode="auto">
            <a:xfrm>
              <a:off x="6915362" y="2006068"/>
              <a:ext cx="182880" cy="182880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09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09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5" name="Legend2"/>
            <p:cNvSpPr>
              <a:spLocks noChangeArrowheads="1"/>
            </p:cNvSpPr>
            <p:nvPr userDrawn="1"/>
          </p:nvSpPr>
          <p:spPr bwMode="auto">
            <a:xfrm>
              <a:off x="7192045" y="2251057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235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0" name="MoonLegend2"/>
            <p:cNvGrpSpPr>
              <a:grpSpLocks/>
            </p:cNvGrpSpPr>
            <p:nvPr userDrawn="1">
              <p:custDataLst>
                <p:tags r:id="rId21"/>
              </p:custDataLst>
            </p:nvPr>
          </p:nvGrpSpPr>
          <p:grpSpPr bwMode="auto">
            <a:xfrm>
              <a:off x="6915362" y="2236561"/>
              <a:ext cx="182880" cy="182880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09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09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6" name="Legend3"/>
            <p:cNvSpPr>
              <a:spLocks noChangeArrowheads="1"/>
            </p:cNvSpPr>
            <p:nvPr userDrawn="1"/>
          </p:nvSpPr>
          <p:spPr bwMode="auto">
            <a:xfrm>
              <a:off x="7192045" y="2481550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235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1" name="MoonLegend3"/>
            <p:cNvGrpSpPr>
              <a:grpSpLocks/>
            </p:cNvGrpSpPr>
            <p:nvPr userDrawn="1">
              <p:custDataLst>
                <p:tags r:id="rId22"/>
              </p:custDataLst>
            </p:nvPr>
          </p:nvGrpSpPr>
          <p:grpSpPr bwMode="auto">
            <a:xfrm>
              <a:off x="6915362" y="2467054"/>
              <a:ext cx="182880" cy="182880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09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09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7" name="Legend4"/>
            <p:cNvSpPr>
              <a:spLocks noChangeArrowheads="1"/>
            </p:cNvSpPr>
            <p:nvPr userDrawn="1"/>
          </p:nvSpPr>
          <p:spPr bwMode="auto">
            <a:xfrm>
              <a:off x="7192045" y="2712043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235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2" name="MoonLegend4"/>
            <p:cNvGrpSpPr>
              <a:grpSpLocks/>
            </p:cNvGrpSpPr>
            <p:nvPr userDrawn="1">
              <p:custDataLst>
                <p:tags r:id="rId23"/>
              </p:custDataLst>
            </p:nvPr>
          </p:nvGrpSpPr>
          <p:grpSpPr bwMode="auto">
            <a:xfrm>
              <a:off x="6915362" y="2697547"/>
              <a:ext cx="182880" cy="182880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09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09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8" name="Legend5"/>
            <p:cNvSpPr>
              <a:spLocks noChangeArrowheads="1"/>
            </p:cNvSpPr>
            <p:nvPr userDrawn="1"/>
          </p:nvSpPr>
          <p:spPr bwMode="auto">
            <a:xfrm>
              <a:off x="7192045" y="2942535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235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3" name="MoonLegend5"/>
            <p:cNvGrpSpPr>
              <a:grpSpLocks/>
            </p:cNvGrpSpPr>
            <p:nvPr userDrawn="1">
              <p:custDataLst>
                <p:tags r:id="rId24"/>
              </p:custDataLst>
            </p:nvPr>
          </p:nvGrpSpPr>
          <p:grpSpPr bwMode="auto">
            <a:xfrm>
              <a:off x="6915362" y="2928039"/>
              <a:ext cx="182880" cy="182880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09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09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</p:grpSp>
      <p:sp>
        <p:nvSpPr>
          <p:cNvPr id="11" name="McK 1. On-page tracker" hidden="1"/>
          <p:cNvSpPr>
            <a:spLocks noChangeArrowheads="1"/>
          </p:cNvSpPr>
          <p:nvPr/>
        </p:nvSpPr>
        <p:spPr bwMode="auto">
          <a:xfrm>
            <a:off x="166814" y="7915"/>
            <a:ext cx="872835" cy="219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091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67" name="TextBox 66"/>
          <p:cNvSpPr txBox="1">
            <a:spLocks/>
          </p:cNvSpPr>
          <p:nvPr/>
        </p:nvSpPr>
        <p:spPr bwMode="auto">
          <a:xfrm>
            <a:off x="8663149" y="4935545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 algn="r" defTabSz="914091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altLang="ja-JP" sz="700" smtClean="0">
                <a:solidFill>
                  <a:srgbClr val="676767"/>
                </a:solidFill>
                <a:latin typeface="Arial"/>
                <a:ea typeface="ＭＳ Ｐゴシック"/>
              </a:rPr>
              <a:pPr algn="r" defTabSz="914091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700" dirty="0">
              <a:solidFill>
                <a:srgbClr val="676767"/>
              </a:solidFill>
              <a:latin typeface="Arial"/>
              <a:ea typeface="ＭＳ Ｐゴシック"/>
            </a:endParaRPr>
          </a:p>
        </p:txBody>
      </p:sp>
      <p:grpSp>
        <p:nvGrpSpPr>
          <p:cNvPr id="3" name="McK Slide Elements" hidden="1"/>
          <p:cNvGrpSpPr/>
          <p:nvPr/>
        </p:nvGrpSpPr>
        <p:grpSpPr bwMode="auto">
          <a:xfrm>
            <a:off x="166814" y="4428739"/>
            <a:ext cx="8810379" cy="347102"/>
            <a:chOff x="166811" y="4241226"/>
            <a:chExt cx="8810379" cy="347101"/>
          </a:xfrm>
        </p:grpSpPr>
        <p:sp>
          <p:nvSpPr>
            <p:cNvPr id="68" name="McK 4. Footnote"/>
            <p:cNvSpPr txBox="1">
              <a:spLocks noChangeArrowheads="1"/>
            </p:cNvSpPr>
            <p:nvPr userDrawn="1"/>
          </p:nvSpPr>
          <p:spPr bwMode="auto">
            <a:xfrm>
              <a:off x="166811" y="4241226"/>
              <a:ext cx="8810379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676767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9" name="McK 5. Source"/>
            <p:cNvSpPr>
              <a:spLocks noChangeArrowheads="1"/>
            </p:cNvSpPr>
            <p:nvPr userDrawn="1"/>
          </p:nvSpPr>
          <p:spPr bwMode="auto">
            <a:xfrm>
              <a:off x="166811" y="4434486"/>
              <a:ext cx="8810379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737" indent="-469737" defTabSz="895043" fontAlgn="base">
                <a:spcBef>
                  <a:spcPct val="0"/>
                </a:spcBef>
                <a:spcAft>
                  <a:spcPct val="0"/>
                </a:spcAft>
                <a:tabLst>
                  <a:tab pos="474500" algn="l"/>
                </a:tabLst>
              </a:pPr>
              <a:r>
                <a:rPr lang="en-US" sz="1000" dirty="0">
                  <a:solidFill>
                    <a:srgbClr val="676767"/>
                  </a:solidFill>
                </a:rPr>
                <a:t>Source: Source</a:t>
              </a:r>
            </a:p>
          </p:txBody>
        </p:sp>
      </p:grpSp>
      <p:pic>
        <p:nvPicPr>
          <p:cNvPr id="64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943" y="480189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Rectangle 4"/>
          <p:cNvSpPr>
            <a:spLocks noChangeArrowheads="1"/>
          </p:cNvSpPr>
          <p:nvPr/>
        </p:nvSpPr>
        <p:spPr bwMode="auto">
          <a:xfrm>
            <a:off x="5575692" y="4935546"/>
            <a:ext cx="2906245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539">
              <a:defRPr/>
            </a:pPr>
            <a:r>
              <a:rPr lang="en-US" sz="700" dirty="0">
                <a:solidFill>
                  <a:srgbClr val="676767"/>
                </a:solidFill>
                <a:cs typeface="CiscoSans Thin"/>
              </a:rPr>
              <a:t>© 2015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34915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9" r:id="rId1"/>
    <p:sldLayoutId id="2147484800" r:id="rId2"/>
    <p:sldLayoutId id="2147484801" r:id="rId3"/>
    <p:sldLayoutId id="2147484802" r:id="rId4"/>
    <p:sldLayoutId id="2147484803" r:id="rId5"/>
    <p:sldLayoutId id="2147484804" r:id="rId6"/>
    <p:sldLayoutId id="2147484805" r:id="rId7"/>
    <p:sldLayoutId id="2147484806" r:id="rId8"/>
    <p:sldLayoutId id="2147484807" r:id="rId9"/>
    <p:sldLayoutId id="2147484808" r:id="rId10"/>
    <p:sldLayoutId id="2147484809" r:id="rId11"/>
    <p:sldLayoutId id="2147484810" r:id="rId12"/>
    <p:sldLayoutId id="2147484811" r:id="rId13"/>
    <p:sldLayoutId id="2147484812" r:id="rId14"/>
    <p:sldLayoutId id="2147484813" r:id="rId15"/>
    <p:sldLayoutId id="2147484814" r:id="rId16"/>
    <p:sldLayoutId id="2147484815" r:id="rId17"/>
    <p:sldLayoutId id="2147484816" r:id="rId1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761235" rtl="0" eaLnBrk="1" fontAlgn="base" hangingPunct="1">
        <a:spcBef>
          <a:spcPct val="0"/>
        </a:spcBef>
        <a:spcAft>
          <a:spcPct val="0"/>
        </a:spcAft>
        <a:tabLst>
          <a:tab pos="303685" algn="l"/>
        </a:tabLst>
        <a:defRPr kumimoji="1" sz="2200" b="0" baseline="0">
          <a:solidFill>
            <a:schemeClr val="tx1"/>
          </a:solidFill>
          <a:latin typeface="+mj-lt"/>
          <a:ea typeface="+mj-ea"/>
          <a:cs typeface="Arial" pitchFamily="34" charset="0"/>
        </a:defRPr>
      </a:lvl1pPr>
      <a:lvl2pPr algn="l" defTabSz="761235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2pPr>
      <a:lvl3pPr algn="l" defTabSz="761235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3pPr>
      <a:lvl4pPr algn="l" defTabSz="761235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4pPr>
      <a:lvl5pPr algn="l" defTabSz="761235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5pPr>
      <a:lvl6pPr marL="388724" algn="l" defTabSz="761235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6pPr>
      <a:lvl7pPr marL="777431" algn="l" defTabSz="761235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7pPr>
      <a:lvl8pPr marL="1166149" algn="l" defTabSz="761235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8pPr>
      <a:lvl9pPr marL="1554861" algn="l" defTabSz="761235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761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164666" indent="-163316" algn="l" defTabSz="761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388724" indent="-222698" algn="l" defTabSz="761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22338" indent="-132276" algn="l" defTabSz="761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▫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637494" indent="-110675" algn="l" defTabSz="761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637494" indent="-110675" algn="l" defTabSz="761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6pPr>
      <a:lvl7pPr marL="637494" indent="-110675" algn="l" defTabSz="761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7pPr>
      <a:lvl8pPr marL="637494" indent="-110675" algn="l" defTabSz="761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8pPr>
      <a:lvl9pPr marL="637494" indent="-110675" algn="l" defTabSz="761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9pPr>
    </p:bodyStyle>
    <p:otherStyle>
      <a:defPPr>
        <a:defRPr lang="en-US"/>
      </a:defPPr>
      <a:lvl1pPr marL="0" algn="l" defTabSz="77743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8724" algn="l" defTabSz="77743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7431" algn="l" defTabSz="77743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6149" algn="l" defTabSz="77743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4861" algn="l" defTabSz="77743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3585" algn="l" defTabSz="77743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2299" algn="l" defTabSz="77743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1010" algn="l" defTabSz="77743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09724" algn="l" defTabSz="77743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2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55" tIns="34283" rIns="68555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970" y="4742916"/>
            <a:ext cx="218151" cy="1545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73" tIns="30791" rIns="61573" bIns="30791" anchor="b">
            <a:spAutoFit/>
          </a:bodyPr>
          <a:lstStyle/>
          <a:p>
            <a:pPr algn="r" defTabSz="610594"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cs typeface="CiscoSans Thin"/>
              </a:rPr>
              <a:pPr algn="r" defTabSz="61059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63"/>
            <a:ext cx="2658018" cy="154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73" tIns="30791" rIns="61573" bIns="30791" anchor="b">
            <a:spAutoFit/>
          </a:bodyPr>
          <a:lstStyle/>
          <a:p>
            <a:pPr defTabSz="61059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cs typeface="CiscoSans Thin"/>
              </a:rPr>
              <a:t>© 2014  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7653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8" r:id="rId1"/>
    <p:sldLayoutId id="2147484819" r:id="rId2"/>
    <p:sldLayoutId id="2147484820" r:id="rId3"/>
    <p:sldLayoutId id="2147484821" r:id="rId4"/>
    <p:sldLayoutId id="2147484822" r:id="rId5"/>
    <p:sldLayoutId id="2147484823" r:id="rId6"/>
    <p:sldLayoutId id="2147484824" r:id="rId7"/>
    <p:sldLayoutId id="2147484825" r:id="rId8"/>
    <p:sldLayoutId id="2147484826" r:id="rId9"/>
    <p:sldLayoutId id="2147484827" r:id="rId10"/>
    <p:sldLayoutId id="2147484828" r:id="rId11"/>
    <p:sldLayoutId id="2147484829" r:id="rId12"/>
    <p:sldLayoutId id="2147484830" r:id="rId13"/>
    <p:sldLayoutId id="2147484831" r:id="rId14"/>
    <p:sldLayoutId id="2147484832" r:id="rId15"/>
    <p:sldLayoutId id="2147484833" r:id="rId16"/>
    <p:sldLayoutId id="2147484834" r:id="rId17"/>
    <p:sldLayoutId id="2147484835" r:id="rId18"/>
    <p:sldLayoutId id="2147484836" r:id="rId19"/>
    <p:sldLayoutId id="2147484837" r:id="rId20"/>
    <p:sldLayoutId id="2147484838" r:id="rId21"/>
    <p:sldLayoutId id="2147484839" r:id="rId22"/>
    <p:sldLayoutId id="2147484840" r:id="rId23"/>
    <p:sldLayoutId id="2147484841" r:id="rId24"/>
    <p:sldLayoutId id="2147484842" r:id="rId25"/>
    <p:sldLayoutId id="2147484843" r:id="rId26"/>
    <p:sldLayoutId id="2147484844" r:id="rId27"/>
    <p:sldLayoutId id="2147484845" r:id="rId28"/>
    <p:sldLayoutId id="2147484846" r:id="rId29"/>
    <p:sldLayoutId id="2147484847" r:id="rId30"/>
    <p:sldLayoutId id="2147484848" r:id="rId31"/>
    <p:sldLayoutId id="2147484849" r:id="rId32"/>
    <p:sldLayoutId id="2147484850" r:id="rId33"/>
    <p:sldLayoutId id="2147484851" r:id="rId34"/>
    <p:sldLayoutId id="2147484852" r:id="rId35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404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404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04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04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04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082" algn="l" defTabSz="68404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175" algn="l" defTabSz="68404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260" algn="l" defTabSz="68404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349" algn="l" defTabSz="68404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23" indent="-169823" algn="l" defTabSz="68404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685" indent="-215840" algn="l" defTabSz="68404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694" indent="-169823" algn="l" defTabSz="68404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117" indent="-169823" algn="l" defTabSz="68404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535" indent="-169823" algn="l" defTabSz="68404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645" indent="-171405" algn="l" defTabSz="68560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606" indent="-171382" algn="l" defTabSz="68560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399620" indent="0" algn="l" defTabSz="68560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833" indent="-171405" algn="l" defTabSz="68560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0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97" algn="l" defTabSz="68560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07" algn="l" defTabSz="68560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09" algn="l" defTabSz="68560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15" algn="l" defTabSz="68560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19" algn="l" defTabSz="68560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22" algn="l" defTabSz="68560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20" algn="l" defTabSz="68560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22" algn="l" defTabSz="68560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35"/>
          <a:srcRect/>
          <a:stretch>
            <a:fillRect/>
          </a:stretch>
        </p:blipFill>
        <p:spPr bwMode="auto">
          <a:xfrm>
            <a:off x="0" y="5"/>
            <a:ext cx="161984" cy="121481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6" y="1989514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ext styles</a:t>
            </a:r>
          </a:p>
          <a:p>
            <a:pPr lvl="1"/>
            <a:r>
              <a:rPr lang="en-US" altLang="ja-JP" noProof="0" smtClean="0"/>
              <a:t>Second level</a:t>
            </a:r>
          </a:p>
          <a:p>
            <a:pPr lvl="2"/>
            <a:r>
              <a:rPr lang="en-US" altLang="ja-JP" noProof="0" smtClean="0"/>
              <a:t>Third level</a:t>
            </a:r>
          </a:p>
          <a:p>
            <a:pPr lvl="3"/>
            <a:r>
              <a:rPr lang="en-US" altLang="ja-JP" noProof="0" smtClean="0"/>
              <a:t>Fourth level</a:t>
            </a:r>
          </a:p>
          <a:p>
            <a:pPr lvl="4"/>
            <a:r>
              <a:rPr lang="en-US" altLang="ja-JP" noProof="0" smtClean="0"/>
              <a:t>Fifth level</a:t>
            </a:r>
            <a:endParaRPr lang="en-US" altLang="ja-JP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  <p:sp>
        <p:nvSpPr>
          <p:cNvPr id="12" name="McK 3. Unit of measure" hidden="1"/>
          <p:cNvSpPr txBox="1">
            <a:spLocks noChangeArrowheads="1"/>
          </p:cNvSpPr>
          <p:nvPr/>
        </p:nvSpPr>
        <p:spPr bwMode="auto">
          <a:xfrm>
            <a:off x="166814" y="567117"/>
            <a:ext cx="8810379" cy="246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600" dirty="0" smtClean="0">
                <a:solidFill>
                  <a:srgbClr val="808080"/>
                </a:solidFill>
                <a:latin typeface="Arial"/>
                <a:cs typeface="Arial" pitchFamily="34" charset="0"/>
              </a:rPr>
              <a:t>Unit of measure</a:t>
            </a:r>
          </a:p>
        </p:txBody>
      </p: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2377116" y="1435560"/>
            <a:ext cx="4389768" cy="506574"/>
            <a:chOff x="915" y="613"/>
            <a:chExt cx="2686" cy="417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27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b="1" dirty="0">
                  <a:solidFill>
                    <a:srgbClr val="676767"/>
                  </a:solidFill>
                  <a:cs typeface="Arial" pitchFamily="34" charset="0"/>
                </a:rPr>
                <a:t>Title</a:t>
              </a:r>
            </a:p>
            <a:p>
              <a:pPr defTabSz="91427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dirty="0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grpSp>
        <p:nvGrpSpPr>
          <p:cNvPr id="66" name="LegendBoxes" hidden="1"/>
          <p:cNvGrpSpPr/>
          <p:nvPr/>
        </p:nvGrpSpPr>
        <p:grpSpPr bwMode="auto">
          <a:xfrm>
            <a:off x="8323524" y="297001"/>
            <a:ext cx="656070" cy="874313"/>
            <a:chOff x="8336837" y="2006068"/>
            <a:chExt cx="656070" cy="874312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auto">
            <a:xfrm>
              <a:off x="8567310" y="2006068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387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2" name="LegendRectangle1"/>
            <p:cNvSpPr>
              <a:spLocks noChangeArrowheads="1"/>
            </p:cNvSpPr>
            <p:nvPr/>
          </p:nvSpPr>
          <p:spPr bwMode="auto">
            <a:xfrm>
              <a:off x="8336837" y="2006068"/>
              <a:ext cx="149807" cy="1463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71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3" name="Legend2"/>
            <p:cNvSpPr>
              <a:spLocks noChangeArrowheads="1"/>
            </p:cNvSpPr>
            <p:nvPr/>
          </p:nvSpPr>
          <p:spPr bwMode="auto">
            <a:xfrm>
              <a:off x="8567310" y="2246225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387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4" name="LegendRectangle2"/>
            <p:cNvSpPr>
              <a:spLocks noChangeArrowheads="1"/>
            </p:cNvSpPr>
            <p:nvPr/>
          </p:nvSpPr>
          <p:spPr bwMode="auto">
            <a:xfrm>
              <a:off x="8336837" y="2246225"/>
              <a:ext cx="149807" cy="1463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71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auto">
            <a:xfrm>
              <a:off x="8567310" y="2486382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387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6" name="LegendRectangle3"/>
            <p:cNvSpPr>
              <a:spLocks noChangeArrowheads="1"/>
            </p:cNvSpPr>
            <p:nvPr/>
          </p:nvSpPr>
          <p:spPr bwMode="auto">
            <a:xfrm>
              <a:off x="8336837" y="2486382"/>
              <a:ext cx="149807" cy="146304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71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7" name="Legend4"/>
            <p:cNvSpPr>
              <a:spLocks noChangeArrowheads="1"/>
            </p:cNvSpPr>
            <p:nvPr/>
          </p:nvSpPr>
          <p:spPr bwMode="auto">
            <a:xfrm>
              <a:off x="8567310" y="2726539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387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8" name="LegendRectangle4"/>
            <p:cNvSpPr>
              <a:spLocks noChangeArrowheads="1"/>
            </p:cNvSpPr>
            <p:nvPr/>
          </p:nvSpPr>
          <p:spPr bwMode="auto">
            <a:xfrm>
              <a:off x="8336837" y="2726539"/>
              <a:ext cx="149807" cy="146304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71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</p:grpSp>
      <p:grpSp>
        <p:nvGrpSpPr>
          <p:cNvPr id="71" name="LegendLines" hidden="1"/>
          <p:cNvGrpSpPr/>
          <p:nvPr/>
        </p:nvGrpSpPr>
        <p:grpSpPr bwMode="auto">
          <a:xfrm>
            <a:off x="8044074" y="297001"/>
            <a:ext cx="935518" cy="614828"/>
            <a:chOff x="8057389" y="2020564"/>
            <a:chExt cx="935518" cy="614827"/>
          </a:xfrm>
        </p:grpSpPr>
        <p:sp>
          <p:nvSpPr>
            <p:cNvPr id="30" name="LineLegend1"/>
            <p:cNvSpPr>
              <a:spLocks noChangeShapeType="1"/>
            </p:cNvSpPr>
            <p:nvPr/>
          </p:nvSpPr>
          <p:spPr bwMode="auto">
            <a:xfrm>
              <a:off x="8057389" y="2097508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271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3" name="Legend1"/>
            <p:cNvSpPr>
              <a:spLocks noChangeArrowheads="1"/>
            </p:cNvSpPr>
            <p:nvPr/>
          </p:nvSpPr>
          <p:spPr bwMode="auto">
            <a:xfrm>
              <a:off x="8567310" y="2020564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387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31" name="LineLegend2"/>
            <p:cNvSpPr>
              <a:spLocks noChangeShapeType="1"/>
            </p:cNvSpPr>
            <p:nvPr/>
          </p:nvSpPr>
          <p:spPr bwMode="auto">
            <a:xfrm>
              <a:off x="8057389" y="2328001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271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4" name="Legend2"/>
            <p:cNvSpPr>
              <a:spLocks noChangeArrowheads="1"/>
            </p:cNvSpPr>
            <p:nvPr/>
          </p:nvSpPr>
          <p:spPr bwMode="auto">
            <a:xfrm>
              <a:off x="8567310" y="2251057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387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32" name="LineLegend3"/>
            <p:cNvSpPr>
              <a:spLocks noChangeShapeType="1"/>
            </p:cNvSpPr>
            <p:nvPr/>
          </p:nvSpPr>
          <p:spPr bwMode="auto">
            <a:xfrm>
              <a:off x="8057389" y="2558494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271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5" name="Legend3"/>
            <p:cNvSpPr>
              <a:spLocks noChangeArrowheads="1"/>
            </p:cNvSpPr>
            <p:nvPr/>
          </p:nvSpPr>
          <p:spPr bwMode="auto">
            <a:xfrm>
              <a:off x="8567310" y="2481550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387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</p:grpSp>
      <p:grpSp>
        <p:nvGrpSpPr>
          <p:cNvPr id="36" name="McKSticker" hidden="1"/>
          <p:cNvGrpSpPr/>
          <p:nvPr/>
        </p:nvGrpSpPr>
        <p:grpSpPr bwMode="auto">
          <a:xfrm>
            <a:off x="8082271" y="297001"/>
            <a:ext cx="894925" cy="181588"/>
            <a:chOff x="7754493" y="285750"/>
            <a:chExt cx="986282" cy="237300"/>
          </a:xfrm>
        </p:grpSpPr>
        <p:sp>
          <p:nvSpPr>
            <p:cNvPr id="37" name="StickerRectangle"/>
            <p:cNvSpPr>
              <a:spLocks noChangeArrowheads="1"/>
            </p:cNvSpPr>
            <p:nvPr/>
          </p:nvSpPr>
          <p:spPr bwMode="auto">
            <a:xfrm>
              <a:off x="7754493" y="285750"/>
              <a:ext cx="986282" cy="23730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61387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8" name="AutoShape 31"/>
            <p:cNvCxnSpPr>
              <a:cxnSpLocks noChangeShapeType="1"/>
              <a:stCxn id="37" idx="2"/>
              <a:endCxn id="37" idx="4"/>
            </p:cNvCxnSpPr>
            <p:nvPr/>
          </p:nvCxnSpPr>
          <p:spPr bwMode="auto">
            <a:xfrm>
              <a:off x="7754493" y="285750"/>
              <a:ext cx="0" cy="23730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AutoShape 32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7754493" y="523050"/>
              <a:ext cx="9862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2" name="LegendMoons" hidden="1"/>
          <p:cNvGrpSpPr/>
          <p:nvPr/>
        </p:nvGrpSpPr>
        <p:grpSpPr bwMode="auto">
          <a:xfrm>
            <a:off x="8277315" y="296997"/>
            <a:ext cx="702280" cy="1104851"/>
            <a:chOff x="6915362" y="2006068"/>
            <a:chExt cx="702280" cy="1104851"/>
          </a:xfrm>
        </p:grpSpPr>
        <p:sp>
          <p:nvSpPr>
            <p:cNvPr id="44" name="Legend1"/>
            <p:cNvSpPr>
              <a:spLocks noChangeArrowheads="1"/>
            </p:cNvSpPr>
            <p:nvPr userDrawn="1"/>
          </p:nvSpPr>
          <p:spPr bwMode="auto">
            <a:xfrm>
              <a:off x="7192045" y="2020564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387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49" name="MoonLegend1"/>
            <p:cNvGrpSpPr>
              <a:grpSpLocks/>
            </p:cNvGrpSpPr>
            <p:nvPr userDrawn="1">
              <p:custDataLst>
                <p:tags r:id="rId20"/>
              </p:custDataLst>
            </p:nvPr>
          </p:nvGrpSpPr>
          <p:grpSpPr bwMode="auto">
            <a:xfrm>
              <a:off x="6915362" y="2006068"/>
              <a:ext cx="182880" cy="182880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27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27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5" name="Legend2"/>
            <p:cNvSpPr>
              <a:spLocks noChangeArrowheads="1"/>
            </p:cNvSpPr>
            <p:nvPr userDrawn="1"/>
          </p:nvSpPr>
          <p:spPr bwMode="auto">
            <a:xfrm>
              <a:off x="7192045" y="2251057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387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0" name="MoonLegend2"/>
            <p:cNvGrpSpPr>
              <a:grpSpLocks/>
            </p:cNvGrpSpPr>
            <p:nvPr userDrawn="1">
              <p:custDataLst>
                <p:tags r:id="rId21"/>
              </p:custDataLst>
            </p:nvPr>
          </p:nvGrpSpPr>
          <p:grpSpPr bwMode="auto">
            <a:xfrm>
              <a:off x="6915362" y="2236561"/>
              <a:ext cx="182880" cy="182880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27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27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6" name="Legend3"/>
            <p:cNvSpPr>
              <a:spLocks noChangeArrowheads="1"/>
            </p:cNvSpPr>
            <p:nvPr userDrawn="1"/>
          </p:nvSpPr>
          <p:spPr bwMode="auto">
            <a:xfrm>
              <a:off x="7192045" y="2481550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387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1" name="MoonLegend3"/>
            <p:cNvGrpSpPr>
              <a:grpSpLocks/>
            </p:cNvGrpSpPr>
            <p:nvPr userDrawn="1">
              <p:custDataLst>
                <p:tags r:id="rId22"/>
              </p:custDataLst>
            </p:nvPr>
          </p:nvGrpSpPr>
          <p:grpSpPr bwMode="auto">
            <a:xfrm>
              <a:off x="6915362" y="2467054"/>
              <a:ext cx="182880" cy="182880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27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27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7" name="Legend4"/>
            <p:cNvSpPr>
              <a:spLocks noChangeArrowheads="1"/>
            </p:cNvSpPr>
            <p:nvPr userDrawn="1"/>
          </p:nvSpPr>
          <p:spPr bwMode="auto">
            <a:xfrm>
              <a:off x="7192045" y="2712043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387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2" name="MoonLegend4"/>
            <p:cNvGrpSpPr>
              <a:grpSpLocks/>
            </p:cNvGrpSpPr>
            <p:nvPr userDrawn="1">
              <p:custDataLst>
                <p:tags r:id="rId23"/>
              </p:custDataLst>
            </p:nvPr>
          </p:nvGrpSpPr>
          <p:grpSpPr bwMode="auto">
            <a:xfrm>
              <a:off x="6915362" y="2697547"/>
              <a:ext cx="182880" cy="182880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27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27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8" name="Legend5"/>
            <p:cNvSpPr>
              <a:spLocks noChangeArrowheads="1"/>
            </p:cNvSpPr>
            <p:nvPr userDrawn="1"/>
          </p:nvSpPr>
          <p:spPr bwMode="auto">
            <a:xfrm>
              <a:off x="7192045" y="2942535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387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3" name="MoonLegend5"/>
            <p:cNvGrpSpPr>
              <a:grpSpLocks/>
            </p:cNvGrpSpPr>
            <p:nvPr userDrawn="1">
              <p:custDataLst>
                <p:tags r:id="rId24"/>
              </p:custDataLst>
            </p:nvPr>
          </p:nvGrpSpPr>
          <p:grpSpPr bwMode="auto">
            <a:xfrm>
              <a:off x="6915362" y="2928039"/>
              <a:ext cx="182880" cy="182880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27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27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</p:grpSp>
      <p:sp>
        <p:nvSpPr>
          <p:cNvPr id="11" name="McK 1. On-page tracker" hidden="1"/>
          <p:cNvSpPr>
            <a:spLocks noChangeArrowheads="1"/>
          </p:cNvSpPr>
          <p:nvPr/>
        </p:nvSpPr>
        <p:spPr bwMode="auto">
          <a:xfrm>
            <a:off x="166814" y="7915"/>
            <a:ext cx="872835" cy="219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71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67" name="TextBox 66"/>
          <p:cNvSpPr txBox="1">
            <a:spLocks/>
          </p:cNvSpPr>
          <p:nvPr/>
        </p:nvSpPr>
        <p:spPr bwMode="auto">
          <a:xfrm>
            <a:off x="8663149" y="4935545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 algn="r" defTabSz="914271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altLang="ja-JP" sz="700" smtClean="0">
                <a:solidFill>
                  <a:srgbClr val="676767"/>
                </a:solidFill>
                <a:latin typeface="Arial"/>
                <a:ea typeface="ＭＳ Ｐゴシック"/>
              </a:rPr>
              <a:pPr algn="r" defTabSz="914271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700" dirty="0">
              <a:solidFill>
                <a:srgbClr val="676767"/>
              </a:solidFill>
              <a:latin typeface="Arial"/>
              <a:ea typeface="ＭＳ Ｐゴシック"/>
            </a:endParaRPr>
          </a:p>
        </p:txBody>
      </p:sp>
      <p:grpSp>
        <p:nvGrpSpPr>
          <p:cNvPr id="3" name="McK Slide Elements" hidden="1"/>
          <p:cNvGrpSpPr/>
          <p:nvPr/>
        </p:nvGrpSpPr>
        <p:grpSpPr bwMode="auto">
          <a:xfrm>
            <a:off x="166814" y="4428739"/>
            <a:ext cx="8810379" cy="347102"/>
            <a:chOff x="166811" y="4241226"/>
            <a:chExt cx="8810379" cy="347101"/>
          </a:xfrm>
        </p:grpSpPr>
        <p:sp>
          <p:nvSpPr>
            <p:cNvPr id="68" name="McK 4. Footnote"/>
            <p:cNvSpPr txBox="1">
              <a:spLocks noChangeArrowheads="1"/>
            </p:cNvSpPr>
            <p:nvPr userDrawn="1"/>
          </p:nvSpPr>
          <p:spPr bwMode="auto">
            <a:xfrm>
              <a:off x="166811" y="4241226"/>
              <a:ext cx="8810379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676767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9" name="McK 5. Source"/>
            <p:cNvSpPr>
              <a:spLocks noChangeArrowheads="1"/>
            </p:cNvSpPr>
            <p:nvPr userDrawn="1"/>
          </p:nvSpPr>
          <p:spPr bwMode="auto">
            <a:xfrm>
              <a:off x="166811" y="4434486"/>
              <a:ext cx="8810379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833" indent="-469833" defTabSz="895223" fontAlgn="base">
                <a:spcBef>
                  <a:spcPct val="0"/>
                </a:spcBef>
                <a:spcAft>
                  <a:spcPct val="0"/>
                </a:spcAft>
                <a:tabLst>
                  <a:tab pos="474596" algn="l"/>
                </a:tabLst>
              </a:pPr>
              <a:r>
                <a:rPr lang="en-US" sz="1000" dirty="0">
                  <a:solidFill>
                    <a:srgbClr val="676767"/>
                  </a:solidFill>
                </a:rPr>
                <a:t>Source: Source</a:t>
              </a:r>
            </a:p>
          </p:txBody>
        </p:sp>
      </p:grpSp>
      <p:pic>
        <p:nvPicPr>
          <p:cNvPr id="64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943" y="480189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Rectangle 4"/>
          <p:cNvSpPr>
            <a:spLocks noChangeArrowheads="1"/>
          </p:cNvSpPr>
          <p:nvPr/>
        </p:nvSpPr>
        <p:spPr bwMode="auto">
          <a:xfrm>
            <a:off x="5575684" y="4935546"/>
            <a:ext cx="2906245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659">
              <a:defRPr/>
            </a:pPr>
            <a:r>
              <a:rPr lang="en-US" sz="700" dirty="0">
                <a:solidFill>
                  <a:srgbClr val="676767"/>
                </a:solidFill>
                <a:cs typeface="CiscoSans Thin"/>
              </a:rPr>
              <a:t>© 2015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47529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54" r:id="rId1"/>
    <p:sldLayoutId id="2147484855" r:id="rId2"/>
    <p:sldLayoutId id="2147484856" r:id="rId3"/>
    <p:sldLayoutId id="2147484857" r:id="rId4"/>
    <p:sldLayoutId id="2147484858" r:id="rId5"/>
    <p:sldLayoutId id="2147484859" r:id="rId6"/>
    <p:sldLayoutId id="2147484860" r:id="rId7"/>
    <p:sldLayoutId id="2147484861" r:id="rId8"/>
    <p:sldLayoutId id="2147484862" r:id="rId9"/>
    <p:sldLayoutId id="2147484863" r:id="rId10"/>
    <p:sldLayoutId id="2147484864" r:id="rId11"/>
    <p:sldLayoutId id="2147484865" r:id="rId12"/>
    <p:sldLayoutId id="2147484866" r:id="rId13"/>
    <p:sldLayoutId id="2147484867" r:id="rId14"/>
    <p:sldLayoutId id="2147484868" r:id="rId15"/>
    <p:sldLayoutId id="2147484869" r:id="rId16"/>
    <p:sldLayoutId id="2147484870" r:id="rId17"/>
    <p:sldLayoutId id="2147484871" r:id="rId1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761387" rtl="0" eaLnBrk="1" fontAlgn="base" hangingPunct="1">
        <a:spcBef>
          <a:spcPct val="0"/>
        </a:spcBef>
        <a:spcAft>
          <a:spcPct val="0"/>
        </a:spcAft>
        <a:tabLst>
          <a:tab pos="303745" algn="l"/>
        </a:tabLst>
        <a:defRPr kumimoji="1" sz="2200" b="0" baseline="0">
          <a:solidFill>
            <a:schemeClr val="tx1"/>
          </a:solidFill>
          <a:latin typeface="+mj-lt"/>
          <a:ea typeface="+mj-ea"/>
          <a:cs typeface="Arial" pitchFamily="34" charset="0"/>
        </a:defRPr>
      </a:lvl1pPr>
      <a:lvl2pPr algn="l" defTabSz="761387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2pPr>
      <a:lvl3pPr algn="l" defTabSz="761387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3pPr>
      <a:lvl4pPr algn="l" defTabSz="761387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4pPr>
      <a:lvl5pPr algn="l" defTabSz="761387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5pPr>
      <a:lvl6pPr marL="388796" algn="l" defTabSz="761387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6pPr>
      <a:lvl7pPr marL="777587" algn="l" defTabSz="761387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7pPr>
      <a:lvl8pPr marL="1166381" algn="l" defTabSz="761387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8pPr>
      <a:lvl9pPr marL="1555173" algn="l" defTabSz="761387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76138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164698" indent="-163348" algn="l" defTabSz="76138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388796" indent="-222746" algn="l" defTabSz="76138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22442" indent="-132300" algn="l" defTabSz="76138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▫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637622" indent="-110699" algn="l" defTabSz="76138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637622" indent="-110699" algn="l" defTabSz="76138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6pPr>
      <a:lvl7pPr marL="637622" indent="-110699" algn="l" defTabSz="76138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7pPr>
      <a:lvl8pPr marL="637622" indent="-110699" algn="l" defTabSz="76138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8pPr>
      <a:lvl9pPr marL="637622" indent="-110699" algn="l" defTabSz="76138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9pPr>
    </p:bodyStyle>
    <p:otherStyle>
      <a:defPPr>
        <a:defRPr lang="en-US"/>
      </a:defPPr>
      <a:lvl1pPr marL="0" algn="l" defTabSz="777587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8796" algn="l" defTabSz="777587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7587" algn="l" defTabSz="777587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6381" algn="l" defTabSz="777587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5173" algn="l" defTabSz="777587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3969" algn="l" defTabSz="777587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2763" algn="l" defTabSz="777587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1554" algn="l" defTabSz="777587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0348" algn="l" defTabSz="777587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68" tIns="34284" rIns="68568" bIns="3428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970" y="4742907"/>
            <a:ext cx="218151" cy="1545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29"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cs typeface="CiscoSans Thin"/>
              </a:rPr>
              <a:pPr algn="r" defTabSz="610729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4"/>
            <a:ext cx="2658018" cy="154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29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cs typeface="CiscoSans Thin"/>
              </a:rPr>
              <a:t>© 2014  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2125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73" r:id="rId1"/>
    <p:sldLayoutId id="2147484874" r:id="rId2"/>
    <p:sldLayoutId id="2147484875" r:id="rId3"/>
    <p:sldLayoutId id="2147484876" r:id="rId4"/>
    <p:sldLayoutId id="2147484877" r:id="rId5"/>
    <p:sldLayoutId id="2147484878" r:id="rId6"/>
    <p:sldLayoutId id="2147484879" r:id="rId7"/>
    <p:sldLayoutId id="2147484880" r:id="rId8"/>
    <p:sldLayoutId id="2147484881" r:id="rId9"/>
    <p:sldLayoutId id="2147484882" r:id="rId10"/>
    <p:sldLayoutId id="2147484883" r:id="rId11"/>
    <p:sldLayoutId id="2147484884" r:id="rId12"/>
    <p:sldLayoutId id="2147484885" r:id="rId13"/>
    <p:sldLayoutId id="2147484886" r:id="rId14"/>
    <p:sldLayoutId id="2147484887" r:id="rId15"/>
    <p:sldLayoutId id="2147484888" r:id="rId16"/>
    <p:sldLayoutId id="2147484889" r:id="rId17"/>
    <p:sldLayoutId id="2147484890" r:id="rId18"/>
    <p:sldLayoutId id="2147484891" r:id="rId19"/>
    <p:sldLayoutId id="2147484892" r:id="rId20"/>
    <p:sldLayoutId id="2147484893" r:id="rId21"/>
    <p:sldLayoutId id="2147484894" r:id="rId22"/>
    <p:sldLayoutId id="2147484895" r:id="rId23"/>
    <p:sldLayoutId id="2147484896" r:id="rId24"/>
    <p:sldLayoutId id="2147484897" r:id="rId25"/>
    <p:sldLayoutId id="2147484898" r:id="rId26"/>
    <p:sldLayoutId id="2147484899" r:id="rId27"/>
    <p:sldLayoutId id="2147484900" r:id="rId28"/>
    <p:sldLayoutId id="2147484901" r:id="rId29"/>
    <p:sldLayoutId id="2147484902" r:id="rId30"/>
    <p:sldLayoutId id="2147484903" r:id="rId31"/>
    <p:sldLayoutId id="2147484904" r:id="rId32"/>
    <p:sldLayoutId id="2147484905" r:id="rId33"/>
    <p:sldLayoutId id="2147484906" r:id="rId34"/>
    <p:sldLayoutId id="2147484907" r:id="rId35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189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378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566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754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59" indent="-169859" algn="l" defTabSz="684196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66" indent="-215894" algn="l" defTabSz="684196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789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25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61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34" indent="-171441" algn="l" defTabSz="685760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21" indent="-171418" algn="l" defTabSz="685760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160" indent="0" algn="l" defTabSz="685760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81" indent="-171441" algn="l" defTabSz="68576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39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2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9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8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42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3326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805483" y="4909708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909708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© </a:t>
            </a: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2015  </a:t>
            </a: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29376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7766" y="1235542"/>
            <a:ext cx="8345488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lvl="0" indent="0" defTabSz="760947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  <a:p>
            <a:pPr marL="164601" lvl="1" indent="-163264" defTabSz="760947">
              <a:spcBef>
                <a:spcPct val="0"/>
              </a:spcBef>
              <a:buSzPct val="125000"/>
              <a:buFont typeface="Arial" pitchFamily="34" charset="0"/>
              <a:buChar char="▪"/>
            </a:pPr>
            <a:r>
              <a:rPr lang="en-US" dirty="0" smtClean="0"/>
              <a:t>Second level</a:t>
            </a:r>
          </a:p>
          <a:p>
            <a:pPr marL="388573" lvl="2" indent="-222621" defTabSz="760947">
              <a:spcBef>
                <a:spcPct val="0"/>
              </a:spcBef>
              <a:buClr>
                <a:schemeClr val="tx2"/>
              </a:buClr>
              <a:buSzPct val="120000"/>
              <a:buChar char="–"/>
            </a:pPr>
            <a:r>
              <a:rPr lang="en-US" dirty="0" smtClean="0"/>
              <a:t>Third level</a:t>
            </a:r>
          </a:p>
          <a:p>
            <a:pPr marL="522139" lvl="3" indent="-132217" defTabSz="760947">
              <a:spcBef>
                <a:spcPct val="0"/>
              </a:spcBef>
              <a:buClr>
                <a:schemeClr val="tx2"/>
              </a:buClr>
              <a:buSzPct val="100000"/>
              <a:buFont typeface="Arial" pitchFamily="34" charset="0"/>
              <a:buChar char="▫"/>
            </a:pPr>
            <a:r>
              <a:rPr lang="en-US" dirty="0" smtClean="0"/>
              <a:t>Fourth level</a:t>
            </a:r>
          </a:p>
          <a:p>
            <a:pPr marL="637250" lvl="4" indent="-110637" defTabSz="760947">
              <a:spcBef>
                <a:spcPct val="0"/>
              </a:spcBef>
              <a:buClr>
                <a:schemeClr val="tx2"/>
              </a:buClr>
              <a:buSzPct val="89000"/>
              <a:buChar char="-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9094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9" r:id="rId1"/>
    <p:sldLayoutId id="2147484910" r:id="rId2"/>
    <p:sldLayoutId id="2147484911" r:id="rId3"/>
    <p:sldLayoutId id="2147484912" r:id="rId4"/>
    <p:sldLayoutId id="2147484913" r:id="rId5"/>
    <p:sldLayoutId id="2147484914" r:id="rId6"/>
    <p:sldLayoutId id="2147484916" r:id="rId7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400" kern="1200" dirty="0">
          <a:solidFill>
            <a:schemeClr val="tx1">
              <a:lumMod val="50000"/>
            </a:schemeClr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None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600" kern="1200" baseline="0" dirty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3326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805483" y="4909708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909708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© </a:t>
            </a: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2015  </a:t>
            </a: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29376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7766" y="1235542"/>
            <a:ext cx="8345488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lvl="0" indent="0" defTabSz="760947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  <a:p>
            <a:pPr marL="164601" lvl="1" indent="-163264" defTabSz="760947">
              <a:spcBef>
                <a:spcPct val="0"/>
              </a:spcBef>
              <a:buSzPct val="125000"/>
              <a:buFont typeface="Arial" pitchFamily="34" charset="0"/>
              <a:buChar char="▪"/>
            </a:pPr>
            <a:r>
              <a:rPr lang="en-US" dirty="0" smtClean="0"/>
              <a:t>Second level</a:t>
            </a:r>
          </a:p>
          <a:p>
            <a:pPr marL="388573" lvl="2" indent="-222621" defTabSz="760947">
              <a:spcBef>
                <a:spcPct val="0"/>
              </a:spcBef>
              <a:buClr>
                <a:schemeClr val="tx2"/>
              </a:buClr>
              <a:buSzPct val="120000"/>
              <a:buChar char="–"/>
            </a:pPr>
            <a:r>
              <a:rPr lang="en-US" dirty="0" smtClean="0"/>
              <a:t>Third level</a:t>
            </a:r>
          </a:p>
          <a:p>
            <a:pPr marL="522139" lvl="3" indent="-132217" defTabSz="760947">
              <a:spcBef>
                <a:spcPct val="0"/>
              </a:spcBef>
              <a:buClr>
                <a:schemeClr val="tx2"/>
              </a:buClr>
              <a:buSzPct val="100000"/>
              <a:buFont typeface="Arial" pitchFamily="34" charset="0"/>
              <a:buChar char="▫"/>
            </a:pPr>
            <a:r>
              <a:rPr lang="en-US" dirty="0" smtClean="0"/>
              <a:t>Fourth level</a:t>
            </a:r>
          </a:p>
          <a:p>
            <a:pPr marL="637250" lvl="4" indent="-110637" defTabSz="760947">
              <a:spcBef>
                <a:spcPct val="0"/>
              </a:spcBef>
              <a:buClr>
                <a:schemeClr val="tx2"/>
              </a:buClr>
              <a:buSzPct val="89000"/>
              <a:buChar char="-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553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18" r:id="rId1"/>
    <p:sldLayoutId id="2147484919" r:id="rId2"/>
    <p:sldLayoutId id="2147484920" r:id="rId3"/>
    <p:sldLayoutId id="2147484921" r:id="rId4"/>
    <p:sldLayoutId id="2147484922" r:id="rId5"/>
    <p:sldLayoutId id="2147484923" r:id="rId6"/>
    <p:sldLayoutId id="2147484925" r:id="rId7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400" kern="1200" dirty="0">
          <a:solidFill>
            <a:schemeClr val="tx1">
              <a:lumMod val="50000"/>
            </a:schemeClr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None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600" kern="1200" baseline="0" dirty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3326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805483" y="4909708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909708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© </a:t>
            </a: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2015  </a:t>
            </a: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29376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7766" y="1235542"/>
            <a:ext cx="8345488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lvl="0" indent="0" defTabSz="760947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  <a:p>
            <a:pPr marL="164601" lvl="1" indent="-163264" defTabSz="760947">
              <a:spcBef>
                <a:spcPct val="0"/>
              </a:spcBef>
              <a:buSzPct val="125000"/>
              <a:buFont typeface="Arial" pitchFamily="34" charset="0"/>
              <a:buChar char="▪"/>
            </a:pPr>
            <a:r>
              <a:rPr lang="en-US" dirty="0" smtClean="0"/>
              <a:t>Second level</a:t>
            </a:r>
          </a:p>
          <a:p>
            <a:pPr marL="388573" lvl="2" indent="-222621" defTabSz="760947">
              <a:spcBef>
                <a:spcPct val="0"/>
              </a:spcBef>
              <a:buClr>
                <a:schemeClr val="tx2"/>
              </a:buClr>
              <a:buSzPct val="120000"/>
              <a:buChar char="–"/>
            </a:pPr>
            <a:r>
              <a:rPr lang="en-US" dirty="0" smtClean="0"/>
              <a:t>Third level</a:t>
            </a:r>
          </a:p>
          <a:p>
            <a:pPr marL="522139" lvl="3" indent="-132217" defTabSz="760947">
              <a:spcBef>
                <a:spcPct val="0"/>
              </a:spcBef>
              <a:buClr>
                <a:schemeClr val="tx2"/>
              </a:buClr>
              <a:buSzPct val="100000"/>
              <a:buFont typeface="Arial" pitchFamily="34" charset="0"/>
              <a:buChar char="▫"/>
            </a:pPr>
            <a:r>
              <a:rPr lang="en-US" dirty="0" smtClean="0"/>
              <a:t>Fourth level</a:t>
            </a:r>
          </a:p>
          <a:p>
            <a:pPr marL="637250" lvl="4" indent="-110637" defTabSz="760947">
              <a:spcBef>
                <a:spcPct val="0"/>
              </a:spcBef>
              <a:buClr>
                <a:schemeClr val="tx2"/>
              </a:buClr>
              <a:buSzPct val="89000"/>
              <a:buChar char="-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0115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27" r:id="rId1"/>
    <p:sldLayoutId id="2147484928" r:id="rId2"/>
    <p:sldLayoutId id="2147484929" r:id="rId3"/>
    <p:sldLayoutId id="2147484930" r:id="rId4"/>
    <p:sldLayoutId id="2147484931" r:id="rId5"/>
    <p:sldLayoutId id="2147484932" r:id="rId6"/>
    <p:sldLayoutId id="2147484934" r:id="rId7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400" kern="1200" dirty="0">
          <a:solidFill>
            <a:schemeClr val="tx1">
              <a:lumMod val="50000"/>
            </a:schemeClr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None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600" kern="1200" baseline="0" dirty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6" tIns="34283" rIns="68526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3596" y="4742937"/>
            <a:ext cx="220553" cy="1545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44" tIns="30791" rIns="61544" bIns="30791" anchor="b">
            <a:spAutoFit/>
          </a:bodyPr>
          <a:lstStyle/>
          <a:p>
            <a:pPr algn="r" defTabSz="610309"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cs typeface="CiscoSans Thin"/>
              </a:rPr>
              <a:pPr algn="r" defTabSz="610309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82"/>
            <a:ext cx="2658018" cy="154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44" tIns="30791" rIns="61544" bIns="30791" anchor="b">
            <a:spAutoFit/>
          </a:bodyPr>
          <a:lstStyle/>
          <a:p>
            <a:pPr defTabSz="610309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cs typeface="CiscoSans Thin"/>
              </a:rPr>
              <a:t>© </a:t>
            </a: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cs typeface="CiscoSans Thin"/>
              </a:rPr>
              <a:t>2016  </a:t>
            </a:r>
            <a:r>
              <a:rPr lang="en-US" sz="600" dirty="0">
                <a:solidFill>
                  <a:srgbClr val="000000">
                    <a:alpha val="25000"/>
                  </a:srgbClr>
                </a:solidFill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2287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2" r:id="rId1"/>
    <p:sldLayoutId id="2147484533" r:id="rId2"/>
    <p:sldLayoutId id="2147484534" r:id="rId3"/>
    <p:sldLayoutId id="2147484535" r:id="rId4"/>
    <p:sldLayoutId id="2147484536" r:id="rId5"/>
    <p:sldLayoutId id="2147484537" r:id="rId6"/>
    <p:sldLayoutId id="2147484538" r:id="rId7"/>
    <p:sldLayoutId id="2147484539" r:id="rId8"/>
    <p:sldLayoutId id="2147484540" r:id="rId9"/>
    <p:sldLayoutId id="2147484541" r:id="rId10"/>
    <p:sldLayoutId id="2147484542" r:id="rId11"/>
    <p:sldLayoutId id="2147484543" r:id="rId12"/>
    <p:sldLayoutId id="2147484544" r:id="rId13"/>
    <p:sldLayoutId id="2147484545" r:id="rId14"/>
    <p:sldLayoutId id="2147484546" r:id="rId15"/>
    <p:sldLayoutId id="2147484547" r:id="rId16"/>
    <p:sldLayoutId id="2147484548" r:id="rId17"/>
    <p:sldLayoutId id="2147484549" r:id="rId18"/>
    <p:sldLayoutId id="2147484550" r:id="rId19"/>
    <p:sldLayoutId id="2147484551" r:id="rId20"/>
    <p:sldLayoutId id="2147484552" r:id="rId21"/>
    <p:sldLayoutId id="2147484553" r:id="rId22"/>
    <p:sldLayoutId id="2147484554" r:id="rId23"/>
    <p:sldLayoutId id="2147484555" r:id="rId24"/>
    <p:sldLayoutId id="2147484556" r:id="rId25"/>
    <p:sldLayoutId id="2147484557" r:id="rId26"/>
    <p:sldLayoutId id="2147484558" r:id="rId27"/>
    <p:sldLayoutId id="2147484559" r:id="rId28"/>
    <p:sldLayoutId id="2147484560" r:id="rId29"/>
    <p:sldLayoutId id="2147484561" r:id="rId30"/>
    <p:sldLayoutId id="2147484562" r:id="rId31"/>
    <p:sldLayoutId id="2147484563" r:id="rId32"/>
    <p:sldLayoutId id="2147484564" r:id="rId33"/>
    <p:sldLayoutId id="2147484565" r:id="rId34"/>
    <p:sldLayoutId id="2147484566" r:id="rId35"/>
    <p:sldLayoutId id="2147484567" r:id="rId36"/>
    <p:sldLayoutId id="2147484568" r:id="rId37"/>
    <p:sldLayoutId id="2147484569" r:id="rId38"/>
    <p:sldLayoutId id="2147484570" r:id="rId39"/>
    <p:sldLayoutId id="2147484571" r:id="rId40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372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372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372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372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372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6854" algn="l" defTabSz="68372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3748" algn="l" defTabSz="68372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0614" algn="l" defTabSz="68372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7494" algn="l" defTabSz="683720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747" indent="-169747" algn="l" defTabSz="683720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514" indent="-215726" algn="l" defTabSz="683720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495" indent="-169747" algn="l" defTabSz="683720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2889" indent="-169747" algn="l" defTabSz="683720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269" indent="-169747" algn="l" defTabSz="683720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246" indent="-171329" algn="l" defTabSz="685284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150" indent="-171306" algn="l" defTabSz="685284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398480" indent="0" algn="l" defTabSz="685284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2465" indent="-171329" algn="l" defTabSz="68528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28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626" algn="l" defTabSz="68528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284" algn="l" defTabSz="68528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925" algn="l" defTabSz="68528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569" algn="l" defTabSz="68528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221" algn="l" defTabSz="68528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5853" algn="l" defTabSz="68528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8480" algn="l" defTabSz="68528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111" algn="l" defTabSz="685284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3326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805483" y="4909708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909708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© </a:t>
            </a: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2015  </a:t>
            </a: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29376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7766" y="1235542"/>
            <a:ext cx="8345488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lvl="0" indent="0" defTabSz="760947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  <a:p>
            <a:pPr marL="164601" lvl="1" indent="-163264" defTabSz="760947">
              <a:spcBef>
                <a:spcPct val="0"/>
              </a:spcBef>
              <a:buSzPct val="125000"/>
              <a:buFont typeface="Arial" pitchFamily="34" charset="0"/>
              <a:buChar char="▪"/>
            </a:pPr>
            <a:r>
              <a:rPr lang="en-US" dirty="0" smtClean="0"/>
              <a:t>Second level</a:t>
            </a:r>
          </a:p>
          <a:p>
            <a:pPr marL="388573" lvl="2" indent="-222621" defTabSz="760947">
              <a:spcBef>
                <a:spcPct val="0"/>
              </a:spcBef>
              <a:buClr>
                <a:schemeClr val="tx2"/>
              </a:buClr>
              <a:buSzPct val="120000"/>
              <a:buChar char="–"/>
            </a:pPr>
            <a:r>
              <a:rPr lang="en-US" dirty="0" smtClean="0"/>
              <a:t>Third level</a:t>
            </a:r>
          </a:p>
          <a:p>
            <a:pPr marL="522139" lvl="3" indent="-132217" defTabSz="760947">
              <a:spcBef>
                <a:spcPct val="0"/>
              </a:spcBef>
              <a:buClr>
                <a:schemeClr val="tx2"/>
              </a:buClr>
              <a:buSzPct val="100000"/>
              <a:buFont typeface="Arial" pitchFamily="34" charset="0"/>
              <a:buChar char="▫"/>
            </a:pPr>
            <a:r>
              <a:rPr lang="en-US" dirty="0" smtClean="0"/>
              <a:t>Fourth level</a:t>
            </a:r>
          </a:p>
          <a:p>
            <a:pPr marL="637250" lvl="4" indent="-110637" defTabSz="760947">
              <a:spcBef>
                <a:spcPct val="0"/>
              </a:spcBef>
              <a:buClr>
                <a:schemeClr val="tx2"/>
              </a:buClr>
              <a:buSzPct val="89000"/>
              <a:buChar char="-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71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6" r:id="rId1"/>
    <p:sldLayoutId id="2147484937" r:id="rId2"/>
    <p:sldLayoutId id="2147484938" r:id="rId3"/>
    <p:sldLayoutId id="2147484939" r:id="rId4"/>
    <p:sldLayoutId id="2147484940" r:id="rId5"/>
    <p:sldLayoutId id="2147484941" r:id="rId6"/>
    <p:sldLayoutId id="2147484943" r:id="rId7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400" kern="1200" dirty="0">
          <a:solidFill>
            <a:schemeClr val="tx1">
              <a:lumMod val="50000"/>
            </a:schemeClr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None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600" kern="1200" baseline="0" dirty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3326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805483" y="4909708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909708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© </a:t>
            </a: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2015  </a:t>
            </a: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29376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7766" y="1235542"/>
            <a:ext cx="8345488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lvl="0" indent="0" defTabSz="760947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  <a:p>
            <a:pPr marL="164601" lvl="1" indent="-163264" defTabSz="760947">
              <a:spcBef>
                <a:spcPct val="0"/>
              </a:spcBef>
              <a:buSzPct val="125000"/>
              <a:buFont typeface="Arial" pitchFamily="34" charset="0"/>
              <a:buChar char="▪"/>
            </a:pPr>
            <a:r>
              <a:rPr lang="en-US" dirty="0" smtClean="0"/>
              <a:t>Second level</a:t>
            </a:r>
          </a:p>
          <a:p>
            <a:pPr marL="388573" lvl="2" indent="-222621" defTabSz="760947">
              <a:spcBef>
                <a:spcPct val="0"/>
              </a:spcBef>
              <a:buClr>
                <a:schemeClr val="tx2"/>
              </a:buClr>
              <a:buSzPct val="120000"/>
              <a:buChar char="–"/>
            </a:pPr>
            <a:r>
              <a:rPr lang="en-US" dirty="0" smtClean="0"/>
              <a:t>Third level</a:t>
            </a:r>
          </a:p>
          <a:p>
            <a:pPr marL="522139" lvl="3" indent="-132217" defTabSz="760947">
              <a:spcBef>
                <a:spcPct val="0"/>
              </a:spcBef>
              <a:buClr>
                <a:schemeClr val="tx2"/>
              </a:buClr>
              <a:buSzPct val="100000"/>
              <a:buFont typeface="Arial" pitchFamily="34" charset="0"/>
              <a:buChar char="▫"/>
            </a:pPr>
            <a:r>
              <a:rPr lang="en-US" dirty="0" smtClean="0"/>
              <a:t>Fourth level</a:t>
            </a:r>
          </a:p>
          <a:p>
            <a:pPr marL="637250" lvl="4" indent="-110637" defTabSz="760947">
              <a:spcBef>
                <a:spcPct val="0"/>
              </a:spcBef>
              <a:buClr>
                <a:schemeClr val="tx2"/>
              </a:buClr>
              <a:buSzPct val="89000"/>
              <a:buChar char="-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5907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5" r:id="rId1"/>
    <p:sldLayoutId id="2147484946" r:id="rId2"/>
    <p:sldLayoutId id="2147484947" r:id="rId3"/>
    <p:sldLayoutId id="2147484948" r:id="rId4"/>
    <p:sldLayoutId id="2147484949" r:id="rId5"/>
    <p:sldLayoutId id="2147484950" r:id="rId6"/>
    <p:sldLayoutId id="2147484951" r:id="rId7"/>
    <p:sldLayoutId id="2147484952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400" kern="1200" dirty="0">
          <a:solidFill>
            <a:schemeClr val="tx1">
              <a:lumMod val="50000"/>
            </a:schemeClr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None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600" kern="1200" baseline="0" dirty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3326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805483" y="4909708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909708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© </a:t>
            </a: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2015  </a:t>
            </a: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29376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7766" y="1235542"/>
            <a:ext cx="8345488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lvl="0" indent="0" defTabSz="760947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  <a:p>
            <a:pPr marL="164601" lvl="1" indent="-163264" defTabSz="760947">
              <a:spcBef>
                <a:spcPct val="0"/>
              </a:spcBef>
              <a:buSzPct val="125000"/>
              <a:buFont typeface="Arial" pitchFamily="34" charset="0"/>
              <a:buChar char="▪"/>
            </a:pPr>
            <a:r>
              <a:rPr lang="en-US" dirty="0" smtClean="0"/>
              <a:t>Second level</a:t>
            </a:r>
          </a:p>
          <a:p>
            <a:pPr marL="388573" lvl="2" indent="-222621" defTabSz="760947">
              <a:spcBef>
                <a:spcPct val="0"/>
              </a:spcBef>
              <a:buClr>
                <a:schemeClr val="tx2"/>
              </a:buClr>
              <a:buSzPct val="120000"/>
              <a:buChar char="–"/>
            </a:pPr>
            <a:r>
              <a:rPr lang="en-US" dirty="0" smtClean="0"/>
              <a:t>Third level</a:t>
            </a:r>
          </a:p>
          <a:p>
            <a:pPr marL="522139" lvl="3" indent="-132217" defTabSz="760947">
              <a:spcBef>
                <a:spcPct val="0"/>
              </a:spcBef>
              <a:buClr>
                <a:schemeClr val="tx2"/>
              </a:buClr>
              <a:buSzPct val="100000"/>
              <a:buFont typeface="Arial" pitchFamily="34" charset="0"/>
              <a:buChar char="▫"/>
            </a:pPr>
            <a:r>
              <a:rPr lang="en-US" dirty="0" smtClean="0"/>
              <a:t>Fourth level</a:t>
            </a:r>
          </a:p>
          <a:p>
            <a:pPr marL="637250" lvl="4" indent="-110637" defTabSz="760947">
              <a:spcBef>
                <a:spcPct val="0"/>
              </a:spcBef>
              <a:buClr>
                <a:schemeClr val="tx2"/>
              </a:buClr>
              <a:buSzPct val="89000"/>
              <a:buChar char="-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6243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4" r:id="rId1"/>
    <p:sldLayoutId id="2147484955" r:id="rId2"/>
    <p:sldLayoutId id="2147484956" r:id="rId3"/>
    <p:sldLayoutId id="2147484957" r:id="rId4"/>
    <p:sldLayoutId id="2147484958" r:id="rId5"/>
    <p:sldLayoutId id="2147484959" r:id="rId6"/>
    <p:sldLayoutId id="2147484960" r:id="rId7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400" kern="1200" dirty="0">
          <a:solidFill>
            <a:schemeClr val="tx1">
              <a:lumMod val="50000"/>
            </a:schemeClr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None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600" kern="1200" baseline="0" dirty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3326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805483" y="4909708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909708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© </a:t>
            </a: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2015  </a:t>
            </a: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29376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7766" y="1235542"/>
            <a:ext cx="8345488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lvl="0" indent="0" defTabSz="760947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  <a:p>
            <a:pPr marL="164601" lvl="1" indent="-163264" defTabSz="760947">
              <a:spcBef>
                <a:spcPct val="0"/>
              </a:spcBef>
              <a:buSzPct val="125000"/>
              <a:buFont typeface="Arial" pitchFamily="34" charset="0"/>
              <a:buChar char="▪"/>
            </a:pPr>
            <a:r>
              <a:rPr lang="en-US" dirty="0" smtClean="0"/>
              <a:t>Second level</a:t>
            </a:r>
          </a:p>
          <a:p>
            <a:pPr marL="388573" lvl="2" indent="-222621" defTabSz="760947">
              <a:spcBef>
                <a:spcPct val="0"/>
              </a:spcBef>
              <a:buClr>
                <a:schemeClr val="tx2"/>
              </a:buClr>
              <a:buSzPct val="120000"/>
              <a:buChar char="–"/>
            </a:pPr>
            <a:r>
              <a:rPr lang="en-US" dirty="0" smtClean="0"/>
              <a:t>Third level</a:t>
            </a:r>
          </a:p>
          <a:p>
            <a:pPr marL="522139" lvl="3" indent="-132217" defTabSz="760947">
              <a:spcBef>
                <a:spcPct val="0"/>
              </a:spcBef>
              <a:buClr>
                <a:schemeClr val="tx2"/>
              </a:buClr>
              <a:buSzPct val="100000"/>
              <a:buFont typeface="Arial" pitchFamily="34" charset="0"/>
              <a:buChar char="▫"/>
            </a:pPr>
            <a:r>
              <a:rPr lang="en-US" dirty="0" smtClean="0"/>
              <a:t>Fourth level</a:t>
            </a:r>
          </a:p>
          <a:p>
            <a:pPr marL="637250" lvl="4" indent="-110637" defTabSz="760947">
              <a:spcBef>
                <a:spcPct val="0"/>
              </a:spcBef>
              <a:buClr>
                <a:schemeClr val="tx2"/>
              </a:buClr>
              <a:buSzPct val="89000"/>
              <a:buChar char="-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7367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3" r:id="rId1"/>
    <p:sldLayoutId id="2147484964" r:id="rId2"/>
    <p:sldLayoutId id="2147484965" r:id="rId3"/>
    <p:sldLayoutId id="2147484966" r:id="rId4"/>
    <p:sldLayoutId id="2147484967" r:id="rId5"/>
    <p:sldLayoutId id="2147484968" r:id="rId6"/>
    <p:sldLayoutId id="2147484969" r:id="rId7"/>
    <p:sldLayoutId id="2147484970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400" kern="1200" dirty="0">
          <a:solidFill>
            <a:schemeClr val="tx1">
              <a:lumMod val="50000"/>
            </a:schemeClr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None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600" kern="1200" baseline="0" dirty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1588" y="1588"/>
            <a:ext cx="1587" cy="1587"/>
          </a:xfrm>
          <a:prstGeom prst="rect">
            <a:avLst/>
          </a:prstGeom>
          <a:noFill/>
        </p:spPr>
      </p:pic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33262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805483" y="4909708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909708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© </a:t>
            </a: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2015  </a:t>
            </a: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829376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7766" y="1235542"/>
            <a:ext cx="8345488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lvl="0" indent="0" defTabSz="760947">
              <a:spcBef>
                <a:spcPct val="0"/>
              </a:spcBef>
            </a:pPr>
            <a:r>
              <a:rPr lang="en-US" dirty="0" smtClean="0"/>
              <a:t>Click to edit Master text styles</a:t>
            </a:r>
          </a:p>
          <a:p>
            <a:pPr marL="164601" lvl="1" indent="-163264" defTabSz="760947">
              <a:spcBef>
                <a:spcPct val="0"/>
              </a:spcBef>
              <a:buSzPct val="125000"/>
              <a:buFont typeface="Arial" pitchFamily="34" charset="0"/>
              <a:buChar char="▪"/>
            </a:pPr>
            <a:r>
              <a:rPr lang="en-US" dirty="0" smtClean="0"/>
              <a:t>Second level</a:t>
            </a:r>
          </a:p>
          <a:p>
            <a:pPr marL="388573" lvl="2" indent="-222621" defTabSz="760947">
              <a:spcBef>
                <a:spcPct val="0"/>
              </a:spcBef>
              <a:buClr>
                <a:schemeClr val="tx2"/>
              </a:buClr>
              <a:buSzPct val="120000"/>
              <a:buChar char="–"/>
            </a:pPr>
            <a:r>
              <a:rPr lang="en-US" dirty="0" smtClean="0"/>
              <a:t>Third level</a:t>
            </a:r>
          </a:p>
          <a:p>
            <a:pPr marL="522139" lvl="3" indent="-132217" defTabSz="760947">
              <a:spcBef>
                <a:spcPct val="0"/>
              </a:spcBef>
              <a:buClr>
                <a:schemeClr val="tx2"/>
              </a:buClr>
              <a:buSzPct val="100000"/>
              <a:buFont typeface="Arial" pitchFamily="34" charset="0"/>
              <a:buChar char="▫"/>
            </a:pPr>
            <a:r>
              <a:rPr lang="en-US" dirty="0" smtClean="0"/>
              <a:t>Fourth level</a:t>
            </a:r>
          </a:p>
          <a:p>
            <a:pPr marL="637250" lvl="4" indent="-110637" defTabSz="760947">
              <a:spcBef>
                <a:spcPct val="0"/>
              </a:spcBef>
              <a:buClr>
                <a:schemeClr val="tx2"/>
              </a:buClr>
              <a:buSzPct val="89000"/>
              <a:buChar char="-"/>
            </a:pPr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23239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72" r:id="rId1"/>
    <p:sldLayoutId id="2147484973" r:id="rId2"/>
    <p:sldLayoutId id="2147484974" r:id="rId3"/>
    <p:sldLayoutId id="2147484975" r:id="rId4"/>
    <p:sldLayoutId id="2147484976" r:id="rId5"/>
    <p:sldLayoutId id="2147484977" r:id="rId6"/>
    <p:sldLayoutId id="2147484978" r:id="rId7"/>
    <p:sldLayoutId id="2147484979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defTabSz="6842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400" kern="1200" dirty="0">
          <a:solidFill>
            <a:schemeClr val="tx1">
              <a:lumMod val="50000"/>
            </a:schemeClr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None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600" kern="1200" baseline="0" dirty="0" smtClean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kumimoji="1" lang="en-US" sz="1600" kern="1200" baseline="0" dirty="0">
          <a:solidFill>
            <a:schemeClr val="tx1">
              <a:lumMod val="50000"/>
            </a:schemeClr>
          </a:solidFill>
          <a:latin typeface="+mn-lt"/>
          <a:ea typeface="+mn-ea"/>
          <a:cs typeface="Arial" pitchFamily="34" charset="0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1"/>
          <a:srcRect/>
          <a:stretch>
            <a:fillRect/>
          </a:stretch>
        </p:blipFill>
        <p:spPr bwMode="auto">
          <a:xfrm>
            <a:off x="0" y="25"/>
            <a:ext cx="161984" cy="121481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6" y="1989514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ext styles</a:t>
            </a:r>
          </a:p>
          <a:p>
            <a:pPr lvl="1"/>
            <a:r>
              <a:rPr lang="en-US" altLang="ja-JP" noProof="0" smtClean="0"/>
              <a:t>Second level</a:t>
            </a:r>
          </a:p>
          <a:p>
            <a:pPr lvl="2"/>
            <a:r>
              <a:rPr lang="en-US" altLang="ja-JP" noProof="0" smtClean="0"/>
              <a:t>Third level</a:t>
            </a:r>
          </a:p>
          <a:p>
            <a:pPr lvl="3"/>
            <a:r>
              <a:rPr lang="en-US" altLang="ja-JP" noProof="0" smtClean="0"/>
              <a:t>Fourth level</a:t>
            </a:r>
          </a:p>
          <a:p>
            <a:pPr lvl="4"/>
            <a:r>
              <a:rPr lang="en-US" altLang="ja-JP" noProof="0" smtClean="0"/>
              <a:t>Fifth level</a:t>
            </a:r>
            <a:endParaRPr lang="en-US" altLang="ja-JP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  <p:sp>
        <p:nvSpPr>
          <p:cNvPr id="12" name="McK 3. Unit of measure" hidden="1"/>
          <p:cNvSpPr txBox="1">
            <a:spLocks noChangeArrowheads="1"/>
          </p:cNvSpPr>
          <p:nvPr/>
        </p:nvSpPr>
        <p:spPr bwMode="auto">
          <a:xfrm>
            <a:off x="166814" y="567123"/>
            <a:ext cx="8810379" cy="246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600" dirty="0" smtClean="0">
                <a:solidFill>
                  <a:srgbClr val="808080"/>
                </a:solidFill>
                <a:latin typeface="Arial"/>
                <a:cs typeface="Arial" pitchFamily="34" charset="0"/>
              </a:rPr>
              <a:t>Unit of measure</a:t>
            </a:r>
          </a:p>
        </p:txBody>
      </p: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2377116" y="1435560"/>
            <a:ext cx="4389768" cy="506574"/>
            <a:chOff x="915" y="613"/>
            <a:chExt cx="2686" cy="417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b="1" dirty="0">
                  <a:solidFill>
                    <a:srgbClr val="676767"/>
                  </a:solidFill>
                  <a:cs typeface="Arial" pitchFamily="34" charset="0"/>
                </a:rPr>
                <a:t>Title</a:t>
              </a:r>
            </a:p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dirty="0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grpSp>
        <p:nvGrpSpPr>
          <p:cNvPr id="66" name="LegendBoxes" hidden="1"/>
          <p:cNvGrpSpPr/>
          <p:nvPr/>
        </p:nvGrpSpPr>
        <p:grpSpPr bwMode="auto">
          <a:xfrm>
            <a:off x="8323524" y="297015"/>
            <a:ext cx="656070" cy="874313"/>
            <a:chOff x="8336837" y="2006068"/>
            <a:chExt cx="656070" cy="874312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auto">
            <a:xfrm>
              <a:off x="8567310" y="2006068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2" name="LegendRectangle1"/>
            <p:cNvSpPr>
              <a:spLocks noChangeArrowheads="1"/>
            </p:cNvSpPr>
            <p:nvPr/>
          </p:nvSpPr>
          <p:spPr bwMode="auto">
            <a:xfrm>
              <a:off x="8336837" y="2006068"/>
              <a:ext cx="149807" cy="1463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3" name="Legend2"/>
            <p:cNvSpPr>
              <a:spLocks noChangeArrowheads="1"/>
            </p:cNvSpPr>
            <p:nvPr/>
          </p:nvSpPr>
          <p:spPr bwMode="auto">
            <a:xfrm>
              <a:off x="8567310" y="2246225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4" name="LegendRectangle2"/>
            <p:cNvSpPr>
              <a:spLocks noChangeArrowheads="1"/>
            </p:cNvSpPr>
            <p:nvPr/>
          </p:nvSpPr>
          <p:spPr bwMode="auto">
            <a:xfrm>
              <a:off x="8336837" y="2246225"/>
              <a:ext cx="149807" cy="1463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auto">
            <a:xfrm>
              <a:off x="8567310" y="2486382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6" name="LegendRectangle3"/>
            <p:cNvSpPr>
              <a:spLocks noChangeArrowheads="1"/>
            </p:cNvSpPr>
            <p:nvPr/>
          </p:nvSpPr>
          <p:spPr bwMode="auto">
            <a:xfrm>
              <a:off x="8336837" y="2486382"/>
              <a:ext cx="149807" cy="146304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7" name="Legend4"/>
            <p:cNvSpPr>
              <a:spLocks noChangeArrowheads="1"/>
            </p:cNvSpPr>
            <p:nvPr/>
          </p:nvSpPr>
          <p:spPr bwMode="auto">
            <a:xfrm>
              <a:off x="8567310" y="2726539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8" name="LegendRectangle4"/>
            <p:cNvSpPr>
              <a:spLocks noChangeArrowheads="1"/>
            </p:cNvSpPr>
            <p:nvPr/>
          </p:nvSpPr>
          <p:spPr bwMode="auto">
            <a:xfrm>
              <a:off x="8336837" y="2726539"/>
              <a:ext cx="149807" cy="146304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</p:grpSp>
      <p:grpSp>
        <p:nvGrpSpPr>
          <p:cNvPr id="71" name="LegendLines" hidden="1"/>
          <p:cNvGrpSpPr/>
          <p:nvPr/>
        </p:nvGrpSpPr>
        <p:grpSpPr bwMode="auto">
          <a:xfrm>
            <a:off x="8044074" y="297001"/>
            <a:ext cx="935518" cy="614828"/>
            <a:chOff x="8057389" y="2020564"/>
            <a:chExt cx="935518" cy="614827"/>
          </a:xfrm>
        </p:grpSpPr>
        <p:sp>
          <p:nvSpPr>
            <p:cNvPr id="30" name="LineLegend1"/>
            <p:cNvSpPr>
              <a:spLocks noChangeShapeType="1"/>
            </p:cNvSpPr>
            <p:nvPr/>
          </p:nvSpPr>
          <p:spPr bwMode="auto">
            <a:xfrm>
              <a:off x="8057389" y="2097508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3" name="Legend1"/>
            <p:cNvSpPr>
              <a:spLocks noChangeArrowheads="1"/>
            </p:cNvSpPr>
            <p:nvPr/>
          </p:nvSpPr>
          <p:spPr bwMode="auto">
            <a:xfrm>
              <a:off x="8567310" y="2020564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31" name="LineLegend2"/>
            <p:cNvSpPr>
              <a:spLocks noChangeShapeType="1"/>
            </p:cNvSpPr>
            <p:nvPr/>
          </p:nvSpPr>
          <p:spPr bwMode="auto">
            <a:xfrm>
              <a:off x="8057389" y="2328001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4" name="Legend2"/>
            <p:cNvSpPr>
              <a:spLocks noChangeArrowheads="1"/>
            </p:cNvSpPr>
            <p:nvPr/>
          </p:nvSpPr>
          <p:spPr bwMode="auto">
            <a:xfrm>
              <a:off x="8567310" y="2251057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32" name="LineLegend3"/>
            <p:cNvSpPr>
              <a:spLocks noChangeShapeType="1"/>
            </p:cNvSpPr>
            <p:nvPr/>
          </p:nvSpPr>
          <p:spPr bwMode="auto">
            <a:xfrm>
              <a:off x="8057389" y="2558494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5" name="Legend3"/>
            <p:cNvSpPr>
              <a:spLocks noChangeArrowheads="1"/>
            </p:cNvSpPr>
            <p:nvPr/>
          </p:nvSpPr>
          <p:spPr bwMode="auto">
            <a:xfrm>
              <a:off x="8567310" y="2481550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</p:grpSp>
      <p:grpSp>
        <p:nvGrpSpPr>
          <p:cNvPr id="36" name="McKSticker" hidden="1"/>
          <p:cNvGrpSpPr/>
          <p:nvPr/>
        </p:nvGrpSpPr>
        <p:grpSpPr bwMode="auto">
          <a:xfrm>
            <a:off x="8082365" y="297001"/>
            <a:ext cx="894925" cy="181588"/>
            <a:chOff x="7754493" y="285750"/>
            <a:chExt cx="986282" cy="237304"/>
          </a:xfrm>
        </p:grpSpPr>
        <p:sp>
          <p:nvSpPr>
            <p:cNvPr id="37" name="StickerRectangle"/>
            <p:cNvSpPr>
              <a:spLocks noChangeArrowheads="1"/>
            </p:cNvSpPr>
            <p:nvPr/>
          </p:nvSpPr>
          <p:spPr bwMode="auto">
            <a:xfrm>
              <a:off x="7754493" y="285750"/>
              <a:ext cx="986282" cy="23730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8" name="AutoShape 31"/>
            <p:cNvCxnSpPr>
              <a:cxnSpLocks noChangeShapeType="1"/>
              <a:stCxn id="37" idx="2"/>
              <a:endCxn id="37" idx="4"/>
            </p:cNvCxnSpPr>
            <p:nvPr/>
          </p:nvCxnSpPr>
          <p:spPr bwMode="auto">
            <a:xfrm>
              <a:off x="7754493" y="285750"/>
              <a:ext cx="0" cy="23730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AutoShape 32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7754493" y="523054"/>
              <a:ext cx="9862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2" name="LegendMoons" hidden="1"/>
          <p:cNvGrpSpPr/>
          <p:nvPr/>
        </p:nvGrpSpPr>
        <p:grpSpPr bwMode="auto">
          <a:xfrm>
            <a:off x="8277315" y="297022"/>
            <a:ext cx="702280" cy="1104851"/>
            <a:chOff x="6915362" y="2006068"/>
            <a:chExt cx="702280" cy="1104851"/>
          </a:xfrm>
        </p:grpSpPr>
        <p:sp>
          <p:nvSpPr>
            <p:cNvPr id="44" name="Legend1"/>
            <p:cNvSpPr>
              <a:spLocks noChangeArrowheads="1"/>
            </p:cNvSpPr>
            <p:nvPr userDrawn="1"/>
          </p:nvSpPr>
          <p:spPr bwMode="auto">
            <a:xfrm>
              <a:off x="7192045" y="2020564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49" name="MoonLegend1"/>
            <p:cNvGrpSpPr>
              <a:grpSpLocks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6915362" y="2006068"/>
              <a:ext cx="182880" cy="182880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5" name="Legend2"/>
            <p:cNvSpPr>
              <a:spLocks noChangeArrowheads="1"/>
            </p:cNvSpPr>
            <p:nvPr userDrawn="1"/>
          </p:nvSpPr>
          <p:spPr bwMode="auto">
            <a:xfrm>
              <a:off x="7192045" y="2251057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0" name="MoonLegend2"/>
            <p:cNvGrpSpPr>
              <a:grpSpLocks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6915362" y="2236561"/>
              <a:ext cx="182880" cy="182880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6" name="Legend3"/>
            <p:cNvSpPr>
              <a:spLocks noChangeArrowheads="1"/>
            </p:cNvSpPr>
            <p:nvPr userDrawn="1"/>
          </p:nvSpPr>
          <p:spPr bwMode="auto">
            <a:xfrm>
              <a:off x="7192045" y="2481550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1" name="MoonLegend3"/>
            <p:cNvGrpSpPr>
              <a:grpSpLocks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6915362" y="2467054"/>
              <a:ext cx="182880" cy="182880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7" name="Legend4"/>
            <p:cNvSpPr>
              <a:spLocks noChangeArrowheads="1"/>
            </p:cNvSpPr>
            <p:nvPr userDrawn="1"/>
          </p:nvSpPr>
          <p:spPr bwMode="auto">
            <a:xfrm>
              <a:off x="7192045" y="2712043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2" name="MoonLegend4"/>
            <p:cNvGrpSpPr>
              <a:grpSpLocks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6915362" y="2697547"/>
              <a:ext cx="182880" cy="182880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8" name="Legend5"/>
            <p:cNvSpPr>
              <a:spLocks noChangeArrowheads="1"/>
            </p:cNvSpPr>
            <p:nvPr userDrawn="1"/>
          </p:nvSpPr>
          <p:spPr bwMode="auto">
            <a:xfrm>
              <a:off x="7192045" y="2942535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3" name="MoonLegend5"/>
            <p:cNvGrpSpPr>
              <a:grpSpLocks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6915362" y="2928039"/>
              <a:ext cx="182880" cy="182880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</p:grpSp>
      <p:sp>
        <p:nvSpPr>
          <p:cNvPr id="11" name="McK 1. On-page tracker" hidden="1"/>
          <p:cNvSpPr>
            <a:spLocks noChangeArrowheads="1"/>
          </p:cNvSpPr>
          <p:nvPr/>
        </p:nvSpPr>
        <p:spPr bwMode="auto">
          <a:xfrm>
            <a:off x="166814" y="7915"/>
            <a:ext cx="872835" cy="219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214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67" name="TextBox 66"/>
          <p:cNvSpPr txBox="1">
            <a:spLocks/>
          </p:cNvSpPr>
          <p:nvPr/>
        </p:nvSpPr>
        <p:spPr bwMode="auto">
          <a:xfrm>
            <a:off x="8663149" y="4935545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 algn="r" defTabSz="913214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altLang="ja-JP" sz="700" smtClean="0">
                <a:solidFill>
                  <a:srgbClr val="676767"/>
                </a:solidFill>
                <a:latin typeface="Arial"/>
                <a:ea typeface="ＭＳ Ｐゴシック"/>
              </a:rPr>
              <a:pPr algn="r" defTabSz="91321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700" dirty="0">
              <a:solidFill>
                <a:srgbClr val="676767"/>
              </a:solidFill>
              <a:latin typeface="Arial"/>
              <a:ea typeface="ＭＳ Ｐゴシック"/>
            </a:endParaRPr>
          </a:p>
        </p:txBody>
      </p:sp>
      <p:grpSp>
        <p:nvGrpSpPr>
          <p:cNvPr id="3" name="McK Slide Elements" hidden="1"/>
          <p:cNvGrpSpPr/>
          <p:nvPr/>
        </p:nvGrpSpPr>
        <p:grpSpPr bwMode="auto">
          <a:xfrm>
            <a:off x="166814" y="4428739"/>
            <a:ext cx="8810379" cy="347102"/>
            <a:chOff x="166811" y="4241226"/>
            <a:chExt cx="8810379" cy="347101"/>
          </a:xfrm>
        </p:grpSpPr>
        <p:sp>
          <p:nvSpPr>
            <p:cNvPr id="68" name="McK 4. Footnote"/>
            <p:cNvSpPr txBox="1">
              <a:spLocks noChangeArrowheads="1"/>
            </p:cNvSpPr>
            <p:nvPr userDrawn="1"/>
          </p:nvSpPr>
          <p:spPr bwMode="auto">
            <a:xfrm>
              <a:off x="166811" y="4241226"/>
              <a:ext cx="8810379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676767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9" name="McK 5. Source"/>
            <p:cNvSpPr>
              <a:spLocks noChangeArrowheads="1"/>
            </p:cNvSpPr>
            <p:nvPr userDrawn="1"/>
          </p:nvSpPr>
          <p:spPr bwMode="auto">
            <a:xfrm>
              <a:off x="166811" y="4434486"/>
              <a:ext cx="8810379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269" indent="-469269" defTabSz="894184" fontAlgn="base">
                <a:spcBef>
                  <a:spcPct val="0"/>
                </a:spcBef>
                <a:spcAft>
                  <a:spcPct val="0"/>
                </a:spcAft>
                <a:tabLst>
                  <a:tab pos="474032" algn="l"/>
                </a:tabLst>
              </a:pPr>
              <a:r>
                <a:rPr lang="en-US" sz="1000" dirty="0">
                  <a:solidFill>
                    <a:srgbClr val="676767"/>
                  </a:solidFill>
                </a:rPr>
                <a:t>Source: Source</a:t>
              </a:r>
            </a:p>
          </p:txBody>
        </p:sp>
      </p:grpSp>
      <p:pic>
        <p:nvPicPr>
          <p:cNvPr id="64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943" y="480189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Rectangle 4"/>
          <p:cNvSpPr>
            <a:spLocks noChangeArrowheads="1"/>
          </p:cNvSpPr>
          <p:nvPr/>
        </p:nvSpPr>
        <p:spPr bwMode="auto">
          <a:xfrm>
            <a:off x="5575731" y="4935546"/>
            <a:ext cx="2906245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09954">
              <a:defRPr/>
            </a:pPr>
            <a:r>
              <a:rPr lang="en-US" sz="700" dirty="0">
                <a:solidFill>
                  <a:srgbClr val="676767"/>
                </a:solidFill>
                <a:cs typeface="CiscoSans Thin"/>
              </a:rPr>
              <a:t>© 2015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51249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81" r:id="rId1"/>
    <p:sldLayoutId id="2147484982" r:id="rId2"/>
    <p:sldLayoutId id="2147484983" r:id="rId3"/>
    <p:sldLayoutId id="2147484984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760494" rtl="0" eaLnBrk="1" fontAlgn="base" hangingPunct="1">
        <a:spcBef>
          <a:spcPct val="0"/>
        </a:spcBef>
        <a:spcAft>
          <a:spcPct val="0"/>
        </a:spcAft>
        <a:tabLst>
          <a:tab pos="303392" algn="l"/>
        </a:tabLst>
        <a:defRPr kumimoji="1" sz="2200" b="0" baseline="0">
          <a:solidFill>
            <a:schemeClr val="tx1"/>
          </a:solidFill>
          <a:latin typeface="+mj-lt"/>
          <a:ea typeface="+mj-ea"/>
          <a:cs typeface="Arial" pitchFamily="34" charset="0"/>
        </a:defRPr>
      </a:lvl1pPr>
      <a:lvl2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2pPr>
      <a:lvl3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3pPr>
      <a:lvl4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4pPr>
      <a:lvl5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5pPr>
      <a:lvl6pPr marL="388373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6pPr>
      <a:lvl7pPr marL="776671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7pPr>
      <a:lvl8pPr marL="1165018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8pPr>
      <a:lvl9pPr marL="1553340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164510" indent="-163160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388373" indent="-222464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21831" indent="-132159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▫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6pPr>
      <a:lvl7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7pPr>
      <a:lvl8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8pPr>
      <a:lvl9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9pPr>
    </p:bodyStyle>
    <p:otherStyle>
      <a:defPPr>
        <a:defRPr lang="en-US"/>
      </a:defPPr>
      <a:lvl1pPr marL="0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8373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6671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5018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3340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1713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0037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18358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06682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1"/>
          <a:srcRect/>
          <a:stretch>
            <a:fillRect/>
          </a:stretch>
        </p:blipFill>
        <p:spPr bwMode="auto">
          <a:xfrm>
            <a:off x="0" y="3"/>
            <a:ext cx="161984" cy="121481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6" y="1989514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ext styles</a:t>
            </a:r>
          </a:p>
          <a:p>
            <a:pPr lvl="1"/>
            <a:r>
              <a:rPr lang="en-US" altLang="ja-JP" noProof="0" smtClean="0"/>
              <a:t>Second level</a:t>
            </a:r>
          </a:p>
          <a:p>
            <a:pPr lvl="2"/>
            <a:r>
              <a:rPr lang="en-US" altLang="ja-JP" noProof="0" smtClean="0"/>
              <a:t>Third level</a:t>
            </a:r>
          </a:p>
          <a:p>
            <a:pPr lvl="3"/>
            <a:r>
              <a:rPr lang="en-US" altLang="ja-JP" noProof="0" smtClean="0"/>
              <a:t>Fourth level</a:t>
            </a:r>
          </a:p>
          <a:p>
            <a:pPr lvl="4"/>
            <a:r>
              <a:rPr lang="en-US" altLang="ja-JP" noProof="0" smtClean="0"/>
              <a:t>Fifth level</a:t>
            </a:r>
            <a:endParaRPr lang="en-US" altLang="ja-JP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  <p:sp>
        <p:nvSpPr>
          <p:cNvPr id="12" name="McK 3. Unit of measure" hidden="1"/>
          <p:cNvSpPr txBox="1">
            <a:spLocks noChangeArrowheads="1"/>
          </p:cNvSpPr>
          <p:nvPr/>
        </p:nvSpPr>
        <p:spPr bwMode="auto">
          <a:xfrm>
            <a:off x="166814" y="567123"/>
            <a:ext cx="8810379" cy="246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600" dirty="0" smtClean="0">
                <a:solidFill>
                  <a:srgbClr val="808080"/>
                </a:solidFill>
                <a:latin typeface="Arial"/>
                <a:cs typeface="Arial" pitchFamily="34" charset="0"/>
              </a:rPr>
              <a:t>Unit of measure</a:t>
            </a:r>
          </a:p>
        </p:txBody>
      </p: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2377116" y="1435560"/>
            <a:ext cx="4389768" cy="506574"/>
            <a:chOff x="915" y="613"/>
            <a:chExt cx="2686" cy="417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70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b="1" dirty="0">
                  <a:solidFill>
                    <a:srgbClr val="676767"/>
                  </a:solidFill>
                  <a:cs typeface="Arial" pitchFamily="34" charset="0"/>
                </a:rPr>
                <a:t>Title</a:t>
              </a:r>
            </a:p>
            <a:p>
              <a:pPr defTabSz="91370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dirty="0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grpSp>
        <p:nvGrpSpPr>
          <p:cNvPr id="66" name="LegendBoxes" hidden="1"/>
          <p:cNvGrpSpPr/>
          <p:nvPr/>
        </p:nvGrpSpPr>
        <p:grpSpPr bwMode="auto">
          <a:xfrm>
            <a:off x="8323524" y="297000"/>
            <a:ext cx="656070" cy="874313"/>
            <a:chOff x="8336837" y="2006068"/>
            <a:chExt cx="656070" cy="874312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auto">
            <a:xfrm>
              <a:off x="8567310" y="2006068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91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2" name="LegendRectangle1"/>
            <p:cNvSpPr>
              <a:spLocks noChangeArrowheads="1"/>
            </p:cNvSpPr>
            <p:nvPr/>
          </p:nvSpPr>
          <p:spPr bwMode="auto">
            <a:xfrm>
              <a:off x="8336837" y="2006068"/>
              <a:ext cx="149807" cy="1463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09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3" name="Legend2"/>
            <p:cNvSpPr>
              <a:spLocks noChangeArrowheads="1"/>
            </p:cNvSpPr>
            <p:nvPr/>
          </p:nvSpPr>
          <p:spPr bwMode="auto">
            <a:xfrm>
              <a:off x="8567310" y="2246225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91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4" name="LegendRectangle2"/>
            <p:cNvSpPr>
              <a:spLocks noChangeArrowheads="1"/>
            </p:cNvSpPr>
            <p:nvPr/>
          </p:nvSpPr>
          <p:spPr bwMode="auto">
            <a:xfrm>
              <a:off x="8336837" y="2246225"/>
              <a:ext cx="149807" cy="1463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09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auto">
            <a:xfrm>
              <a:off x="8567310" y="2486382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91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6" name="LegendRectangle3"/>
            <p:cNvSpPr>
              <a:spLocks noChangeArrowheads="1"/>
            </p:cNvSpPr>
            <p:nvPr/>
          </p:nvSpPr>
          <p:spPr bwMode="auto">
            <a:xfrm>
              <a:off x="8336837" y="2486382"/>
              <a:ext cx="149807" cy="146304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09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7" name="Legend4"/>
            <p:cNvSpPr>
              <a:spLocks noChangeArrowheads="1"/>
            </p:cNvSpPr>
            <p:nvPr/>
          </p:nvSpPr>
          <p:spPr bwMode="auto">
            <a:xfrm>
              <a:off x="8567310" y="2726539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91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8" name="LegendRectangle4"/>
            <p:cNvSpPr>
              <a:spLocks noChangeArrowheads="1"/>
            </p:cNvSpPr>
            <p:nvPr/>
          </p:nvSpPr>
          <p:spPr bwMode="auto">
            <a:xfrm>
              <a:off x="8336837" y="2726539"/>
              <a:ext cx="149807" cy="146304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709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</p:grpSp>
      <p:grpSp>
        <p:nvGrpSpPr>
          <p:cNvPr id="71" name="LegendLines" hidden="1"/>
          <p:cNvGrpSpPr/>
          <p:nvPr/>
        </p:nvGrpSpPr>
        <p:grpSpPr bwMode="auto">
          <a:xfrm>
            <a:off x="8044074" y="297001"/>
            <a:ext cx="935518" cy="614828"/>
            <a:chOff x="8057389" y="2020564"/>
            <a:chExt cx="935518" cy="614827"/>
          </a:xfrm>
        </p:grpSpPr>
        <p:sp>
          <p:nvSpPr>
            <p:cNvPr id="30" name="LineLegend1"/>
            <p:cNvSpPr>
              <a:spLocks noChangeShapeType="1"/>
            </p:cNvSpPr>
            <p:nvPr/>
          </p:nvSpPr>
          <p:spPr bwMode="auto">
            <a:xfrm>
              <a:off x="8057389" y="2097508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709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3" name="Legend1"/>
            <p:cNvSpPr>
              <a:spLocks noChangeArrowheads="1"/>
            </p:cNvSpPr>
            <p:nvPr/>
          </p:nvSpPr>
          <p:spPr bwMode="auto">
            <a:xfrm>
              <a:off x="8567310" y="2020564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91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31" name="LineLegend2"/>
            <p:cNvSpPr>
              <a:spLocks noChangeShapeType="1"/>
            </p:cNvSpPr>
            <p:nvPr/>
          </p:nvSpPr>
          <p:spPr bwMode="auto">
            <a:xfrm>
              <a:off x="8057389" y="2328001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709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4" name="Legend2"/>
            <p:cNvSpPr>
              <a:spLocks noChangeArrowheads="1"/>
            </p:cNvSpPr>
            <p:nvPr/>
          </p:nvSpPr>
          <p:spPr bwMode="auto">
            <a:xfrm>
              <a:off x="8567310" y="2251057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91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32" name="LineLegend3"/>
            <p:cNvSpPr>
              <a:spLocks noChangeShapeType="1"/>
            </p:cNvSpPr>
            <p:nvPr/>
          </p:nvSpPr>
          <p:spPr bwMode="auto">
            <a:xfrm>
              <a:off x="8057389" y="2558494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709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5" name="Legend3"/>
            <p:cNvSpPr>
              <a:spLocks noChangeArrowheads="1"/>
            </p:cNvSpPr>
            <p:nvPr/>
          </p:nvSpPr>
          <p:spPr bwMode="auto">
            <a:xfrm>
              <a:off x="8567310" y="2481550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91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</p:grpSp>
      <p:grpSp>
        <p:nvGrpSpPr>
          <p:cNvPr id="36" name="McKSticker" hidden="1"/>
          <p:cNvGrpSpPr/>
          <p:nvPr/>
        </p:nvGrpSpPr>
        <p:grpSpPr bwMode="auto">
          <a:xfrm>
            <a:off x="8082321" y="297001"/>
            <a:ext cx="894925" cy="181588"/>
            <a:chOff x="7754493" y="285750"/>
            <a:chExt cx="986282" cy="237304"/>
          </a:xfrm>
        </p:grpSpPr>
        <p:sp>
          <p:nvSpPr>
            <p:cNvPr id="37" name="StickerRectangle"/>
            <p:cNvSpPr>
              <a:spLocks noChangeArrowheads="1"/>
            </p:cNvSpPr>
            <p:nvPr/>
          </p:nvSpPr>
          <p:spPr bwMode="auto">
            <a:xfrm>
              <a:off x="7754493" y="285750"/>
              <a:ext cx="986282" cy="23730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6091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8" name="AutoShape 31"/>
            <p:cNvCxnSpPr>
              <a:cxnSpLocks noChangeShapeType="1"/>
              <a:stCxn id="37" idx="2"/>
              <a:endCxn id="37" idx="4"/>
            </p:cNvCxnSpPr>
            <p:nvPr/>
          </p:nvCxnSpPr>
          <p:spPr bwMode="auto">
            <a:xfrm>
              <a:off x="7754493" y="285750"/>
              <a:ext cx="0" cy="23730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AutoShape 32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7754493" y="523054"/>
              <a:ext cx="9862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2" name="LegendMoons" hidden="1"/>
          <p:cNvGrpSpPr/>
          <p:nvPr/>
        </p:nvGrpSpPr>
        <p:grpSpPr bwMode="auto">
          <a:xfrm>
            <a:off x="8277315" y="297000"/>
            <a:ext cx="702280" cy="1104851"/>
            <a:chOff x="6915362" y="2006068"/>
            <a:chExt cx="702280" cy="1104851"/>
          </a:xfrm>
        </p:grpSpPr>
        <p:sp>
          <p:nvSpPr>
            <p:cNvPr id="44" name="Legend1"/>
            <p:cNvSpPr>
              <a:spLocks noChangeArrowheads="1"/>
            </p:cNvSpPr>
            <p:nvPr userDrawn="1"/>
          </p:nvSpPr>
          <p:spPr bwMode="auto">
            <a:xfrm>
              <a:off x="7192045" y="2020564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91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49" name="MoonLegend1"/>
            <p:cNvGrpSpPr>
              <a:grpSpLocks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6915362" y="2006068"/>
              <a:ext cx="182880" cy="182880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7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7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5" name="Legend2"/>
            <p:cNvSpPr>
              <a:spLocks noChangeArrowheads="1"/>
            </p:cNvSpPr>
            <p:nvPr userDrawn="1"/>
          </p:nvSpPr>
          <p:spPr bwMode="auto">
            <a:xfrm>
              <a:off x="7192045" y="2251057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91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0" name="MoonLegend2"/>
            <p:cNvGrpSpPr>
              <a:grpSpLocks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6915362" y="2236561"/>
              <a:ext cx="182880" cy="182880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7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7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6" name="Legend3"/>
            <p:cNvSpPr>
              <a:spLocks noChangeArrowheads="1"/>
            </p:cNvSpPr>
            <p:nvPr userDrawn="1"/>
          </p:nvSpPr>
          <p:spPr bwMode="auto">
            <a:xfrm>
              <a:off x="7192045" y="2481550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91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1" name="MoonLegend3"/>
            <p:cNvGrpSpPr>
              <a:grpSpLocks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6915362" y="2467054"/>
              <a:ext cx="182880" cy="182880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7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7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7" name="Legend4"/>
            <p:cNvSpPr>
              <a:spLocks noChangeArrowheads="1"/>
            </p:cNvSpPr>
            <p:nvPr userDrawn="1"/>
          </p:nvSpPr>
          <p:spPr bwMode="auto">
            <a:xfrm>
              <a:off x="7192045" y="2712043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91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2" name="MoonLegend4"/>
            <p:cNvGrpSpPr>
              <a:grpSpLocks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6915362" y="2697547"/>
              <a:ext cx="182880" cy="182880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7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7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8" name="Legend5"/>
            <p:cNvSpPr>
              <a:spLocks noChangeArrowheads="1"/>
            </p:cNvSpPr>
            <p:nvPr userDrawn="1"/>
          </p:nvSpPr>
          <p:spPr bwMode="auto">
            <a:xfrm>
              <a:off x="7192045" y="2942535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912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3" name="MoonLegend5"/>
            <p:cNvGrpSpPr>
              <a:grpSpLocks/>
            </p:cNvGrpSpPr>
            <p:nvPr userDrawn="1">
              <p:custDataLst>
                <p:tags r:id="rId10"/>
              </p:custDataLst>
            </p:nvPr>
          </p:nvGrpSpPr>
          <p:grpSpPr bwMode="auto">
            <a:xfrm>
              <a:off x="6915362" y="2928039"/>
              <a:ext cx="182880" cy="182880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7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70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</p:grpSp>
      <p:sp>
        <p:nvSpPr>
          <p:cNvPr id="11" name="McK 1. On-page tracker" hidden="1"/>
          <p:cNvSpPr>
            <a:spLocks noChangeArrowheads="1"/>
          </p:cNvSpPr>
          <p:nvPr/>
        </p:nvSpPr>
        <p:spPr bwMode="auto">
          <a:xfrm>
            <a:off x="166813" y="7915"/>
            <a:ext cx="872835" cy="219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709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67" name="TextBox 66"/>
          <p:cNvSpPr txBox="1">
            <a:spLocks/>
          </p:cNvSpPr>
          <p:nvPr/>
        </p:nvSpPr>
        <p:spPr bwMode="auto">
          <a:xfrm>
            <a:off x="8663149" y="4935545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 algn="r" defTabSz="913709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altLang="ja-JP" sz="700" smtClean="0">
                <a:solidFill>
                  <a:srgbClr val="676767"/>
                </a:solidFill>
                <a:latin typeface="Arial"/>
                <a:ea typeface="ＭＳ Ｐゴシック"/>
              </a:rPr>
              <a:pPr algn="r" defTabSz="913709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700" dirty="0">
              <a:solidFill>
                <a:srgbClr val="676767"/>
              </a:solidFill>
              <a:latin typeface="Arial"/>
              <a:ea typeface="ＭＳ Ｐゴシック"/>
            </a:endParaRPr>
          </a:p>
        </p:txBody>
      </p:sp>
      <p:grpSp>
        <p:nvGrpSpPr>
          <p:cNvPr id="3" name="McK Slide Elements" hidden="1"/>
          <p:cNvGrpSpPr/>
          <p:nvPr/>
        </p:nvGrpSpPr>
        <p:grpSpPr bwMode="auto">
          <a:xfrm>
            <a:off x="166814" y="4428739"/>
            <a:ext cx="8810379" cy="347102"/>
            <a:chOff x="166811" y="4241226"/>
            <a:chExt cx="8810379" cy="347101"/>
          </a:xfrm>
        </p:grpSpPr>
        <p:sp>
          <p:nvSpPr>
            <p:cNvPr id="68" name="McK 4. Footnote"/>
            <p:cNvSpPr txBox="1">
              <a:spLocks noChangeArrowheads="1"/>
            </p:cNvSpPr>
            <p:nvPr userDrawn="1"/>
          </p:nvSpPr>
          <p:spPr bwMode="auto">
            <a:xfrm>
              <a:off x="166811" y="4241226"/>
              <a:ext cx="8810379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676767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9" name="McK 5. Source"/>
            <p:cNvSpPr>
              <a:spLocks noChangeArrowheads="1"/>
            </p:cNvSpPr>
            <p:nvPr userDrawn="1"/>
          </p:nvSpPr>
          <p:spPr bwMode="auto">
            <a:xfrm>
              <a:off x="166811" y="4434486"/>
              <a:ext cx="8810379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533" indent="-469533" defTabSz="894668" fontAlgn="base">
                <a:spcBef>
                  <a:spcPct val="0"/>
                </a:spcBef>
                <a:spcAft>
                  <a:spcPct val="0"/>
                </a:spcAft>
                <a:tabLst>
                  <a:tab pos="474296" algn="l"/>
                </a:tabLst>
              </a:pPr>
              <a:r>
                <a:rPr lang="en-US" sz="1000" dirty="0">
                  <a:solidFill>
                    <a:srgbClr val="676767"/>
                  </a:solidFill>
                </a:rPr>
                <a:t>Source: Source</a:t>
              </a:r>
            </a:p>
          </p:txBody>
        </p:sp>
      </p:grpSp>
      <p:pic>
        <p:nvPicPr>
          <p:cNvPr id="64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943" y="480189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Rectangle 4"/>
          <p:cNvSpPr>
            <a:spLocks noChangeArrowheads="1"/>
          </p:cNvSpPr>
          <p:nvPr/>
        </p:nvSpPr>
        <p:spPr bwMode="auto">
          <a:xfrm>
            <a:off x="5575709" y="4935546"/>
            <a:ext cx="2906245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284">
              <a:defRPr/>
            </a:pPr>
            <a:r>
              <a:rPr lang="en-US" sz="700" dirty="0">
                <a:solidFill>
                  <a:srgbClr val="676767"/>
                </a:solidFill>
                <a:cs typeface="CiscoSans Thin"/>
              </a:rPr>
              <a:t>© 2015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154807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86" r:id="rId1"/>
    <p:sldLayoutId id="2147484987" r:id="rId2"/>
    <p:sldLayoutId id="2147484988" r:id="rId3"/>
    <p:sldLayoutId id="2147484989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760912" rtl="0" eaLnBrk="1" fontAlgn="base" hangingPunct="1">
        <a:spcBef>
          <a:spcPct val="0"/>
        </a:spcBef>
        <a:spcAft>
          <a:spcPct val="0"/>
        </a:spcAft>
        <a:tabLst>
          <a:tab pos="303557" algn="l"/>
        </a:tabLst>
        <a:defRPr kumimoji="1" sz="2200" b="0" baseline="0">
          <a:solidFill>
            <a:schemeClr val="tx1"/>
          </a:solidFill>
          <a:latin typeface="+mj-lt"/>
          <a:ea typeface="+mj-ea"/>
          <a:cs typeface="Arial" pitchFamily="34" charset="0"/>
        </a:defRPr>
      </a:lvl1pPr>
      <a:lvl2pPr algn="l" defTabSz="760912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2pPr>
      <a:lvl3pPr algn="l" defTabSz="760912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3pPr>
      <a:lvl4pPr algn="l" defTabSz="760912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4pPr>
      <a:lvl5pPr algn="l" defTabSz="760912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5pPr>
      <a:lvl6pPr marL="388571" algn="l" defTabSz="760912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6pPr>
      <a:lvl7pPr marL="777100" algn="l" defTabSz="760912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7pPr>
      <a:lvl8pPr marL="1165656" algn="l" defTabSz="760912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8pPr>
      <a:lvl9pPr marL="1554198" algn="l" defTabSz="760912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760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164598" indent="-163248" algn="l" defTabSz="760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388571" indent="-222596" algn="l" defTabSz="760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22117" indent="-132225" algn="l" defTabSz="760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▫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637222" indent="-110624" algn="l" defTabSz="760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637222" indent="-110624" algn="l" defTabSz="760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6pPr>
      <a:lvl7pPr marL="637222" indent="-110624" algn="l" defTabSz="760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7pPr>
      <a:lvl8pPr marL="637222" indent="-110624" algn="l" defTabSz="760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8pPr>
      <a:lvl9pPr marL="637222" indent="-110624" algn="l" defTabSz="7609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9pPr>
    </p:bodyStyle>
    <p:otherStyle>
      <a:defPPr>
        <a:defRPr lang="en-US"/>
      </a:defPPr>
      <a:lvl1pPr marL="0" algn="l" defTabSz="777100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8571" algn="l" defTabSz="777100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7100" algn="l" defTabSz="777100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5656" algn="l" defTabSz="777100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4198" algn="l" defTabSz="777100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2769" algn="l" defTabSz="777100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1313" algn="l" defTabSz="777100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19854" algn="l" defTabSz="777100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08398" algn="l" defTabSz="777100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0" y="25"/>
            <a:ext cx="161984" cy="121481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6" y="1989514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ext styles</a:t>
            </a:r>
          </a:p>
          <a:p>
            <a:pPr lvl="1"/>
            <a:r>
              <a:rPr lang="en-US" altLang="ja-JP" noProof="0" smtClean="0"/>
              <a:t>Second level</a:t>
            </a:r>
          </a:p>
          <a:p>
            <a:pPr lvl="2"/>
            <a:r>
              <a:rPr lang="en-US" altLang="ja-JP" noProof="0" smtClean="0"/>
              <a:t>Third level</a:t>
            </a:r>
          </a:p>
          <a:p>
            <a:pPr lvl="3"/>
            <a:r>
              <a:rPr lang="en-US" altLang="ja-JP" noProof="0" smtClean="0"/>
              <a:t>Fourth level</a:t>
            </a:r>
          </a:p>
          <a:p>
            <a:pPr lvl="4"/>
            <a:r>
              <a:rPr lang="en-US" altLang="ja-JP" noProof="0" smtClean="0"/>
              <a:t>Fifth level</a:t>
            </a:r>
            <a:endParaRPr lang="en-US" altLang="ja-JP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  <p:sp>
        <p:nvSpPr>
          <p:cNvPr id="12" name="McK 3. Unit of measure" hidden="1"/>
          <p:cNvSpPr txBox="1">
            <a:spLocks noChangeArrowheads="1"/>
          </p:cNvSpPr>
          <p:nvPr/>
        </p:nvSpPr>
        <p:spPr bwMode="auto">
          <a:xfrm>
            <a:off x="166814" y="567123"/>
            <a:ext cx="8810379" cy="246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600" dirty="0" smtClean="0">
                <a:solidFill>
                  <a:srgbClr val="808080"/>
                </a:solidFill>
                <a:latin typeface="Arial"/>
                <a:cs typeface="Arial" pitchFamily="34" charset="0"/>
              </a:rPr>
              <a:t>Unit of measure</a:t>
            </a:r>
          </a:p>
        </p:txBody>
      </p: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2377116" y="1435560"/>
            <a:ext cx="4389768" cy="506574"/>
            <a:chOff x="915" y="613"/>
            <a:chExt cx="2686" cy="417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b="1" dirty="0">
                  <a:solidFill>
                    <a:srgbClr val="676767"/>
                  </a:solidFill>
                  <a:cs typeface="Arial" pitchFamily="34" charset="0"/>
                </a:rPr>
                <a:t>Title</a:t>
              </a:r>
            </a:p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dirty="0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grpSp>
        <p:nvGrpSpPr>
          <p:cNvPr id="66" name="LegendBoxes" hidden="1"/>
          <p:cNvGrpSpPr/>
          <p:nvPr/>
        </p:nvGrpSpPr>
        <p:grpSpPr bwMode="auto">
          <a:xfrm>
            <a:off x="8323524" y="297015"/>
            <a:ext cx="656070" cy="874313"/>
            <a:chOff x="8336837" y="2006068"/>
            <a:chExt cx="656070" cy="874312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auto">
            <a:xfrm>
              <a:off x="8567310" y="2006068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2" name="LegendRectangle1"/>
            <p:cNvSpPr>
              <a:spLocks noChangeArrowheads="1"/>
            </p:cNvSpPr>
            <p:nvPr/>
          </p:nvSpPr>
          <p:spPr bwMode="auto">
            <a:xfrm>
              <a:off x="8336837" y="2006068"/>
              <a:ext cx="149807" cy="1463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3" name="Legend2"/>
            <p:cNvSpPr>
              <a:spLocks noChangeArrowheads="1"/>
            </p:cNvSpPr>
            <p:nvPr/>
          </p:nvSpPr>
          <p:spPr bwMode="auto">
            <a:xfrm>
              <a:off x="8567310" y="2246225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4" name="LegendRectangle2"/>
            <p:cNvSpPr>
              <a:spLocks noChangeArrowheads="1"/>
            </p:cNvSpPr>
            <p:nvPr/>
          </p:nvSpPr>
          <p:spPr bwMode="auto">
            <a:xfrm>
              <a:off x="8336837" y="2246225"/>
              <a:ext cx="149807" cy="1463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auto">
            <a:xfrm>
              <a:off x="8567310" y="2486382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6" name="LegendRectangle3"/>
            <p:cNvSpPr>
              <a:spLocks noChangeArrowheads="1"/>
            </p:cNvSpPr>
            <p:nvPr/>
          </p:nvSpPr>
          <p:spPr bwMode="auto">
            <a:xfrm>
              <a:off x="8336837" y="2486382"/>
              <a:ext cx="149807" cy="146304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7" name="Legend4"/>
            <p:cNvSpPr>
              <a:spLocks noChangeArrowheads="1"/>
            </p:cNvSpPr>
            <p:nvPr/>
          </p:nvSpPr>
          <p:spPr bwMode="auto">
            <a:xfrm>
              <a:off x="8567310" y="2726539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8" name="LegendRectangle4"/>
            <p:cNvSpPr>
              <a:spLocks noChangeArrowheads="1"/>
            </p:cNvSpPr>
            <p:nvPr/>
          </p:nvSpPr>
          <p:spPr bwMode="auto">
            <a:xfrm>
              <a:off x="8336837" y="2726539"/>
              <a:ext cx="149807" cy="146304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</p:grpSp>
      <p:grpSp>
        <p:nvGrpSpPr>
          <p:cNvPr id="71" name="LegendLines" hidden="1"/>
          <p:cNvGrpSpPr/>
          <p:nvPr/>
        </p:nvGrpSpPr>
        <p:grpSpPr bwMode="auto">
          <a:xfrm>
            <a:off x="8044074" y="297001"/>
            <a:ext cx="935518" cy="614828"/>
            <a:chOff x="8057389" y="2020564"/>
            <a:chExt cx="935518" cy="614827"/>
          </a:xfrm>
        </p:grpSpPr>
        <p:sp>
          <p:nvSpPr>
            <p:cNvPr id="30" name="LineLegend1"/>
            <p:cNvSpPr>
              <a:spLocks noChangeShapeType="1"/>
            </p:cNvSpPr>
            <p:nvPr/>
          </p:nvSpPr>
          <p:spPr bwMode="auto">
            <a:xfrm>
              <a:off x="8057389" y="2097508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3" name="Legend1"/>
            <p:cNvSpPr>
              <a:spLocks noChangeArrowheads="1"/>
            </p:cNvSpPr>
            <p:nvPr/>
          </p:nvSpPr>
          <p:spPr bwMode="auto">
            <a:xfrm>
              <a:off x="8567310" y="2020564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31" name="LineLegend2"/>
            <p:cNvSpPr>
              <a:spLocks noChangeShapeType="1"/>
            </p:cNvSpPr>
            <p:nvPr/>
          </p:nvSpPr>
          <p:spPr bwMode="auto">
            <a:xfrm>
              <a:off x="8057389" y="2328001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4" name="Legend2"/>
            <p:cNvSpPr>
              <a:spLocks noChangeArrowheads="1"/>
            </p:cNvSpPr>
            <p:nvPr/>
          </p:nvSpPr>
          <p:spPr bwMode="auto">
            <a:xfrm>
              <a:off x="8567310" y="2251057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32" name="LineLegend3"/>
            <p:cNvSpPr>
              <a:spLocks noChangeShapeType="1"/>
            </p:cNvSpPr>
            <p:nvPr/>
          </p:nvSpPr>
          <p:spPr bwMode="auto">
            <a:xfrm>
              <a:off x="8057389" y="2558494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5" name="Legend3"/>
            <p:cNvSpPr>
              <a:spLocks noChangeArrowheads="1"/>
            </p:cNvSpPr>
            <p:nvPr/>
          </p:nvSpPr>
          <p:spPr bwMode="auto">
            <a:xfrm>
              <a:off x="8567310" y="2481550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</p:grpSp>
      <p:grpSp>
        <p:nvGrpSpPr>
          <p:cNvPr id="36" name="McKSticker" hidden="1"/>
          <p:cNvGrpSpPr/>
          <p:nvPr/>
        </p:nvGrpSpPr>
        <p:grpSpPr bwMode="auto">
          <a:xfrm>
            <a:off x="8082365" y="297001"/>
            <a:ext cx="894925" cy="181588"/>
            <a:chOff x="7754493" y="285750"/>
            <a:chExt cx="986282" cy="237304"/>
          </a:xfrm>
        </p:grpSpPr>
        <p:sp>
          <p:nvSpPr>
            <p:cNvPr id="37" name="StickerRectangle"/>
            <p:cNvSpPr>
              <a:spLocks noChangeArrowheads="1"/>
            </p:cNvSpPr>
            <p:nvPr/>
          </p:nvSpPr>
          <p:spPr bwMode="auto">
            <a:xfrm>
              <a:off x="7754493" y="285750"/>
              <a:ext cx="986282" cy="23730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8" name="AutoShape 31"/>
            <p:cNvCxnSpPr>
              <a:cxnSpLocks noChangeShapeType="1"/>
              <a:stCxn id="37" idx="2"/>
              <a:endCxn id="37" idx="4"/>
            </p:cNvCxnSpPr>
            <p:nvPr/>
          </p:nvCxnSpPr>
          <p:spPr bwMode="auto">
            <a:xfrm>
              <a:off x="7754493" y="285750"/>
              <a:ext cx="0" cy="23730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AutoShape 32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7754493" y="523054"/>
              <a:ext cx="9862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2" name="LegendMoons" hidden="1"/>
          <p:cNvGrpSpPr/>
          <p:nvPr/>
        </p:nvGrpSpPr>
        <p:grpSpPr bwMode="auto">
          <a:xfrm>
            <a:off x="8277315" y="297022"/>
            <a:ext cx="702280" cy="1104851"/>
            <a:chOff x="6915362" y="2006068"/>
            <a:chExt cx="702280" cy="1104851"/>
          </a:xfrm>
        </p:grpSpPr>
        <p:sp>
          <p:nvSpPr>
            <p:cNvPr id="44" name="Legend1"/>
            <p:cNvSpPr>
              <a:spLocks noChangeArrowheads="1"/>
            </p:cNvSpPr>
            <p:nvPr userDrawn="1"/>
          </p:nvSpPr>
          <p:spPr bwMode="auto">
            <a:xfrm>
              <a:off x="7192045" y="2020564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49" name="MoonLegend1"/>
            <p:cNvGrpSpPr>
              <a:grpSpLocks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6915362" y="2006068"/>
              <a:ext cx="182880" cy="182880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5" name="Legend2"/>
            <p:cNvSpPr>
              <a:spLocks noChangeArrowheads="1"/>
            </p:cNvSpPr>
            <p:nvPr userDrawn="1"/>
          </p:nvSpPr>
          <p:spPr bwMode="auto">
            <a:xfrm>
              <a:off x="7192045" y="2251057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0" name="MoonLegend2"/>
            <p:cNvGrpSpPr>
              <a:grpSpLocks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6915362" y="2236561"/>
              <a:ext cx="182880" cy="182880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6" name="Legend3"/>
            <p:cNvSpPr>
              <a:spLocks noChangeArrowheads="1"/>
            </p:cNvSpPr>
            <p:nvPr userDrawn="1"/>
          </p:nvSpPr>
          <p:spPr bwMode="auto">
            <a:xfrm>
              <a:off x="7192045" y="2481550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1" name="MoonLegend3"/>
            <p:cNvGrpSpPr>
              <a:grpSpLocks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6915362" y="2467054"/>
              <a:ext cx="182880" cy="182880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7" name="Legend4"/>
            <p:cNvSpPr>
              <a:spLocks noChangeArrowheads="1"/>
            </p:cNvSpPr>
            <p:nvPr userDrawn="1"/>
          </p:nvSpPr>
          <p:spPr bwMode="auto">
            <a:xfrm>
              <a:off x="7192045" y="2712043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2" name="MoonLegend4"/>
            <p:cNvGrpSpPr>
              <a:grpSpLocks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6915362" y="2697547"/>
              <a:ext cx="182880" cy="182880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8" name="Legend5"/>
            <p:cNvSpPr>
              <a:spLocks noChangeArrowheads="1"/>
            </p:cNvSpPr>
            <p:nvPr userDrawn="1"/>
          </p:nvSpPr>
          <p:spPr bwMode="auto">
            <a:xfrm>
              <a:off x="7192045" y="2942535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3" name="MoonLegend5"/>
            <p:cNvGrpSpPr>
              <a:grpSpLocks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6915362" y="2928039"/>
              <a:ext cx="182880" cy="182880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</p:grpSp>
      <p:sp>
        <p:nvSpPr>
          <p:cNvPr id="11" name="McK 1. On-page tracker" hidden="1"/>
          <p:cNvSpPr>
            <a:spLocks noChangeArrowheads="1"/>
          </p:cNvSpPr>
          <p:nvPr/>
        </p:nvSpPr>
        <p:spPr bwMode="auto">
          <a:xfrm>
            <a:off x="166814" y="7915"/>
            <a:ext cx="872835" cy="219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214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67" name="TextBox 66"/>
          <p:cNvSpPr txBox="1">
            <a:spLocks/>
          </p:cNvSpPr>
          <p:nvPr/>
        </p:nvSpPr>
        <p:spPr bwMode="auto">
          <a:xfrm>
            <a:off x="8663149" y="4935545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 algn="r" defTabSz="913214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altLang="ja-JP" sz="700" smtClean="0">
                <a:solidFill>
                  <a:srgbClr val="676767"/>
                </a:solidFill>
                <a:latin typeface="Arial"/>
                <a:ea typeface="ＭＳ Ｐゴシック"/>
              </a:rPr>
              <a:pPr algn="r" defTabSz="91321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700" dirty="0">
              <a:solidFill>
                <a:srgbClr val="676767"/>
              </a:solidFill>
              <a:latin typeface="Arial"/>
              <a:ea typeface="ＭＳ Ｐゴシック"/>
            </a:endParaRPr>
          </a:p>
        </p:txBody>
      </p:sp>
      <p:grpSp>
        <p:nvGrpSpPr>
          <p:cNvPr id="3" name="McK Slide Elements" hidden="1"/>
          <p:cNvGrpSpPr/>
          <p:nvPr/>
        </p:nvGrpSpPr>
        <p:grpSpPr bwMode="auto">
          <a:xfrm>
            <a:off x="166814" y="4428739"/>
            <a:ext cx="8810379" cy="347102"/>
            <a:chOff x="166811" y="4241226"/>
            <a:chExt cx="8810379" cy="347101"/>
          </a:xfrm>
        </p:grpSpPr>
        <p:sp>
          <p:nvSpPr>
            <p:cNvPr id="68" name="McK 4. Footnote"/>
            <p:cNvSpPr txBox="1">
              <a:spLocks noChangeArrowheads="1"/>
            </p:cNvSpPr>
            <p:nvPr userDrawn="1"/>
          </p:nvSpPr>
          <p:spPr bwMode="auto">
            <a:xfrm>
              <a:off x="166811" y="4241226"/>
              <a:ext cx="8810379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676767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9" name="McK 5. Source"/>
            <p:cNvSpPr>
              <a:spLocks noChangeArrowheads="1"/>
            </p:cNvSpPr>
            <p:nvPr userDrawn="1"/>
          </p:nvSpPr>
          <p:spPr bwMode="auto">
            <a:xfrm>
              <a:off x="166811" y="4434486"/>
              <a:ext cx="8810379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269" indent="-469269" defTabSz="894184" fontAlgn="base">
                <a:spcBef>
                  <a:spcPct val="0"/>
                </a:spcBef>
                <a:spcAft>
                  <a:spcPct val="0"/>
                </a:spcAft>
                <a:tabLst>
                  <a:tab pos="474032" algn="l"/>
                </a:tabLst>
              </a:pPr>
              <a:r>
                <a:rPr lang="en-US" sz="1000" dirty="0">
                  <a:solidFill>
                    <a:srgbClr val="676767"/>
                  </a:solidFill>
                </a:rPr>
                <a:t>Source: Source</a:t>
              </a:r>
            </a:p>
          </p:txBody>
        </p:sp>
      </p:grpSp>
      <p:pic>
        <p:nvPicPr>
          <p:cNvPr id="64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943" y="480189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Rectangle 4"/>
          <p:cNvSpPr>
            <a:spLocks noChangeArrowheads="1"/>
          </p:cNvSpPr>
          <p:nvPr/>
        </p:nvSpPr>
        <p:spPr bwMode="auto">
          <a:xfrm>
            <a:off x="5575731" y="4935546"/>
            <a:ext cx="2906245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09954">
              <a:defRPr/>
            </a:pPr>
            <a:r>
              <a:rPr lang="en-US" sz="700" dirty="0">
                <a:solidFill>
                  <a:srgbClr val="676767"/>
                </a:solidFill>
                <a:cs typeface="CiscoSans Thin"/>
              </a:rPr>
              <a:t>© 2015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32804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92" r:id="rId1"/>
    <p:sldLayoutId id="2147484994" r:id="rId2"/>
    <p:sldLayoutId id="2147484995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760494" rtl="0" eaLnBrk="1" fontAlgn="base" hangingPunct="1">
        <a:spcBef>
          <a:spcPct val="0"/>
        </a:spcBef>
        <a:spcAft>
          <a:spcPct val="0"/>
        </a:spcAft>
        <a:tabLst>
          <a:tab pos="303392" algn="l"/>
        </a:tabLst>
        <a:defRPr kumimoji="1" sz="2200" b="0" baseline="0">
          <a:solidFill>
            <a:schemeClr val="tx1"/>
          </a:solidFill>
          <a:latin typeface="+mj-lt"/>
          <a:ea typeface="+mj-ea"/>
          <a:cs typeface="Arial" pitchFamily="34" charset="0"/>
        </a:defRPr>
      </a:lvl1pPr>
      <a:lvl2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2pPr>
      <a:lvl3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3pPr>
      <a:lvl4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4pPr>
      <a:lvl5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5pPr>
      <a:lvl6pPr marL="388373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6pPr>
      <a:lvl7pPr marL="776671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7pPr>
      <a:lvl8pPr marL="1165018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8pPr>
      <a:lvl9pPr marL="1553340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164510" indent="-163160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388373" indent="-222464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21831" indent="-132159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▫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6pPr>
      <a:lvl7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7pPr>
      <a:lvl8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8pPr>
      <a:lvl9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9pPr>
    </p:bodyStyle>
    <p:otherStyle>
      <a:defPPr>
        <a:defRPr lang="en-US"/>
      </a:defPPr>
      <a:lvl1pPr marL="0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8373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6671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5018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3340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1713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0037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18358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06682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100584" y="192030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0" tIns="45700" rIns="91400" bIns="457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3562" y="4935229"/>
            <a:ext cx="220560" cy="15449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68" tIns="30783" rIns="61568" bIns="30783" anchor="b">
            <a:spAutoFit/>
          </a:bodyPr>
          <a:lstStyle/>
          <a:p>
            <a:pPr algn="r" defTabSz="610592"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pPr algn="r" defTabSz="610592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9" y="4933950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68" tIns="30783" rIns="61568" bIns="30783" anchor="b">
            <a:spAutoFit/>
          </a:bodyPr>
          <a:lstStyle/>
          <a:p>
            <a:pPr defTabSz="610592">
              <a:defRPr/>
            </a:pPr>
            <a:r>
              <a:rPr lang="en-US" sz="600" dirty="0">
                <a:solidFill>
                  <a:srgbClr val="FFFFFF">
                    <a:lumMod val="65000"/>
                  </a:srgbClr>
                </a:solidFill>
                <a:ea typeface="ＭＳ Ｐゴシック" charset="0"/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lumMod val="65000"/>
                  </a:srgbClr>
                </a:solidFill>
                <a:ea typeface="ＭＳ Ｐゴシック" charset="0"/>
                <a:cs typeface="CiscoSans Thin"/>
              </a:rPr>
              <a:t>2016  </a:t>
            </a:r>
            <a:r>
              <a:rPr lang="en-US" sz="600" dirty="0">
                <a:solidFill>
                  <a:srgbClr val="FFFFFF">
                    <a:lumMod val="65000"/>
                  </a:srgbClr>
                </a:solidFill>
                <a:ea typeface="ＭＳ Ｐゴシック" charset="0"/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4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6" y="4818070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6064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97" r:id="rId1"/>
    <p:sldLayoutId id="2147484998" r:id="rId2"/>
    <p:sldLayoutId id="2147484999" r:id="rId3"/>
    <p:sldLayoutId id="2147485000" r:id="rId4"/>
    <p:sldLayoutId id="2147485001" r:id="rId5"/>
    <p:sldLayoutId id="2147485002" r:id="rId6"/>
    <p:sldLayoutId id="2147485003" r:id="rId7"/>
    <p:sldLayoutId id="2147485004" r:id="rId8"/>
    <p:sldLayoutId id="2147485005" r:id="rId9"/>
    <p:sldLayoutId id="2147485006" r:id="rId10"/>
    <p:sldLayoutId id="2147485007" r:id="rId11"/>
    <p:sldLayoutId id="2147485008" r:id="rId12"/>
    <p:sldLayoutId id="2147485009" r:id="rId13"/>
    <p:sldLayoutId id="2147485010" r:id="rId14"/>
    <p:sldLayoutId id="2147485011" r:id="rId15"/>
    <p:sldLayoutId id="2147485012" r:id="rId16"/>
    <p:sldLayoutId id="2147485013" r:id="rId17"/>
    <p:sldLayoutId id="2147485014" r:id="rId18"/>
    <p:sldLayoutId id="2147485015" r:id="rId19"/>
    <p:sldLayoutId id="2147485016" r:id="rId20"/>
    <p:sldLayoutId id="2147485017" r:id="rId21"/>
    <p:sldLayoutId id="2147485018" r:id="rId22"/>
    <p:sldLayoutId id="2147485019" r:id="rId23"/>
    <p:sldLayoutId id="2147485020" r:id="rId24"/>
    <p:sldLayoutId id="2147485021" r:id="rId25"/>
    <p:sldLayoutId id="2147485022" r:id="rId26"/>
    <p:sldLayoutId id="2147485023" r:id="rId27"/>
    <p:sldLayoutId id="2147485024" r:id="rId28"/>
    <p:sldLayoutId id="2147485025" r:id="rId29"/>
    <p:sldLayoutId id="2147485026" r:id="rId30"/>
    <p:sldLayoutId id="2147485027" r:id="rId31"/>
    <p:sldLayoutId id="2147485028" r:id="rId32"/>
    <p:sldLayoutId id="2147485029" r:id="rId33"/>
    <p:sldLayoutId id="2147485030" r:id="rId34"/>
    <p:sldLayoutId id="2147485031" r:id="rId35"/>
    <p:sldLayoutId id="2147485032" r:id="rId36"/>
    <p:sldLayoutId id="2147485033" r:id="rId37"/>
    <p:sldLayoutId id="2147485034" r:id="rId38"/>
    <p:sldLayoutId id="2147485035" r:id="rId39"/>
    <p:sldLayoutId id="2147485036" r:id="rId40"/>
    <p:sldLayoutId id="2147485037" r:id="rId41"/>
    <p:sldLayoutId id="2147485038" r:id="rId42"/>
    <p:sldLayoutId id="2147485039" r:id="rId43"/>
    <p:sldLayoutId id="2147485040" r:id="rId44"/>
    <p:sldLayoutId id="2147485041" r:id="rId45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404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7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404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04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04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04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086" algn="l" defTabSz="68404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172" algn="l" defTabSz="68404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258" algn="l" defTabSz="68404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344" algn="l" defTabSz="68404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21" indent="-169821" algn="l" defTabSz="684042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685" indent="-215846" algn="l" defTabSz="684042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692" indent="-169821" algn="l" defTabSz="684042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112" indent="-169821" algn="l" defTabSz="684042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531" indent="-169821" algn="l" defTabSz="684042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640" indent="-171403" algn="l" defTabSz="685606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610" indent="-171380" algn="l" defTabSz="685606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399620" indent="0" algn="l" defTabSz="685606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824" indent="-171403" algn="l" defTabSz="68560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0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96" algn="l" defTabSz="68560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06" algn="l" defTabSz="68560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07" algn="l" defTabSz="68560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13" algn="l" defTabSz="68560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09" algn="l" defTabSz="68560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17" algn="l" defTabSz="68560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20" algn="l" defTabSz="68560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26" algn="l" defTabSz="68560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EN_MS_Logo_Project1aaa_2_20% copy copy.png"/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0880" y="158234"/>
            <a:ext cx="793053" cy="715950"/>
          </a:xfrm>
          <a:prstGeom prst="rect">
            <a:avLst/>
          </a:prstGeom>
        </p:spPr>
      </p:pic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100584" y="19203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46" tIns="36574" rIns="121846" bIns="3657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222" y="4935231"/>
            <a:ext cx="218900" cy="1544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58" tIns="30777" rIns="61558" bIns="30777" anchor="b">
            <a:spAutoFit/>
          </a:bodyPr>
          <a:lstStyle/>
          <a:p>
            <a:pPr algn="r" defTabSz="610485"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pPr algn="r" defTabSz="610485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9" y="4933977"/>
            <a:ext cx="2658018" cy="1544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58" tIns="30777" rIns="61558" bIns="30777" anchor="b">
            <a:spAutoFit/>
          </a:bodyPr>
          <a:lstStyle/>
          <a:p>
            <a:pPr defTabSz="610485">
              <a:defRPr/>
            </a:pPr>
            <a:r>
              <a:rPr lang="en-US" sz="600" dirty="0">
                <a:solidFill>
                  <a:srgbClr val="FFFFFF">
                    <a:lumMod val="65000"/>
                  </a:srgbClr>
                </a:solidFill>
                <a:ea typeface="ＭＳ Ｐゴシック" charset="0"/>
                <a:cs typeface="CiscoSans Thin"/>
              </a:rPr>
              <a:t>© </a:t>
            </a:r>
            <a:r>
              <a:rPr lang="en-US" sz="600" dirty="0" smtClean="0">
                <a:solidFill>
                  <a:srgbClr val="FFFFFF">
                    <a:lumMod val="65000"/>
                  </a:srgbClr>
                </a:solidFill>
                <a:ea typeface="ＭＳ Ｐゴシック" charset="0"/>
                <a:cs typeface="CiscoSans Thin"/>
              </a:rPr>
              <a:t>2016  </a:t>
            </a:r>
            <a:r>
              <a:rPr lang="en-US" sz="600" dirty="0">
                <a:solidFill>
                  <a:srgbClr val="FFFFFF">
                    <a:lumMod val="65000"/>
                  </a:srgbClr>
                </a:solidFill>
                <a:ea typeface="ＭＳ Ｐゴシック" charset="0"/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6" y="4818070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3984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43" r:id="rId1"/>
    <p:sldLayoutId id="2147485044" r:id="rId2"/>
    <p:sldLayoutId id="2147485045" r:id="rId3"/>
    <p:sldLayoutId id="2147485046" r:id="rId4"/>
    <p:sldLayoutId id="2147485047" r:id="rId5"/>
    <p:sldLayoutId id="2147485048" r:id="rId6"/>
    <p:sldLayoutId id="2147485049" r:id="rId7"/>
    <p:sldLayoutId id="2147485050" r:id="rId8"/>
    <p:sldLayoutId id="2147485051" r:id="rId9"/>
    <p:sldLayoutId id="2147485052" r:id="rId10"/>
    <p:sldLayoutId id="2147485053" r:id="rId11"/>
    <p:sldLayoutId id="2147485054" r:id="rId12"/>
    <p:sldLayoutId id="2147485055" r:id="rId13"/>
    <p:sldLayoutId id="2147485056" r:id="rId14"/>
    <p:sldLayoutId id="2147485057" r:id="rId15"/>
    <p:sldLayoutId id="2147485058" r:id="rId16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392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7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392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392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392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392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006" algn="l" defTabSz="68392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012" algn="l" defTabSz="68392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018" algn="l" defTabSz="68392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024" algn="l" defTabSz="683922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792" indent="-169792" algn="l" defTabSz="683922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622" indent="-215808" algn="l" defTabSz="683922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617" indent="-169792" algn="l" defTabSz="683922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024" indent="-169792" algn="l" defTabSz="683922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430" indent="-169792" algn="l" defTabSz="683922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489" indent="-171373" algn="l" defTabSz="685486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447" indent="-171350" algn="l" defTabSz="685486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399200" indent="0" algn="l" defTabSz="685486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315" indent="-171373" algn="l" defTabSz="68548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8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36" algn="l" defTabSz="68548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86" algn="l" defTabSz="68548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227" algn="l" defTabSz="68548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973" algn="l" defTabSz="68548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709" algn="l" defTabSz="68548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457" algn="l" defTabSz="68548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200" algn="l" defTabSz="68548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946" algn="l" defTabSz="68548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2" tIns="45681" rIns="91362" bIns="4568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3531" y="4742917"/>
            <a:ext cx="220590" cy="154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40" tIns="30791" rIns="61540" bIns="30791" anchor="b">
            <a:spAutoFit/>
          </a:bodyPr>
          <a:lstStyle/>
          <a:p>
            <a:pPr algn="r" defTabSz="610284"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pPr algn="r" defTabSz="61028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ea typeface="ＭＳ Ｐゴシック" charset="0"/>
              <a:cs typeface="CiscoSans Thin"/>
            </a:endParaRP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8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8837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3" r:id="rId1"/>
    <p:sldLayoutId id="2147484574" r:id="rId2"/>
    <p:sldLayoutId id="2147484575" r:id="rId3"/>
    <p:sldLayoutId id="2147484576" r:id="rId4"/>
    <p:sldLayoutId id="2147484577" r:id="rId5"/>
    <p:sldLayoutId id="2147484578" r:id="rId6"/>
    <p:sldLayoutId id="2147484579" r:id="rId7"/>
    <p:sldLayoutId id="2147484580" r:id="rId8"/>
    <p:sldLayoutId id="2147484581" r:id="rId9"/>
    <p:sldLayoutId id="2147484582" r:id="rId10"/>
    <p:sldLayoutId id="2147484583" r:id="rId11"/>
    <p:sldLayoutId id="2147484584" r:id="rId12"/>
    <p:sldLayoutId id="2147484585" r:id="rId13"/>
    <p:sldLayoutId id="2147484586" r:id="rId14"/>
    <p:sldLayoutId id="2147484587" r:id="rId15"/>
    <p:sldLayoutId id="2147484588" r:id="rId16"/>
    <p:sldLayoutId id="2147484589" r:id="rId17"/>
    <p:sldLayoutId id="2147484590" r:id="rId18"/>
    <p:sldLayoutId id="2147484591" r:id="rId19"/>
    <p:sldLayoutId id="2147484592" r:id="rId20"/>
    <p:sldLayoutId id="2147484593" r:id="rId21"/>
    <p:sldLayoutId id="2147484594" r:id="rId22"/>
    <p:sldLayoutId id="2147484595" r:id="rId23"/>
    <p:sldLayoutId id="2147484596" r:id="rId24"/>
    <p:sldLayoutId id="2147484597" r:id="rId25"/>
    <p:sldLayoutId id="2147484598" r:id="rId26"/>
    <p:sldLayoutId id="2147484599" r:id="rId27"/>
    <p:sldLayoutId id="2147484600" r:id="rId28"/>
    <p:sldLayoutId id="2147484601" r:id="rId29"/>
    <p:sldLayoutId id="2147484602" r:id="rId30"/>
    <p:sldLayoutId id="2147484603" r:id="rId31"/>
    <p:sldLayoutId id="2147484604" r:id="rId32"/>
    <p:sldLayoutId id="2147484605" r:id="rId33"/>
    <p:sldLayoutId id="2147484606" r:id="rId34"/>
    <p:sldLayoutId id="2147484607" r:id="rId35"/>
    <p:sldLayoutId id="2147484608" r:id="rId36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369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369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369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369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369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6833" algn="l" defTabSz="68369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3709" algn="l" defTabSz="68369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0557" algn="l" defTabSz="68369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7419" algn="l" defTabSz="68369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740" indent="-169740" algn="l" defTabSz="683691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499" indent="-215717" algn="l" defTabSz="683691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477" indent="-169740" algn="l" defTabSz="683691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2868" indent="-169740" algn="l" defTabSz="683691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245" indent="-169740" algn="l" defTabSz="683691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210" indent="-171322" algn="l" defTabSz="685255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111" indent="-171299" algn="l" defTabSz="685255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398380" indent="0" algn="l" defTabSz="685255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2342" indent="-171322" algn="l" defTabSz="685255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25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611" algn="l" defTabSz="68525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255" algn="l" defTabSz="68525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883" algn="l" defTabSz="68525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512" algn="l" defTabSz="68525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149" algn="l" defTabSz="68525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5767" algn="l" defTabSz="68525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8380" algn="l" defTabSz="68525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0997" algn="l" defTabSz="685255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0" y="25"/>
            <a:ext cx="161984" cy="121481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6" y="1989514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ext styles</a:t>
            </a:r>
          </a:p>
          <a:p>
            <a:pPr lvl="1"/>
            <a:r>
              <a:rPr lang="en-US" altLang="ja-JP" noProof="0" smtClean="0"/>
              <a:t>Second level</a:t>
            </a:r>
          </a:p>
          <a:p>
            <a:pPr lvl="2"/>
            <a:r>
              <a:rPr lang="en-US" altLang="ja-JP" noProof="0" smtClean="0"/>
              <a:t>Third level</a:t>
            </a:r>
          </a:p>
          <a:p>
            <a:pPr lvl="3"/>
            <a:r>
              <a:rPr lang="en-US" altLang="ja-JP" noProof="0" smtClean="0"/>
              <a:t>Fourth level</a:t>
            </a:r>
          </a:p>
          <a:p>
            <a:pPr lvl="4"/>
            <a:r>
              <a:rPr lang="en-US" altLang="ja-JP" noProof="0" smtClean="0"/>
              <a:t>Fifth level</a:t>
            </a:r>
            <a:endParaRPr lang="en-US" altLang="ja-JP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  <p:sp>
        <p:nvSpPr>
          <p:cNvPr id="12" name="McK 3. Unit of measure" hidden="1"/>
          <p:cNvSpPr txBox="1">
            <a:spLocks noChangeArrowheads="1"/>
          </p:cNvSpPr>
          <p:nvPr/>
        </p:nvSpPr>
        <p:spPr bwMode="auto">
          <a:xfrm>
            <a:off x="166814" y="567123"/>
            <a:ext cx="8810379" cy="246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600" dirty="0" smtClean="0">
                <a:solidFill>
                  <a:srgbClr val="808080"/>
                </a:solidFill>
                <a:latin typeface="Arial"/>
                <a:cs typeface="Arial" pitchFamily="34" charset="0"/>
              </a:rPr>
              <a:t>Unit of measure</a:t>
            </a:r>
          </a:p>
        </p:txBody>
      </p: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2377116" y="1435560"/>
            <a:ext cx="4389768" cy="506574"/>
            <a:chOff x="915" y="613"/>
            <a:chExt cx="2686" cy="417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b="1" dirty="0">
                  <a:solidFill>
                    <a:srgbClr val="676767"/>
                  </a:solidFill>
                  <a:cs typeface="Arial" pitchFamily="34" charset="0"/>
                </a:rPr>
                <a:t>Title</a:t>
              </a:r>
            </a:p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dirty="0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grpSp>
        <p:nvGrpSpPr>
          <p:cNvPr id="66" name="LegendBoxes" hidden="1"/>
          <p:cNvGrpSpPr/>
          <p:nvPr/>
        </p:nvGrpSpPr>
        <p:grpSpPr bwMode="auto">
          <a:xfrm>
            <a:off x="8323524" y="297015"/>
            <a:ext cx="656070" cy="874313"/>
            <a:chOff x="8336837" y="2006068"/>
            <a:chExt cx="656070" cy="874312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auto">
            <a:xfrm>
              <a:off x="8567310" y="2006068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2" name="LegendRectangle1"/>
            <p:cNvSpPr>
              <a:spLocks noChangeArrowheads="1"/>
            </p:cNvSpPr>
            <p:nvPr/>
          </p:nvSpPr>
          <p:spPr bwMode="auto">
            <a:xfrm>
              <a:off x="8336837" y="2006068"/>
              <a:ext cx="149807" cy="1463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3" name="Legend2"/>
            <p:cNvSpPr>
              <a:spLocks noChangeArrowheads="1"/>
            </p:cNvSpPr>
            <p:nvPr/>
          </p:nvSpPr>
          <p:spPr bwMode="auto">
            <a:xfrm>
              <a:off x="8567310" y="2246225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4" name="LegendRectangle2"/>
            <p:cNvSpPr>
              <a:spLocks noChangeArrowheads="1"/>
            </p:cNvSpPr>
            <p:nvPr/>
          </p:nvSpPr>
          <p:spPr bwMode="auto">
            <a:xfrm>
              <a:off x="8336837" y="2246225"/>
              <a:ext cx="149807" cy="1463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auto">
            <a:xfrm>
              <a:off x="8567310" y="2486382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6" name="LegendRectangle3"/>
            <p:cNvSpPr>
              <a:spLocks noChangeArrowheads="1"/>
            </p:cNvSpPr>
            <p:nvPr/>
          </p:nvSpPr>
          <p:spPr bwMode="auto">
            <a:xfrm>
              <a:off x="8336837" y="2486382"/>
              <a:ext cx="149807" cy="146304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7" name="Legend4"/>
            <p:cNvSpPr>
              <a:spLocks noChangeArrowheads="1"/>
            </p:cNvSpPr>
            <p:nvPr/>
          </p:nvSpPr>
          <p:spPr bwMode="auto">
            <a:xfrm>
              <a:off x="8567310" y="2726539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8" name="LegendRectangle4"/>
            <p:cNvSpPr>
              <a:spLocks noChangeArrowheads="1"/>
            </p:cNvSpPr>
            <p:nvPr/>
          </p:nvSpPr>
          <p:spPr bwMode="auto">
            <a:xfrm>
              <a:off x="8336837" y="2726539"/>
              <a:ext cx="149807" cy="146304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</p:grpSp>
      <p:grpSp>
        <p:nvGrpSpPr>
          <p:cNvPr id="71" name="LegendLines" hidden="1"/>
          <p:cNvGrpSpPr/>
          <p:nvPr/>
        </p:nvGrpSpPr>
        <p:grpSpPr bwMode="auto">
          <a:xfrm>
            <a:off x="8044074" y="297001"/>
            <a:ext cx="935518" cy="614828"/>
            <a:chOff x="8057389" y="2020564"/>
            <a:chExt cx="935518" cy="614827"/>
          </a:xfrm>
        </p:grpSpPr>
        <p:sp>
          <p:nvSpPr>
            <p:cNvPr id="30" name="LineLegend1"/>
            <p:cNvSpPr>
              <a:spLocks noChangeShapeType="1"/>
            </p:cNvSpPr>
            <p:nvPr/>
          </p:nvSpPr>
          <p:spPr bwMode="auto">
            <a:xfrm>
              <a:off x="8057389" y="2097508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3" name="Legend1"/>
            <p:cNvSpPr>
              <a:spLocks noChangeArrowheads="1"/>
            </p:cNvSpPr>
            <p:nvPr/>
          </p:nvSpPr>
          <p:spPr bwMode="auto">
            <a:xfrm>
              <a:off x="8567310" y="2020564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31" name="LineLegend2"/>
            <p:cNvSpPr>
              <a:spLocks noChangeShapeType="1"/>
            </p:cNvSpPr>
            <p:nvPr/>
          </p:nvSpPr>
          <p:spPr bwMode="auto">
            <a:xfrm>
              <a:off x="8057389" y="2328001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4" name="Legend2"/>
            <p:cNvSpPr>
              <a:spLocks noChangeArrowheads="1"/>
            </p:cNvSpPr>
            <p:nvPr/>
          </p:nvSpPr>
          <p:spPr bwMode="auto">
            <a:xfrm>
              <a:off x="8567310" y="2251057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32" name="LineLegend3"/>
            <p:cNvSpPr>
              <a:spLocks noChangeShapeType="1"/>
            </p:cNvSpPr>
            <p:nvPr/>
          </p:nvSpPr>
          <p:spPr bwMode="auto">
            <a:xfrm>
              <a:off x="8057389" y="2558494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5" name="Legend3"/>
            <p:cNvSpPr>
              <a:spLocks noChangeArrowheads="1"/>
            </p:cNvSpPr>
            <p:nvPr/>
          </p:nvSpPr>
          <p:spPr bwMode="auto">
            <a:xfrm>
              <a:off x="8567310" y="2481550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</p:grpSp>
      <p:grpSp>
        <p:nvGrpSpPr>
          <p:cNvPr id="36" name="McKSticker" hidden="1"/>
          <p:cNvGrpSpPr/>
          <p:nvPr/>
        </p:nvGrpSpPr>
        <p:grpSpPr bwMode="auto">
          <a:xfrm>
            <a:off x="8082365" y="297001"/>
            <a:ext cx="894925" cy="181588"/>
            <a:chOff x="7754493" y="285750"/>
            <a:chExt cx="986282" cy="237304"/>
          </a:xfrm>
        </p:grpSpPr>
        <p:sp>
          <p:nvSpPr>
            <p:cNvPr id="37" name="StickerRectangle"/>
            <p:cNvSpPr>
              <a:spLocks noChangeArrowheads="1"/>
            </p:cNvSpPr>
            <p:nvPr/>
          </p:nvSpPr>
          <p:spPr bwMode="auto">
            <a:xfrm>
              <a:off x="7754493" y="285750"/>
              <a:ext cx="986282" cy="23730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8" name="AutoShape 31"/>
            <p:cNvCxnSpPr>
              <a:cxnSpLocks noChangeShapeType="1"/>
              <a:stCxn id="37" idx="2"/>
              <a:endCxn id="37" idx="4"/>
            </p:cNvCxnSpPr>
            <p:nvPr/>
          </p:nvCxnSpPr>
          <p:spPr bwMode="auto">
            <a:xfrm>
              <a:off x="7754493" y="285750"/>
              <a:ext cx="0" cy="23730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AutoShape 32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7754493" y="523054"/>
              <a:ext cx="9862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2" name="LegendMoons" hidden="1"/>
          <p:cNvGrpSpPr/>
          <p:nvPr/>
        </p:nvGrpSpPr>
        <p:grpSpPr bwMode="auto">
          <a:xfrm>
            <a:off x="8277315" y="297022"/>
            <a:ext cx="702280" cy="1104851"/>
            <a:chOff x="6915362" y="2006068"/>
            <a:chExt cx="702280" cy="1104851"/>
          </a:xfrm>
        </p:grpSpPr>
        <p:sp>
          <p:nvSpPr>
            <p:cNvPr id="44" name="Legend1"/>
            <p:cNvSpPr>
              <a:spLocks noChangeArrowheads="1"/>
            </p:cNvSpPr>
            <p:nvPr userDrawn="1"/>
          </p:nvSpPr>
          <p:spPr bwMode="auto">
            <a:xfrm>
              <a:off x="7192045" y="2020564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49" name="MoonLegend1"/>
            <p:cNvGrpSpPr>
              <a:grpSpLocks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6915362" y="2006068"/>
              <a:ext cx="182880" cy="182880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5" name="Legend2"/>
            <p:cNvSpPr>
              <a:spLocks noChangeArrowheads="1"/>
            </p:cNvSpPr>
            <p:nvPr userDrawn="1"/>
          </p:nvSpPr>
          <p:spPr bwMode="auto">
            <a:xfrm>
              <a:off x="7192045" y="2251057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0" name="MoonLegend2"/>
            <p:cNvGrpSpPr>
              <a:grpSpLocks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6915362" y="2236561"/>
              <a:ext cx="182880" cy="182880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6" name="Legend3"/>
            <p:cNvSpPr>
              <a:spLocks noChangeArrowheads="1"/>
            </p:cNvSpPr>
            <p:nvPr userDrawn="1"/>
          </p:nvSpPr>
          <p:spPr bwMode="auto">
            <a:xfrm>
              <a:off x="7192045" y="2481550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1" name="MoonLegend3"/>
            <p:cNvGrpSpPr>
              <a:grpSpLocks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6915362" y="2467054"/>
              <a:ext cx="182880" cy="182880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7" name="Legend4"/>
            <p:cNvSpPr>
              <a:spLocks noChangeArrowheads="1"/>
            </p:cNvSpPr>
            <p:nvPr userDrawn="1"/>
          </p:nvSpPr>
          <p:spPr bwMode="auto">
            <a:xfrm>
              <a:off x="7192045" y="2712043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2" name="MoonLegend4"/>
            <p:cNvGrpSpPr>
              <a:grpSpLocks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6915362" y="2697547"/>
              <a:ext cx="182880" cy="182880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8" name="Legend5"/>
            <p:cNvSpPr>
              <a:spLocks noChangeArrowheads="1"/>
            </p:cNvSpPr>
            <p:nvPr userDrawn="1"/>
          </p:nvSpPr>
          <p:spPr bwMode="auto">
            <a:xfrm>
              <a:off x="7192045" y="2942535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3" name="MoonLegend5"/>
            <p:cNvGrpSpPr>
              <a:grpSpLocks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6915362" y="2928039"/>
              <a:ext cx="182880" cy="182880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</p:grpSp>
      <p:sp>
        <p:nvSpPr>
          <p:cNvPr id="11" name="McK 1. On-page tracker" hidden="1"/>
          <p:cNvSpPr>
            <a:spLocks noChangeArrowheads="1"/>
          </p:cNvSpPr>
          <p:nvPr/>
        </p:nvSpPr>
        <p:spPr bwMode="auto">
          <a:xfrm>
            <a:off x="166814" y="7915"/>
            <a:ext cx="872835" cy="219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214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67" name="TextBox 66"/>
          <p:cNvSpPr txBox="1">
            <a:spLocks/>
          </p:cNvSpPr>
          <p:nvPr/>
        </p:nvSpPr>
        <p:spPr bwMode="auto">
          <a:xfrm>
            <a:off x="8663149" y="4935545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 algn="r" defTabSz="913214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altLang="ja-JP" sz="700" smtClean="0">
                <a:solidFill>
                  <a:srgbClr val="676767"/>
                </a:solidFill>
                <a:latin typeface="Arial"/>
                <a:ea typeface="ＭＳ Ｐゴシック"/>
              </a:rPr>
              <a:pPr algn="r" defTabSz="91321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700" dirty="0">
              <a:solidFill>
                <a:srgbClr val="676767"/>
              </a:solidFill>
              <a:latin typeface="Arial"/>
              <a:ea typeface="ＭＳ Ｐゴシック"/>
            </a:endParaRPr>
          </a:p>
        </p:txBody>
      </p:sp>
      <p:grpSp>
        <p:nvGrpSpPr>
          <p:cNvPr id="3" name="McK Slide Elements" hidden="1"/>
          <p:cNvGrpSpPr/>
          <p:nvPr/>
        </p:nvGrpSpPr>
        <p:grpSpPr bwMode="auto">
          <a:xfrm>
            <a:off x="166814" y="4428739"/>
            <a:ext cx="8810379" cy="347102"/>
            <a:chOff x="166811" y="4241226"/>
            <a:chExt cx="8810379" cy="347101"/>
          </a:xfrm>
        </p:grpSpPr>
        <p:sp>
          <p:nvSpPr>
            <p:cNvPr id="68" name="McK 4. Footnote"/>
            <p:cNvSpPr txBox="1">
              <a:spLocks noChangeArrowheads="1"/>
            </p:cNvSpPr>
            <p:nvPr userDrawn="1"/>
          </p:nvSpPr>
          <p:spPr bwMode="auto">
            <a:xfrm>
              <a:off x="166811" y="4241226"/>
              <a:ext cx="8810379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676767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9" name="McK 5. Source"/>
            <p:cNvSpPr>
              <a:spLocks noChangeArrowheads="1"/>
            </p:cNvSpPr>
            <p:nvPr userDrawn="1"/>
          </p:nvSpPr>
          <p:spPr bwMode="auto">
            <a:xfrm>
              <a:off x="166811" y="4434486"/>
              <a:ext cx="8810379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269" indent="-469269" defTabSz="894184" fontAlgn="base">
                <a:spcBef>
                  <a:spcPct val="0"/>
                </a:spcBef>
                <a:spcAft>
                  <a:spcPct val="0"/>
                </a:spcAft>
                <a:tabLst>
                  <a:tab pos="474032" algn="l"/>
                </a:tabLst>
              </a:pPr>
              <a:r>
                <a:rPr lang="en-US" sz="1000" dirty="0">
                  <a:solidFill>
                    <a:srgbClr val="676767"/>
                  </a:solidFill>
                </a:rPr>
                <a:t>Source: Source</a:t>
              </a:r>
            </a:p>
          </p:txBody>
        </p:sp>
      </p:grpSp>
      <p:pic>
        <p:nvPicPr>
          <p:cNvPr id="64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943" y="480189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Rectangle 4"/>
          <p:cNvSpPr>
            <a:spLocks noChangeArrowheads="1"/>
          </p:cNvSpPr>
          <p:nvPr/>
        </p:nvSpPr>
        <p:spPr bwMode="auto">
          <a:xfrm>
            <a:off x="5575731" y="4935546"/>
            <a:ext cx="2906245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09954">
              <a:defRPr/>
            </a:pPr>
            <a:r>
              <a:rPr lang="en-US" sz="700" dirty="0">
                <a:solidFill>
                  <a:srgbClr val="676767"/>
                </a:solidFill>
                <a:cs typeface="CiscoSans Thin"/>
              </a:rPr>
              <a:t>© 2015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54563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60" r:id="rId1"/>
    <p:sldLayoutId id="2147485062" r:id="rId2"/>
    <p:sldLayoutId id="2147485063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760494" rtl="0" eaLnBrk="1" fontAlgn="base" hangingPunct="1">
        <a:spcBef>
          <a:spcPct val="0"/>
        </a:spcBef>
        <a:spcAft>
          <a:spcPct val="0"/>
        </a:spcAft>
        <a:tabLst>
          <a:tab pos="303392" algn="l"/>
        </a:tabLst>
        <a:defRPr kumimoji="1" sz="2200" b="0" baseline="0">
          <a:solidFill>
            <a:schemeClr val="tx1"/>
          </a:solidFill>
          <a:latin typeface="+mj-lt"/>
          <a:ea typeface="+mj-ea"/>
          <a:cs typeface="Arial" pitchFamily="34" charset="0"/>
        </a:defRPr>
      </a:lvl1pPr>
      <a:lvl2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2pPr>
      <a:lvl3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3pPr>
      <a:lvl4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4pPr>
      <a:lvl5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5pPr>
      <a:lvl6pPr marL="388373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6pPr>
      <a:lvl7pPr marL="776671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7pPr>
      <a:lvl8pPr marL="1165018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8pPr>
      <a:lvl9pPr marL="1553340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164510" indent="-163160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388373" indent="-222464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21831" indent="-132159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▫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6pPr>
      <a:lvl7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7pPr>
      <a:lvl8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8pPr>
      <a:lvl9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9pPr>
    </p:bodyStyle>
    <p:otherStyle>
      <a:defPPr>
        <a:defRPr lang="en-US"/>
      </a:defPPr>
      <a:lvl1pPr marL="0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8373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6671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5018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3340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1713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0037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18358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06682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0" y="2"/>
            <a:ext cx="161984" cy="121481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6" y="1989514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ext styles</a:t>
            </a:r>
          </a:p>
          <a:p>
            <a:pPr lvl="1"/>
            <a:r>
              <a:rPr lang="en-US" altLang="ja-JP" noProof="0" smtClean="0"/>
              <a:t>Second level</a:t>
            </a:r>
          </a:p>
          <a:p>
            <a:pPr lvl="2"/>
            <a:r>
              <a:rPr lang="en-US" altLang="ja-JP" noProof="0" smtClean="0"/>
              <a:t>Third level</a:t>
            </a:r>
          </a:p>
          <a:p>
            <a:pPr lvl="3"/>
            <a:r>
              <a:rPr lang="en-US" altLang="ja-JP" noProof="0" smtClean="0"/>
              <a:t>Fourth level</a:t>
            </a:r>
          </a:p>
          <a:p>
            <a:pPr lvl="4"/>
            <a:r>
              <a:rPr lang="en-US" altLang="ja-JP" noProof="0" smtClean="0"/>
              <a:t>Fifth level</a:t>
            </a:r>
            <a:endParaRPr lang="en-US" altLang="ja-JP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3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  <p:sp>
        <p:nvSpPr>
          <p:cNvPr id="12" name="McK 3. Unit of measure" hidden="1"/>
          <p:cNvSpPr txBox="1">
            <a:spLocks noChangeArrowheads="1"/>
          </p:cNvSpPr>
          <p:nvPr/>
        </p:nvSpPr>
        <p:spPr bwMode="auto">
          <a:xfrm>
            <a:off x="166813" y="567114"/>
            <a:ext cx="881037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600" dirty="0" smtClean="0">
                <a:solidFill>
                  <a:srgbClr val="808080"/>
                </a:solidFill>
                <a:latin typeface="Arial"/>
                <a:cs typeface="Arial" pitchFamily="34" charset="0"/>
              </a:rPr>
              <a:t>Unit of measure</a:t>
            </a:r>
          </a:p>
        </p:txBody>
      </p: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2377116" y="1430700"/>
            <a:ext cx="4389768" cy="511433"/>
            <a:chOff x="915" y="609"/>
            <a:chExt cx="2686" cy="421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33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b="1" dirty="0" smtClean="0">
                  <a:solidFill>
                    <a:srgbClr val="676767"/>
                  </a:solidFill>
                  <a:cs typeface="Arial" pitchFamily="34" charset="0"/>
                </a:rPr>
                <a:t>Title</a:t>
              </a:r>
            </a:p>
            <a:p>
              <a:pPr defTabSz="91433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dirty="0" smtClean="0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  <a:endParaRPr lang="en-US" altLang="ja-JP" sz="1600" dirty="0">
                <a:solidFill>
                  <a:srgbClr val="808080"/>
                </a:solidFill>
                <a:cs typeface="Arial" pitchFamily="34" charset="0"/>
              </a:endParaRPr>
            </a:p>
          </p:txBody>
        </p:sp>
      </p:grpSp>
      <p:grpSp>
        <p:nvGrpSpPr>
          <p:cNvPr id="66" name="LegendBoxes" hidden="1"/>
          <p:cNvGrpSpPr/>
          <p:nvPr/>
        </p:nvGrpSpPr>
        <p:grpSpPr bwMode="auto">
          <a:xfrm>
            <a:off x="8323526" y="296997"/>
            <a:ext cx="653666" cy="874360"/>
            <a:chOff x="8336837" y="2006068"/>
            <a:chExt cx="653666" cy="874359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auto">
            <a:xfrm>
              <a:off x="8567310" y="2006068"/>
              <a:ext cx="42319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44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 smtClean="0">
                  <a:solidFill>
                    <a:srgbClr val="676767"/>
                  </a:solidFill>
                </a:rPr>
                <a:t>Legend</a:t>
              </a: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2" name="LegendRectangle1"/>
            <p:cNvSpPr>
              <a:spLocks noChangeArrowheads="1"/>
            </p:cNvSpPr>
            <p:nvPr/>
          </p:nvSpPr>
          <p:spPr bwMode="auto">
            <a:xfrm>
              <a:off x="8336837" y="2006068"/>
              <a:ext cx="149807" cy="1463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39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3" name="Legend2"/>
            <p:cNvSpPr>
              <a:spLocks noChangeArrowheads="1"/>
            </p:cNvSpPr>
            <p:nvPr/>
          </p:nvSpPr>
          <p:spPr bwMode="auto">
            <a:xfrm>
              <a:off x="8567310" y="2246225"/>
              <a:ext cx="42319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44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 smtClean="0">
                  <a:solidFill>
                    <a:srgbClr val="676767"/>
                  </a:solidFill>
                </a:rPr>
                <a:t>Legend</a:t>
              </a: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4" name="LegendRectangle2"/>
            <p:cNvSpPr>
              <a:spLocks noChangeArrowheads="1"/>
            </p:cNvSpPr>
            <p:nvPr/>
          </p:nvSpPr>
          <p:spPr bwMode="auto">
            <a:xfrm>
              <a:off x="8336837" y="2246225"/>
              <a:ext cx="149807" cy="1463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39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auto">
            <a:xfrm>
              <a:off x="8567310" y="2486382"/>
              <a:ext cx="42319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44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 smtClean="0">
                  <a:solidFill>
                    <a:srgbClr val="676767"/>
                  </a:solidFill>
                </a:rPr>
                <a:t>Legend</a:t>
              </a: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6" name="LegendRectangle3"/>
            <p:cNvSpPr>
              <a:spLocks noChangeArrowheads="1"/>
            </p:cNvSpPr>
            <p:nvPr/>
          </p:nvSpPr>
          <p:spPr bwMode="auto">
            <a:xfrm>
              <a:off x="8336837" y="2486382"/>
              <a:ext cx="149807" cy="146304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39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7" name="Legend4"/>
            <p:cNvSpPr>
              <a:spLocks noChangeArrowheads="1"/>
            </p:cNvSpPr>
            <p:nvPr/>
          </p:nvSpPr>
          <p:spPr bwMode="auto">
            <a:xfrm>
              <a:off x="8567310" y="2726539"/>
              <a:ext cx="42319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44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 smtClean="0">
                  <a:solidFill>
                    <a:srgbClr val="676767"/>
                  </a:solidFill>
                </a:rPr>
                <a:t>Legend</a:t>
              </a: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8" name="LegendRectangle4"/>
            <p:cNvSpPr>
              <a:spLocks noChangeArrowheads="1"/>
            </p:cNvSpPr>
            <p:nvPr/>
          </p:nvSpPr>
          <p:spPr bwMode="auto">
            <a:xfrm>
              <a:off x="8336837" y="2726539"/>
              <a:ext cx="149807" cy="146304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39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</p:grpSp>
      <p:grpSp>
        <p:nvGrpSpPr>
          <p:cNvPr id="71" name="LegendLines" hidden="1"/>
          <p:cNvGrpSpPr/>
          <p:nvPr/>
        </p:nvGrpSpPr>
        <p:grpSpPr bwMode="auto">
          <a:xfrm>
            <a:off x="8044076" y="296998"/>
            <a:ext cx="933114" cy="614875"/>
            <a:chOff x="8057389" y="2020564"/>
            <a:chExt cx="933114" cy="614874"/>
          </a:xfrm>
        </p:grpSpPr>
        <p:sp>
          <p:nvSpPr>
            <p:cNvPr id="30" name="LineLegend1"/>
            <p:cNvSpPr>
              <a:spLocks noChangeShapeType="1"/>
            </p:cNvSpPr>
            <p:nvPr/>
          </p:nvSpPr>
          <p:spPr bwMode="auto">
            <a:xfrm>
              <a:off x="8057389" y="2097508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39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3" name="Legend1"/>
            <p:cNvSpPr>
              <a:spLocks noChangeArrowheads="1"/>
            </p:cNvSpPr>
            <p:nvPr/>
          </p:nvSpPr>
          <p:spPr bwMode="auto">
            <a:xfrm>
              <a:off x="8567310" y="2020564"/>
              <a:ext cx="42319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44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 smtClean="0">
                  <a:solidFill>
                    <a:srgbClr val="676767"/>
                  </a:solidFill>
                </a:rPr>
                <a:t>Legend</a:t>
              </a: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1" name="LineLegend2"/>
            <p:cNvSpPr>
              <a:spLocks noChangeShapeType="1"/>
            </p:cNvSpPr>
            <p:nvPr/>
          </p:nvSpPr>
          <p:spPr bwMode="auto">
            <a:xfrm>
              <a:off x="8057389" y="2328001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39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4" name="Legend2"/>
            <p:cNvSpPr>
              <a:spLocks noChangeArrowheads="1"/>
            </p:cNvSpPr>
            <p:nvPr/>
          </p:nvSpPr>
          <p:spPr bwMode="auto">
            <a:xfrm>
              <a:off x="8567310" y="2251057"/>
              <a:ext cx="42319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44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 smtClean="0">
                  <a:solidFill>
                    <a:srgbClr val="676767"/>
                  </a:solidFill>
                </a:rPr>
                <a:t>Legend</a:t>
              </a: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2" name="LineLegend3"/>
            <p:cNvSpPr>
              <a:spLocks noChangeShapeType="1"/>
            </p:cNvSpPr>
            <p:nvPr/>
          </p:nvSpPr>
          <p:spPr bwMode="auto">
            <a:xfrm>
              <a:off x="8057389" y="2558494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39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5" name="Legend3"/>
            <p:cNvSpPr>
              <a:spLocks noChangeArrowheads="1"/>
            </p:cNvSpPr>
            <p:nvPr/>
          </p:nvSpPr>
          <p:spPr bwMode="auto">
            <a:xfrm>
              <a:off x="8567310" y="2481550"/>
              <a:ext cx="42319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44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 smtClean="0">
                  <a:solidFill>
                    <a:srgbClr val="676767"/>
                  </a:solidFill>
                </a:rPr>
                <a:t>Legend</a:t>
              </a:r>
              <a:endParaRPr lang="en-US" altLang="ja-JP" sz="1000" dirty="0">
                <a:solidFill>
                  <a:srgbClr val="676767"/>
                </a:solidFill>
              </a:endParaRPr>
            </a:p>
          </p:txBody>
        </p:sp>
      </p:grpSp>
      <p:grpSp>
        <p:nvGrpSpPr>
          <p:cNvPr id="36" name="McKSticker" hidden="1"/>
          <p:cNvGrpSpPr/>
          <p:nvPr/>
        </p:nvGrpSpPr>
        <p:grpSpPr bwMode="auto">
          <a:xfrm>
            <a:off x="8082269" y="296998"/>
            <a:ext cx="894925" cy="181588"/>
            <a:chOff x="7754493" y="285750"/>
            <a:chExt cx="986282" cy="237299"/>
          </a:xfrm>
        </p:grpSpPr>
        <p:sp>
          <p:nvSpPr>
            <p:cNvPr id="37" name="StickerRectangle"/>
            <p:cNvSpPr>
              <a:spLocks noChangeArrowheads="1"/>
            </p:cNvSpPr>
            <p:nvPr/>
          </p:nvSpPr>
          <p:spPr bwMode="auto">
            <a:xfrm>
              <a:off x="7754493" y="285750"/>
              <a:ext cx="986282" cy="2372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6144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 smtClean="0">
                  <a:solidFill>
                    <a:srgbClr val="808080"/>
                  </a:solidFill>
                </a:rPr>
                <a:t>PRELIMINARY</a:t>
              </a:r>
              <a:endParaRPr lang="en-US" altLang="ja-JP" sz="1000" dirty="0">
                <a:solidFill>
                  <a:srgbClr val="808080"/>
                </a:solidFill>
              </a:endParaRPr>
            </a:p>
          </p:txBody>
        </p:sp>
        <p:cxnSp>
          <p:nvCxnSpPr>
            <p:cNvPr id="38" name="AutoShape 31"/>
            <p:cNvCxnSpPr>
              <a:cxnSpLocks noChangeShapeType="1"/>
              <a:stCxn id="37" idx="2"/>
              <a:endCxn id="37" idx="4"/>
            </p:cNvCxnSpPr>
            <p:nvPr/>
          </p:nvCxnSpPr>
          <p:spPr bwMode="auto">
            <a:xfrm>
              <a:off x="7754493" y="285750"/>
              <a:ext cx="0" cy="23729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AutoShape 32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7754493" y="523049"/>
              <a:ext cx="9862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2" name="LegendMoons" hidden="1"/>
          <p:cNvGrpSpPr/>
          <p:nvPr/>
        </p:nvGrpSpPr>
        <p:grpSpPr bwMode="auto">
          <a:xfrm>
            <a:off x="8277315" y="296996"/>
            <a:ext cx="699876" cy="1104851"/>
            <a:chOff x="6915362" y="2006068"/>
            <a:chExt cx="699876" cy="1104851"/>
          </a:xfrm>
        </p:grpSpPr>
        <p:sp>
          <p:nvSpPr>
            <p:cNvPr id="44" name="Legend1"/>
            <p:cNvSpPr>
              <a:spLocks noChangeArrowheads="1"/>
            </p:cNvSpPr>
            <p:nvPr userDrawn="1"/>
          </p:nvSpPr>
          <p:spPr bwMode="auto">
            <a:xfrm>
              <a:off x="7192045" y="2020564"/>
              <a:ext cx="42319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44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 smtClean="0">
                  <a:solidFill>
                    <a:srgbClr val="676767"/>
                  </a:solidFill>
                </a:rPr>
                <a:t>Legend</a:t>
              </a: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grpSp>
          <p:nvGrpSpPr>
            <p:cNvPr id="49" name="MoonLegend1"/>
            <p:cNvGrpSpPr>
              <a:grpSpLocks/>
            </p:cNvGrpSpPr>
            <p:nvPr userDrawn="1">
              <p:custDataLst>
                <p:tags r:id="rId3"/>
              </p:custDataLst>
            </p:nvPr>
          </p:nvGrpSpPr>
          <p:grpSpPr bwMode="auto">
            <a:xfrm>
              <a:off x="6915362" y="2006068"/>
              <a:ext cx="182880" cy="182880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33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33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5" name="Legend2"/>
            <p:cNvSpPr>
              <a:spLocks noChangeArrowheads="1"/>
            </p:cNvSpPr>
            <p:nvPr userDrawn="1"/>
          </p:nvSpPr>
          <p:spPr bwMode="auto">
            <a:xfrm>
              <a:off x="7192045" y="2251057"/>
              <a:ext cx="42319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44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 smtClean="0">
                  <a:solidFill>
                    <a:srgbClr val="676767"/>
                  </a:solidFill>
                </a:rPr>
                <a:t>Legend</a:t>
              </a: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grpSp>
          <p:nvGrpSpPr>
            <p:cNvPr id="50" name="MoonLegend2"/>
            <p:cNvGrpSpPr>
              <a:grpSpLocks/>
            </p:cNvGrpSpPr>
            <p:nvPr userDrawn="1">
              <p:custDataLst>
                <p:tags r:id="rId4"/>
              </p:custDataLst>
            </p:nvPr>
          </p:nvGrpSpPr>
          <p:grpSpPr bwMode="auto">
            <a:xfrm>
              <a:off x="6915362" y="2236561"/>
              <a:ext cx="182880" cy="182880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33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33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6" name="Legend3"/>
            <p:cNvSpPr>
              <a:spLocks noChangeArrowheads="1"/>
            </p:cNvSpPr>
            <p:nvPr userDrawn="1"/>
          </p:nvSpPr>
          <p:spPr bwMode="auto">
            <a:xfrm>
              <a:off x="7192045" y="2481550"/>
              <a:ext cx="42319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44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 smtClean="0">
                  <a:solidFill>
                    <a:srgbClr val="676767"/>
                  </a:solidFill>
                </a:rPr>
                <a:t>Legend</a:t>
              </a: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grpSp>
          <p:nvGrpSpPr>
            <p:cNvPr id="51" name="MoonLegend3"/>
            <p:cNvGrpSpPr>
              <a:grpSpLocks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6915362" y="2467054"/>
              <a:ext cx="182880" cy="182880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33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33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7" name="Legend4"/>
            <p:cNvSpPr>
              <a:spLocks noChangeArrowheads="1"/>
            </p:cNvSpPr>
            <p:nvPr userDrawn="1"/>
          </p:nvSpPr>
          <p:spPr bwMode="auto">
            <a:xfrm>
              <a:off x="7192045" y="2712043"/>
              <a:ext cx="42319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44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 smtClean="0">
                  <a:solidFill>
                    <a:srgbClr val="676767"/>
                  </a:solidFill>
                </a:rPr>
                <a:t>Legend</a:t>
              </a: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grpSp>
          <p:nvGrpSpPr>
            <p:cNvPr id="52" name="MoonLegend4"/>
            <p:cNvGrpSpPr>
              <a:grpSpLocks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6915362" y="2697547"/>
              <a:ext cx="182880" cy="182880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33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33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8" name="Legend5"/>
            <p:cNvSpPr>
              <a:spLocks noChangeArrowheads="1"/>
            </p:cNvSpPr>
            <p:nvPr userDrawn="1"/>
          </p:nvSpPr>
          <p:spPr bwMode="auto">
            <a:xfrm>
              <a:off x="7192045" y="2942535"/>
              <a:ext cx="423193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144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 smtClean="0">
                  <a:solidFill>
                    <a:srgbClr val="676767"/>
                  </a:solidFill>
                </a:rPr>
                <a:t>Legend</a:t>
              </a: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grpSp>
          <p:nvGrpSpPr>
            <p:cNvPr id="53" name="MoonLegend5"/>
            <p:cNvGrpSpPr>
              <a:grpSpLocks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6915362" y="2928039"/>
              <a:ext cx="182880" cy="182880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33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4339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</p:grpSp>
      <p:sp>
        <p:nvSpPr>
          <p:cNvPr id="11" name="McK 1. On-page tracker" hidden="1"/>
          <p:cNvSpPr>
            <a:spLocks noChangeArrowheads="1"/>
          </p:cNvSpPr>
          <p:nvPr/>
        </p:nvSpPr>
        <p:spPr bwMode="auto">
          <a:xfrm>
            <a:off x="166812" y="7913"/>
            <a:ext cx="85921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339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 smtClean="0">
                <a:solidFill>
                  <a:srgbClr val="808080"/>
                </a:solidFill>
                <a:cs typeface="Arial" pitchFamily="34" charset="0"/>
              </a:rPr>
              <a:t>TRACKER</a:t>
            </a:r>
            <a:endParaRPr lang="en-US" altLang="ja-JP" sz="1400" dirty="0">
              <a:solidFill>
                <a:srgbClr val="808080"/>
              </a:solidFill>
              <a:cs typeface="Arial" pitchFamily="34" charset="0"/>
            </a:endParaRPr>
          </a:p>
        </p:txBody>
      </p:sp>
      <p:sp>
        <p:nvSpPr>
          <p:cNvPr id="67" name="TextBox 66"/>
          <p:cNvSpPr txBox="1">
            <a:spLocks/>
          </p:cNvSpPr>
          <p:nvPr/>
        </p:nvSpPr>
        <p:spPr bwMode="auto">
          <a:xfrm>
            <a:off x="8663147" y="4935543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 algn="r" defTabSz="914339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altLang="ja-JP" sz="700" smtClean="0">
                <a:solidFill>
                  <a:srgbClr val="676767"/>
                </a:solidFill>
                <a:latin typeface="Arial"/>
                <a:ea typeface="ＭＳ Ｐゴシック"/>
              </a:rPr>
              <a:pPr algn="r" defTabSz="914339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700" dirty="0">
              <a:solidFill>
                <a:srgbClr val="676767"/>
              </a:solidFill>
              <a:latin typeface="Arial"/>
              <a:ea typeface="ＭＳ Ｐゴシック"/>
            </a:endParaRPr>
          </a:p>
        </p:txBody>
      </p:sp>
      <p:grpSp>
        <p:nvGrpSpPr>
          <p:cNvPr id="3" name="McK Slide Elements" hidden="1"/>
          <p:cNvGrpSpPr/>
          <p:nvPr/>
        </p:nvGrpSpPr>
        <p:grpSpPr bwMode="auto">
          <a:xfrm>
            <a:off x="166813" y="4428687"/>
            <a:ext cx="8810379" cy="347148"/>
            <a:chOff x="166811" y="4241179"/>
            <a:chExt cx="8810379" cy="347148"/>
          </a:xfrm>
        </p:grpSpPr>
        <p:sp>
          <p:nvSpPr>
            <p:cNvPr id="68" name="McK 4. Footnote"/>
            <p:cNvSpPr txBox="1">
              <a:spLocks noChangeArrowheads="1"/>
            </p:cNvSpPr>
            <p:nvPr userDrawn="1"/>
          </p:nvSpPr>
          <p:spPr bwMode="auto">
            <a:xfrm>
              <a:off x="166811" y="4241179"/>
              <a:ext cx="881037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676767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9" name="McK 5. Source"/>
            <p:cNvSpPr>
              <a:spLocks noChangeArrowheads="1"/>
            </p:cNvSpPr>
            <p:nvPr userDrawn="1"/>
          </p:nvSpPr>
          <p:spPr bwMode="auto">
            <a:xfrm>
              <a:off x="166811" y="4434439"/>
              <a:ext cx="8810379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869" indent="-469869" defTabSz="895291" fontAlgn="base">
                <a:spcBef>
                  <a:spcPct val="0"/>
                </a:spcBef>
                <a:spcAft>
                  <a:spcPct val="0"/>
                </a:spcAft>
                <a:tabLst>
                  <a:tab pos="474632" algn="l"/>
                </a:tabLst>
              </a:pPr>
              <a:r>
                <a:rPr lang="en-US" sz="1000" dirty="0" smtClean="0">
                  <a:solidFill>
                    <a:srgbClr val="676767"/>
                  </a:solidFill>
                </a:rPr>
                <a:t>Source: Source</a:t>
              </a:r>
              <a:endParaRPr lang="en-US" sz="1000" dirty="0">
                <a:solidFill>
                  <a:srgbClr val="676767"/>
                </a:solidFill>
              </a:endParaRPr>
            </a:p>
          </p:txBody>
        </p:sp>
      </p:grpSp>
      <p:pic>
        <p:nvPicPr>
          <p:cNvPr id="64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943" y="480189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Rectangle 4"/>
          <p:cNvSpPr>
            <a:spLocks noChangeArrowheads="1"/>
          </p:cNvSpPr>
          <p:nvPr/>
        </p:nvSpPr>
        <p:spPr bwMode="auto">
          <a:xfrm>
            <a:off x="5575680" y="4935543"/>
            <a:ext cx="2906245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04">
              <a:defRPr/>
            </a:pPr>
            <a:r>
              <a:rPr lang="en-US" sz="700" dirty="0">
                <a:solidFill>
                  <a:srgbClr val="676767"/>
                </a:solidFill>
                <a:cs typeface="CiscoSans Thin"/>
              </a:rPr>
              <a:t>© </a:t>
            </a:r>
            <a:r>
              <a:rPr lang="en-US" sz="700" dirty="0" smtClean="0">
                <a:solidFill>
                  <a:srgbClr val="676767"/>
                </a:solidFill>
                <a:cs typeface="CiscoSans Thin"/>
              </a:rPr>
              <a:t>2015  </a:t>
            </a:r>
            <a:r>
              <a:rPr lang="en-US" sz="700" dirty="0">
                <a:solidFill>
                  <a:srgbClr val="676767"/>
                </a:solidFill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85498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65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761444" rtl="0" eaLnBrk="1" fontAlgn="base" hangingPunct="1">
        <a:spcBef>
          <a:spcPct val="0"/>
        </a:spcBef>
        <a:spcAft>
          <a:spcPct val="0"/>
        </a:spcAft>
        <a:tabLst>
          <a:tab pos="303767" algn="l"/>
        </a:tabLst>
        <a:defRPr kumimoji="1" sz="2200" b="0" baseline="0">
          <a:solidFill>
            <a:schemeClr val="tx1"/>
          </a:solidFill>
          <a:latin typeface="+mj-lt"/>
          <a:ea typeface="+mj-ea"/>
          <a:cs typeface="Arial" pitchFamily="34" charset="0"/>
        </a:defRPr>
      </a:lvl1pPr>
      <a:lvl2pPr algn="l" defTabSz="76144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2pPr>
      <a:lvl3pPr algn="l" defTabSz="76144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3pPr>
      <a:lvl4pPr algn="l" defTabSz="76144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4pPr>
      <a:lvl5pPr algn="l" defTabSz="76144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5pPr>
      <a:lvl6pPr marL="388823" algn="l" defTabSz="76144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6pPr>
      <a:lvl7pPr marL="777646" algn="l" defTabSz="76144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7pPr>
      <a:lvl8pPr marL="1166468" algn="l" defTabSz="76144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8pPr>
      <a:lvl9pPr marL="1555290" algn="l" defTabSz="76144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76144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164710" indent="-163360" algn="l" defTabSz="7614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388823" indent="-222763" algn="l" defTabSz="7614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22481" indent="-132309" algn="l" defTabSz="7614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▫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637670" indent="-110708" algn="l" defTabSz="7614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637670" indent="-110708" algn="l" defTabSz="7614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6pPr>
      <a:lvl7pPr marL="637670" indent="-110708" algn="l" defTabSz="7614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7pPr>
      <a:lvl8pPr marL="637670" indent="-110708" algn="l" defTabSz="7614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8pPr>
      <a:lvl9pPr marL="637670" indent="-110708" algn="l" defTabSz="76144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9pPr>
    </p:bodyStyle>
    <p:otherStyle>
      <a:defPPr>
        <a:defRPr lang="en-US"/>
      </a:defPPr>
      <a:lvl1pPr marL="0" algn="l" defTabSz="777646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8823" algn="l" defTabSz="777646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7646" algn="l" defTabSz="777646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6468" algn="l" defTabSz="777646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5290" algn="l" defTabSz="777646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4113" algn="l" defTabSz="777646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2937" algn="l" defTabSz="777646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1758" algn="l" defTabSz="777646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0582" algn="l" defTabSz="777646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8150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6A1E46DC-7EF6-4EA2-B285-14272867D133}" type="slidenum">
              <a:rPr lang="en-US" sz="60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© 2016  Cisco and/or its affiliates. All rights reserved.   Cisco Confidential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3579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67" r:id="rId1"/>
    <p:sldLayoutId id="2147485068" r:id="rId2"/>
    <p:sldLayoutId id="2147485069" r:id="rId3"/>
    <p:sldLayoutId id="2147485070" r:id="rId4"/>
    <p:sldLayoutId id="2147485071" r:id="rId5"/>
    <p:sldLayoutId id="2147485072" r:id="rId6"/>
    <p:sldLayoutId id="2147485073" r:id="rId7"/>
    <p:sldLayoutId id="2147485074" r:id="rId8"/>
    <p:sldLayoutId id="2147485075" r:id="rId9"/>
  </p:sldLayoutIdLst>
  <p:transition spd="slow">
    <p:wipe/>
  </p:transition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chemeClr val="tx2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8150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6A1E46DC-7EF6-4EA2-B285-14272867D133}" type="slidenum">
              <a:rPr lang="en-US" sz="60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© 2016  Cisco and/or its affiliates. All rights reserved.   Cisco Confidential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69181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7" r:id="rId1"/>
    <p:sldLayoutId id="2147485078" r:id="rId2"/>
    <p:sldLayoutId id="2147485079" r:id="rId3"/>
    <p:sldLayoutId id="2147485080" r:id="rId4"/>
    <p:sldLayoutId id="2147485081" r:id="rId5"/>
    <p:sldLayoutId id="2147485082" r:id="rId6"/>
    <p:sldLayoutId id="2147485083" r:id="rId7"/>
    <p:sldLayoutId id="2147485084" r:id="rId8"/>
    <p:sldLayoutId id="2147485085" r:id="rId9"/>
  </p:sldLayoutIdLst>
  <p:transition spd="slow">
    <p:wipe/>
  </p:transition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chemeClr val="tx2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8150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6A1E46DC-7EF6-4EA2-B285-14272867D133}" type="slidenum">
              <a:rPr lang="en-US" sz="60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© 2016  Cisco and/or its affiliates. All rights reserved.   Cisco Confidential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95503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87" r:id="rId1"/>
    <p:sldLayoutId id="2147485088" r:id="rId2"/>
    <p:sldLayoutId id="2147485089" r:id="rId3"/>
    <p:sldLayoutId id="2147485090" r:id="rId4"/>
    <p:sldLayoutId id="2147485091" r:id="rId5"/>
    <p:sldLayoutId id="2147485092" r:id="rId6"/>
    <p:sldLayoutId id="2147485093" r:id="rId7"/>
    <p:sldLayoutId id="2147485094" r:id="rId8"/>
    <p:sldLayoutId id="2147485095" r:id="rId9"/>
  </p:sldLayoutIdLst>
  <p:transition spd="slow">
    <p:wipe/>
  </p:transition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chemeClr val="tx2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8150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6A1E46DC-7EF6-4EA2-B285-14272867D133}" type="slidenum">
              <a:rPr lang="en-US" sz="60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© 2016  Cisco and/or its affiliates. All rights reserved.   Cisco Confidential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2352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97" r:id="rId1"/>
    <p:sldLayoutId id="2147485098" r:id="rId2"/>
    <p:sldLayoutId id="2147485099" r:id="rId3"/>
    <p:sldLayoutId id="2147485100" r:id="rId4"/>
    <p:sldLayoutId id="2147485101" r:id="rId5"/>
    <p:sldLayoutId id="2147485102" r:id="rId6"/>
    <p:sldLayoutId id="2147485103" r:id="rId7"/>
    <p:sldLayoutId id="2147485104" r:id="rId8"/>
    <p:sldLayoutId id="2147485105" r:id="rId9"/>
  </p:sldLayoutIdLst>
  <p:transition spd="slow">
    <p:wipe/>
  </p:transition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chemeClr val="tx2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8150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6A1E46DC-7EF6-4EA2-B285-14272867D133}" type="slidenum">
              <a:rPr lang="en-US" sz="60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© 2016  Cisco and/or its affiliates. All rights reserved.   Cisco Confidential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91800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07" r:id="rId1"/>
    <p:sldLayoutId id="2147485108" r:id="rId2"/>
    <p:sldLayoutId id="2147485109" r:id="rId3"/>
    <p:sldLayoutId id="2147485110" r:id="rId4"/>
    <p:sldLayoutId id="2147485111" r:id="rId5"/>
    <p:sldLayoutId id="2147485112" r:id="rId6"/>
    <p:sldLayoutId id="2147485113" r:id="rId7"/>
    <p:sldLayoutId id="2147485114" r:id="rId8"/>
    <p:sldLayoutId id="2147485194" r:id="rId9"/>
    <p:sldLayoutId id="2147485397" r:id="rId10"/>
  </p:sldLayoutIdLst>
  <p:transition spd="slow">
    <p:wipe/>
  </p:transition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chemeClr val="tx2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8150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6A1E46DC-7EF6-4EA2-B285-14272867D133}" type="slidenum">
              <a:rPr lang="en-US" sz="60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© 2016  Cisco and/or its affiliates. All rights reserved.   Cisco Confidential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3668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7" r:id="rId1"/>
    <p:sldLayoutId id="2147485118" r:id="rId2"/>
    <p:sldLayoutId id="2147485119" r:id="rId3"/>
    <p:sldLayoutId id="2147485120" r:id="rId4"/>
    <p:sldLayoutId id="2147485121" r:id="rId5"/>
    <p:sldLayoutId id="2147485122" r:id="rId6"/>
    <p:sldLayoutId id="2147485123" r:id="rId7"/>
    <p:sldLayoutId id="2147485124" r:id="rId8"/>
    <p:sldLayoutId id="2147485125" r:id="rId9"/>
  </p:sldLayoutIdLst>
  <p:transition spd="slow">
    <p:wipe/>
  </p:transition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chemeClr val="tx2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8150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6A1E46DC-7EF6-4EA2-B285-14272867D133}" type="slidenum">
              <a:rPr lang="en-US" sz="600">
                <a:solidFill>
                  <a:srgbClr val="000000">
                    <a:alpha val="25000"/>
                  </a:srgbClr>
                </a:solidFill>
                <a:ea typeface="ＭＳ Ｐゴシック" pitchFamily="34" charset="-128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ea typeface="ＭＳ Ｐゴシック" pitchFamily="34" charset="-128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pitchFamily="34" charset="-128"/>
                <a:cs typeface="CiscoSans Thin"/>
              </a:rPr>
              <a:t>© </a:t>
            </a: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ea typeface="ＭＳ Ｐゴシック" pitchFamily="34" charset="-128"/>
                <a:cs typeface="CiscoSans Thin"/>
              </a:rPr>
              <a:t>2016  </a:t>
            </a: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pitchFamily="34" charset="-128"/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5488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7" r:id="rId1"/>
    <p:sldLayoutId id="2147485128" r:id="rId2"/>
    <p:sldLayoutId id="2147485129" r:id="rId3"/>
    <p:sldLayoutId id="2147485130" r:id="rId4"/>
    <p:sldLayoutId id="2147485131" r:id="rId5"/>
    <p:sldLayoutId id="2147485132" r:id="rId6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chemeClr val="tx2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5751" y="4697113"/>
            <a:ext cx="1466491" cy="257445"/>
          </a:xfrm>
          <a:prstGeom prst="rect">
            <a:avLst/>
          </a:prstGeom>
        </p:spPr>
      </p:pic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2806259" y="4736431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algn="ctr" defTabSz="61074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Arial"/>
                <a:ea typeface="ＭＳ Ｐゴシック" charset="0"/>
                <a:cs typeface="CiscoSans Thin"/>
              </a:rPr>
              <a:t>© </a:t>
            </a: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latin typeface="Arial"/>
                <a:ea typeface="ＭＳ Ｐゴシック" charset="0"/>
                <a:cs typeface="CiscoSans Thin"/>
              </a:rPr>
              <a:t>2015  </a:t>
            </a:r>
            <a:r>
              <a:rPr lang="en-US" sz="600" dirty="0">
                <a:solidFill>
                  <a:srgbClr val="000000">
                    <a:alpha val="25000"/>
                  </a:srgbClr>
                </a:solidFill>
                <a:latin typeface="Arial"/>
                <a:ea typeface="ＭＳ Ｐゴシック" charset="0"/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9659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34" r:id="rId1"/>
    <p:sldLayoutId id="2147485135" r:id="rId2"/>
    <p:sldLayoutId id="2147485136" r:id="rId3"/>
    <p:sldLayoutId id="2147485137" r:id="rId4"/>
    <p:sldLayoutId id="2147485138" r:id="rId5"/>
    <p:sldLayoutId id="2147485139" r:id="rId6"/>
    <p:sldLayoutId id="2147485140" r:id="rId7"/>
    <p:sldLayoutId id="2147485141" r:id="rId8"/>
    <p:sldLayoutId id="2147485142" r:id="rId9"/>
    <p:sldLayoutId id="2147485143" r:id="rId10"/>
    <p:sldLayoutId id="2147485144" r:id="rId11"/>
    <p:sldLayoutId id="2147485145" r:id="rId12"/>
    <p:sldLayoutId id="2147485146" r:id="rId13"/>
    <p:sldLayoutId id="2147485147" r:id="rId14"/>
    <p:sldLayoutId id="2147485148" r:id="rId15"/>
    <p:sldLayoutId id="2147485149" r:id="rId16"/>
    <p:sldLayoutId id="2147485150" r:id="rId17"/>
    <p:sldLayoutId id="2147485151" r:id="rId18"/>
    <p:sldLayoutId id="2147485152" r:id="rId19"/>
    <p:sldLayoutId id="2147485153" r:id="rId20"/>
    <p:sldLayoutId id="2147485154" r:id="rId21"/>
    <p:sldLayoutId id="2147485155" r:id="rId22"/>
    <p:sldLayoutId id="2147485156" r:id="rId23"/>
    <p:sldLayoutId id="2147485157" r:id="rId24"/>
    <p:sldLayoutId id="2147485158" r:id="rId25"/>
    <p:sldLayoutId id="2147485159" r:id="rId26"/>
    <p:sldLayoutId id="2147485160" r:id="rId27"/>
    <p:sldLayoutId id="2147485161" r:id="rId28"/>
    <p:sldLayoutId id="2147485162" r:id="rId29"/>
    <p:sldLayoutId id="2147485163" r:id="rId30"/>
    <p:sldLayoutId id="2147485164" r:id="rId31"/>
    <p:sldLayoutId id="2147485165" r:id="rId32"/>
    <p:sldLayoutId id="2147485166" r:id="rId33"/>
    <p:sldLayoutId id="2147485167" r:id="rId34"/>
    <p:sldLayoutId id="2147485168" r:id="rId35"/>
    <p:sldLayoutId id="2147485169" r:id="rId36"/>
    <p:sldLayoutId id="2147485170" r:id="rId37"/>
    <p:sldLayoutId id="2147485171" r:id="rId38"/>
    <p:sldLayoutId id="2147485173" r:id="rId39"/>
    <p:sldLayoutId id="2147485174" r:id="rId40"/>
    <p:sldLayoutId id="2147485175" r:id="rId41"/>
    <p:sldLayoutId id="2147485176" r:id="rId42"/>
    <p:sldLayoutId id="2147485177" r:id="rId43"/>
    <p:sldLayoutId id="2147485178" r:id="rId44"/>
    <p:sldLayoutId id="2147485179" r:id="rId45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1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4" tIns="45682" rIns="91364" bIns="4568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3531" y="4742917"/>
            <a:ext cx="220590" cy="1545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41" tIns="30791" rIns="61541" bIns="30791" anchor="b">
            <a:spAutoFit/>
          </a:bodyPr>
          <a:lstStyle/>
          <a:p>
            <a:pPr algn="r" defTabSz="610299"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pPr algn="r" defTabSz="610299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ea typeface="ＭＳ Ｐゴシック" charset="0"/>
              <a:cs typeface="CiscoSans Thin"/>
            </a:endParaRP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8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916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0" r:id="rId1"/>
    <p:sldLayoutId id="2147484611" r:id="rId2"/>
    <p:sldLayoutId id="2147484612" r:id="rId3"/>
    <p:sldLayoutId id="2147484613" r:id="rId4"/>
    <p:sldLayoutId id="2147484614" r:id="rId5"/>
    <p:sldLayoutId id="2147484615" r:id="rId6"/>
    <p:sldLayoutId id="2147484616" r:id="rId7"/>
    <p:sldLayoutId id="2147484617" r:id="rId8"/>
    <p:sldLayoutId id="2147484618" r:id="rId9"/>
    <p:sldLayoutId id="2147484619" r:id="rId10"/>
    <p:sldLayoutId id="2147484620" r:id="rId11"/>
    <p:sldLayoutId id="2147484621" r:id="rId12"/>
    <p:sldLayoutId id="2147484622" r:id="rId13"/>
    <p:sldLayoutId id="2147484623" r:id="rId14"/>
    <p:sldLayoutId id="2147484624" r:id="rId15"/>
    <p:sldLayoutId id="2147484625" r:id="rId16"/>
    <p:sldLayoutId id="2147484626" r:id="rId17"/>
    <p:sldLayoutId id="2147484627" r:id="rId18"/>
    <p:sldLayoutId id="2147484628" r:id="rId19"/>
    <p:sldLayoutId id="2147484629" r:id="rId20"/>
    <p:sldLayoutId id="2147484630" r:id="rId21"/>
    <p:sldLayoutId id="2147484631" r:id="rId22"/>
    <p:sldLayoutId id="2147484632" r:id="rId23"/>
    <p:sldLayoutId id="2147484633" r:id="rId24"/>
    <p:sldLayoutId id="2147484634" r:id="rId25"/>
    <p:sldLayoutId id="2147484635" r:id="rId26"/>
    <p:sldLayoutId id="2147484636" r:id="rId27"/>
    <p:sldLayoutId id="2147484637" r:id="rId28"/>
    <p:sldLayoutId id="2147484638" r:id="rId29"/>
    <p:sldLayoutId id="2147484639" r:id="rId30"/>
    <p:sldLayoutId id="2147484640" r:id="rId31"/>
    <p:sldLayoutId id="2147484641" r:id="rId32"/>
    <p:sldLayoutId id="2147484642" r:id="rId33"/>
    <p:sldLayoutId id="2147484643" r:id="rId34"/>
    <p:sldLayoutId id="2147484644" r:id="rId35"/>
    <p:sldLayoutId id="2147484645" r:id="rId36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3708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3708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3708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3708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3708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6845" algn="l" defTabSz="683708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3731" algn="l" defTabSz="683708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0591" algn="l" defTabSz="683708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7464" algn="l" defTabSz="683708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744" indent="-169744" algn="l" defTabSz="683708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508" indent="-215723" algn="l" defTabSz="683708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487" indent="-169744" algn="l" defTabSz="683708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2880" indent="-169744" algn="l" defTabSz="683708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259" indent="-169744" algn="l" defTabSz="683708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231" indent="-171326" algn="l" defTabSz="685272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135" indent="-171303" algn="l" defTabSz="685272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398440" indent="0" algn="l" defTabSz="685272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2414" indent="-171326" algn="l" defTabSz="68527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27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620" algn="l" defTabSz="68527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272" algn="l" defTabSz="68527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908" algn="l" defTabSz="68527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546" algn="l" defTabSz="68527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191" algn="l" defTabSz="68527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5818" algn="l" defTabSz="68527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8440" algn="l" defTabSz="68527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066" algn="l" defTabSz="685272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cs typeface="CiscoSans Thin"/>
              </a:rPr>
              <a:t>© </a:t>
            </a: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cs typeface="CiscoSans Thin"/>
              </a:rPr>
              <a:t>2015  </a:t>
            </a:r>
            <a:r>
              <a:rPr lang="en-US" sz="600" dirty="0">
                <a:solidFill>
                  <a:srgbClr val="000000">
                    <a:alpha val="25000"/>
                  </a:srgbClr>
                </a:solidFill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2197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7" r:id="rId1"/>
    <p:sldLayoutId id="2147485198" r:id="rId2"/>
    <p:sldLayoutId id="2147485199" r:id="rId3"/>
    <p:sldLayoutId id="2147485200" r:id="rId4"/>
    <p:sldLayoutId id="2147485201" r:id="rId5"/>
    <p:sldLayoutId id="2147485202" r:id="rId6"/>
    <p:sldLayoutId id="2147485203" r:id="rId7"/>
    <p:sldLayoutId id="2147485204" r:id="rId8"/>
    <p:sldLayoutId id="2147485205" r:id="rId9"/>
    <p:sldLayoutId id="2147485206" r:id="rId10"/>
    <p:sldLayoutId id="2147485207" r:id="rId11"/>
    <p:sldLayoutId id="2147485208" r:id="rId12"/>
    <p:sldLayoutId id="2147485209" r:id="rId13"/>
    <p:sldLayoutId id="2147485210" r:id="rId14"/>
    <p:sldLayoutId id="2147485211" r:id="rId15"/>
    <p:sldLayoutId id="2147485212" r:id="rId16"/>
    <p:sldLayoutId id="2147485213" r:id="rId17"/>
    <p:sldLayoutId id="2147485214" r:id="rId18"/>
    <p:sldLayoutId id="2147485215" r:id="rId19"/>
    <p:sldLayoutId id="2147485216" r:id="rId20"/>
    <p:sldLayoutId id="2147485217" r:id="rId21"/>
    <p:sldLayoutId id="2147485218" r:id="rId22"/>
    <p:sldLayoutId id="2147485219" r:id="rId23"/>
    <p:sldLayoutId id="2147485220" r:id="rId24"/>
    <p:sldLayoutId id="2147485221" r:id="rId25"/>
    <p:sldLayoutId id="2147485222" r:id="rId26"/>
    <p:sldLayoutId id="2147485223" r:id="rId27"/>
    <p:sldLayoutId id="2147485224" r:id="rId28"/>
    <p:sldLayoutId id="2147485225" r:id="rId29"/>
    <p:sldLayoutId id="2147485226" r:id="rId30"/>
    <p:sldLayoutId id="2147485227" r:id="rId31"/>
    <p:sldLayoutId id="2147485228" r:id="rId32"/>
    <p:sldLayoutId id="2147485229" r:id="rId33"/>
    <p:sldLayoutId id="2147485230" r:id="rId34"/>
    <p:sldLayoutId id="2147485231" r:id="rId35"/>
    <p:sldLayoutId id="2147485232" r:id="rId36"/>
    <p:sldLayoutId id="2147485233" r:id="rId37"/>
    <p:sldLayoutId id="2147485234" r:id="rId38"/>
    <p:sldLayoutId id="2147485235" r:id="rId39"/>
    <p:sldLayoutId id="2147485236" r:id="rId40"/>
    <p:sldLayoutId id="2147485237" r:id="rId41"/>
    <p:sldLayoutId id="2147485238" r:id="rId42"/>
    <p:sldLayoutId id="2147485239" r:id="rId43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cs typeface="CiscoSans Thin"/>
              </a:rPr>
              <a:t>© </a:t>
            </a: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cs typeface="CiscoSans Thin"/>
              </a:rPr>
              <a:t>2015  </a:t>
            </a:r>
            <a:r>
              <a:rPr lang="en-US" sz="600" dirty="0">
                <a:solidFill>
                  <a:srgbClr val="000000">
                    <a:alpha val="25000"/>
                  </a:srgbClr>
                </a:solidFill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7953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1" r:id="rId1"/>
    <p:sldLayoutId id="2147485242" r:id="rId2"/>
    <p:sldLayoutId id="2147485243" r:id="rId3"/>
    <p:sldLayoutId id="2147485244" r:id="rId4"/>
    <p:sldLayoutId id="2147485245" r:id="rId5"/>
    <p:sldLayoutId id="2147485246" r:id="rId6"/>
    <p:sldLayoutId id="2147485247" r:id="rId7"/>
    <p:sldLayoutId id="2147485248" r:id="rId8"/>
    <p:sldLayoutId id="2147485249" r:id="rId9"/>
    <p:sldLayoutId id="2147485250" r:id="rId10"/>
    <p:sldLayoutId id="2147485251" r:id="rId11"/>
    <p:sldLayoutId id="2147485252" r:id="rId12"/>
    <p:sldLayoutId id="2147485253" r:id="rId13"/>
    <p:sldLayoutId id="2147485254" r:id="rId14"/>
    <p:sldLayoutId id="2147485255" r:id="rId15"/>
    <p:sldLayoutId id="2147485256" r:id="rId16"/>
    <p:sldLayoutId id="2147485257" r:id="rId17"/>
    <p:sldLayoutId id="2147485258" r:id="rId18"/>
    <p:sldLayoutId id="2147485259" r:id="rId19"/>
    <p:sldLayoutId id="2147485260" r:id="rId20"/>
    <p:sldLayoutId id="2147485261" r:id="rId21"/>
    <p:sldLayoutId id="2147485262" r:id="rId22"/>
    <p:sldLayoutId id="2147485263" r:id="rId23"/>
    <p:sldLayoutId id="2147485264" r:id="rId24"/>
    <p:sldLayoutId id="2147485265" r:id="rId25"/>
    <p:sldLayoutId id="2147485266" r:id="rId26"/>
    <p:sldLayoutId id="2147485267" r:id="rId27"/>
    <p:sldLayoutId id="2147485268" r:id="rId28"/>
    <p:sldLayoutId id="2147485269" r:id="rId29"/>
    <p:sldLayoutId id="2147485270" r:id="rId30"/>
    <p:sldLayoutId id="2147485271" r:id="rId31"/>
    <p:sldLayoutId id="2147485272" r:id="rId32"/>
    <p:sldLayoutId id="2147485273" r:id="rId33"/>
    <p:sldLayoutId id="2147485274" r:id="rId34"/>
    <p:sldLayoutId id="2147485275" r:id="rId35"/>
    <p:sldLayoutId id="2147485276" r:id="rId36"/>
    <p:sldLayoutId id="2147485277" r:id="rId37"/>
    <p:sldLayoutId id="2147485278" r:id="rId38"/>
    <p:sldLayoutId id="2147485279" r:id="rId39"/>
    <p:sldLayoutId id="2147485280" r:id="rId40"/>
    <p:sldLayoutId id="2147485281" r:id="rId41"/>
    <p:sldLayoutId id="2147485282" r:id="rId42"/>
    <p:sldLayoutId id="2147485283" r:id="rId43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cs typeface="CiscoSans Thin"/>
              </a:rPr>
              <a:t>© </a:t>
            </a: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cs typeface="CiscoSans Thin"/>
              </a:rPr>
              <a:t>2015  </a:t>
            </a:r>
            <a:r>
              <a:rPr lang="en-US" sz="600" dirty="0">
                <a:solidFill>
                  <a:srgbClr val="000000">
                    <a:alpha val="25000"/>
                  </a:srgbClr>
                </a:solidFill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6868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85" r:id="rId1"/>
    <p:sldLayoutId id="2147485286" r:id="rId2"/>
    <p:sldLayoutId id="2147485287" r:id="rId3"/>
    <p:sldLayoutId id="2147485288" r:id="rId4"/>
    <p:sldLayoutId id="2147485289" r:id="rId5"/>
    <p:sldLayoutId id="2147485290" r:id="rId6"/>
    <p:sldLayoutId id="2147485291" r:id="rId7"/>
    <p:sldLayoutId id="2147485292" r:id="rId8"/>
    <p:sldLayoutId id="2147485293" r:id="rId9"/>
    <p:sldLayoutId id="2147485294" r:id="rId10"/>
    <p:sldLayoutId id="2147485295" r:id="rId11"/>
    <p:sldLayoutId id="2147485296" r:id="rId12"/>
    <p:sldLayoutId id="2147485297" r:id="rId13"/>
    <p:sldLayoutId id="2147485298" r:id="rId14"/>
    <p:sldLayoutId id="2147485299" r:id="rId15"/>
    <p:sldLayoutId id="2147485300" r:id="rId16"/>
    <p:sldLayoutId id="2147485301" r:id="rId17"/>
    <p:sldLayoutId id="2147485302" r:id="rId18"/>
    <p:sldLayoutId id="2147485303" r:id="rId19"/>
    <p:sldLayoutId id="2147485304" r:id="rId20"/>
    <p:sldLayoutId id="2147485305" r:id="rId21"/>
    <p:sldLayoutId id="2147485306" r:id="rId22"/>
    <p:sldLayoutId id="2147485307" r:id="rId23"/>
    <p:sldLayoutId id="2147485308" r:id="rId24"/>
    <p:sldLayoutId id="2147485309" r:id="rId25"/>
    <p:sldLayoutId id="2147485310" r:id="rId26"/>
    <p:sldLayoutId id="2147485311" r:id="rId27"/>
    <p:sldLayoutId id="2147485312" r:id="rId28"/>
    <p:sldLayoutId id="2147485313" r:id="rId29"/>
    <p:sldLayoutId id="2147485314" r:id="rId30"/>
    <p:sldLayoutId id="2147485315" r:id="rId31"/>
    <p:sldLayoutId id="2147485316" r:id="rId32"/>
    <p:sldLayoutId id="2147485317" r:id="rId33"/>
    <p:sldLayoutId id="2147485318" r:id="rId34"/>
    <p:sldLayoutId id="2147485319" r:id="rId35"/>
    <p:sldLayoutId id="2147485320" r:id="rId36"/>
    <p:sldLayoutId id="2147485321" r:id="rId37"/>
    <p:sldLayoutId id="2147485322" r:id="rId38"/>
    <p:sldLayoutId id="2147485323" r:id="rId39"/>
    <p:sldLayoutId id="2147485324" r:id="rId40"/>
    <p:sldLayoutId id="2147485325" r:id="rId41"/>
    <p:sldLayoutId id="2147485326" r:id="rId42"/>
    <p:sldLayoutId id="2147485327" r:id="rId43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cs typeface="CiscoSans Thin"/>
              </a:rPr>
              <a:t>© </a:t>
            </a: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cs typeface="CiscoSans Thin"/>
              </a:rPr>
              <a:t>2015  </a:t>
            </a:r>
            <a:r>
              <a:rPr lang="en-US" sz="600" dirty="0">
                <a:solidFill>
                  <a:srgbClr val="000000">
                    <a:alpha val="25000"/>
                  </a:srgbClr>
                </a:solidFill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5718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29" r:id="rId1"/>
    <p:sldLayoutId id="2147485330" r:id="rId2"/>
    <p:sldLayoutId id="2147485331" r:id="rId3"/>
    <p:sldLayoutId id="2147485332" r:id="rId4"/>
    <p:sldLayoutId id="2147485333" r:id="rId5"/>
    <p:sldLayoutId id="2147485334" r:id="rId6"/>
    <p:sldLayoutId id="2147485335" r:id="rId7"/>
    <p:sldLayoutId id="2147485336" r:id="rId8"/>
    <p:sldLayoutId id="2147485337" r:id="rId9"/>
    <p:sldLayoutId id="2147485338" r:id="rId10"/>
    <p:sldLayoutId id="2147485339" r:id="rId11"/>
    <p:sldLayoutId id="2147485340" r:id="rId12"/>
    <p:sldLayoutId id="2147485341" r:id="rId13"/>
    <p:sldLayoutId id="2147485342" r:id="rId14"/>
    <p:sldLayoutId id="2147485343" r:id="rId15"/>
    <p:sldLayoutId id="2147485344" r:id="rId16"/>
    <p:sldLayoutId id="2147485345" r:id="rId17"/>
    <p:sldLayoutId id="2147485346" r:id="rId18"/>
    <p:sldLayoutId id="2147485347" r:id="rId19"/>
    <p:sldLayoutId id="2147485348" r:id="rId20"/>
    <p:sldLayoutId id="2147485349" r:id="rId21"/>
    <p:sldLayoutId id="2147485350" r:id="rId22"/>
    <p:sldLayoutId id="2147485351" r:id="rId23"/>
    <p:sldLayoutId id="2147485352" r:id="rId24"/>
    <p:sldLayoutId id="2147485353" r:id="rId25"/>
    <p:sldLayoutId id="2147485354" r:id="rId26"/>
    <p:sldLayoutId id="2147485355" r:id="rId27"/>
    <p:sldLayoutId id="2147485356" r:id="rId28"/>
    <p:sldLayoutId id="2147485357" r:id="rId29"/>
    <p:sldLayoutId id="2147485358" r:id="rId30"/>
    <p:sldLayoutId id="2147485359" r:id="rId31"/>
    <p:sldLayoutId id="2147485360" r:id="rId32"/>
    <p:sldLayoutId id="2147485361" r:id="rId33"/>
    <p:sldLayoutId id="2147485362" r:id="rId34"/>
    <p:sldLayoutId id="2147485363" r:id="rId35"/>
    <p:sldLayoutId id="2147485364" r:id="rId36"/>
    <p:sldLayoutId id="2147485365" r:id="rId37"/>
    <p:sldLayoutId id="2147485366" r:id="rId38"/>
    <p:sldLayoutId id="2147485367" r:id="rId39"/>
    <p:sldLayoutId id="2147485368" r:id="rId40"/>
    <p:sldLayoutId id="2147485369" r:id="rId41"/>
    <p:sldLayoutId id="2147485370" r:id="rId42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12" tIns="45706" rIns="91412" bIns="4570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708" y="4742908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21" tIns="30760" rIns="61521" bIns="30760" anchor="b">
            <a:spAutoFit/>
          </a:bodyPr>
          <a:lstStyle/>
          <a:p>
            <a:pPr algn="r" defTabSz="610113">
              <a:defRPr/>
            </a:pPr>
            <a:fld id="{4ABDCABE-3F10-B64C-92F1-862014417034}" type="slidenum">
              <a:rPr lang="en-US" sz="599">
                <a:solidFill>
                  <a:srgbClr val="000000">
                    <a:alpha val="25000"/>
                  </a:srgbClr>
                </a:solidFill>
                <a:cs typeface="CiscoSans Thin"/>
              </a:rPr>
              <a:pPr algn="r" defTabSz="610113">
                <a:defRPr/>
              </a:pPr>
              <a:t>‹#›</a:t>
            </a:fld>
            <a:endParaRPr lang="en-US" sz="599" dirty="0">
              <a:solidFill>
                <a:srgbClr val="000000">
                  <a:alpha val="25000"/>
                </a:srgbClr>
              </a:solidFill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82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21" tIns="30760" rIns="61521" bIns="30760" anchor="b">
            <a:spAutoFit/>
          </a:bodyPr>
          <a:lstStyle/>
          <a:p>
            <a:pPr defTabSz="610113">
              <a:defRPr/>
            </a:pPr>
            <a:r>
              <a:rPr lang="en-US" sz="599" dirty="0">
                <a:solidFill>
                  <a:srgbClr val="000000">
                    <a:alpha val="25000"/>
                  </a:srgbClr>
                </a:solidFill>
                <a:cs typeface="CiscoSans Thin"/>
              </a:rPr>
              <a:t>© </a:t>
            </a:r>
            <a:r>
              <a:rPr lang="en-US" sz="599" dirty="0" smtClean="0">
                <a:solidFill>
                  <a:srgbClr val="000000">
                    <a:alpha val="25000"/>
                  </a:srgbClr>
                </a:solidFill>
                <a:cs typeface="CiscoSans Thin"/>
              </a:rPr>
              <a:t>2016  </a:t>
            </a:r>
            <a:r>
              <a:rPr lang="en-US" sz="599" dirty="0">
                <a:solidFill>
                  <a:srgbClr val="000000">
                    <a:alpha val="25000"/>
                  </a:srgbClr>
                </a:solidFill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9831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73" r:id="rId1"/>
    <p:sldLayoutId id="2147485374" r:id="rId2"/>
    <p:sldLayoutId id="2147485375" r:id="rId3"/>
    <p:sldLayoutId id="2147485376" r:id="rId4"/>
    <p:sldLayoutId id="2147485377" r:id="rId5"/>
    <p:sldLayoutId id="2147485378" r:id="rId6"/>
    <p:sldLayoutId id="2147485379" r:id="rId7"/>
    <p:sldLayoutId id="2147485381" r:id="rId8"/>
    <p:sldLayoutId id="2147485382" r:id="rId9"/>
    <p:sldLayoutId id="2147485383" r:id="rId10"/>
  </p:sldLayoutIdLst>
  <p:transition spd="slow">
    <p:wipe/>
  </p:transition>
  <p:txStyles>
    <p:titleStyle>
      <a:lvl1pPr algn="l" defTabSz="68350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197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350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19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350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19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350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19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350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197">
          <a:solidFill>
            <a:srgbClr val="676767"/>
          </a:solidFill>
          <a:latin typeface="Arial" charset="0"/>
          <a:ea typeface="ＭＳ Ｐゴシック" charset="0"/>
        </a:defRPr>
      </a:lvl5pPr>
      <a:lvl6pPr marL="456728" algn="l" defTabSz="68350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197">
          <a:solidFill>
            <a:srgbClr val="676767"/>
          </a:solidFill>
          <a:latin typeface="Arial" charset="0"/>
          <a:ea typeface="ＭＳ Ｐゴシック" charset="0"/>
        </a:defRPr>
      </a:lvl6pPr>
      <a:lvl7pPr marL="913455" algn="l" defTabSz="68350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197">
          <a:solidFill>
            <a:srgbClr val="676767"/>
          </a:solidFill>
          <a:latin typeface="Arial" charset="0"/>
          <a:ea typeface="ＭＳ Ｐゴシック" charset="0"/>
        </a:defRPr>
      </a:lvl7pPr>
      <a:lvl8pPr marL="1370183" algn="l" defTabSz="68350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197">
          <a:solidFill>
            <a:srgbClr val="676767"/>
          </a:solidFill>
          <a:latin typeface="Arial" charset="0"/>
          <a:ea typeface="ＭＳ Ｐゴシック" charset="0"/>
        </a:defRPr>
      </a:lvl8pPr>
      <a:lvl9pPr marL="1826910" algn="l" defTabSz="68350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19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687" indent="-169687" algn="l" defTabSz="683506" rtl="0" eaLnBrk="1" fontAlgn="base" hangingPunct="1">
        <a:lnSpc>
          <a:spcPct val="95000"/>
        </a:lnSpc>
        <a:spcBef>
          <a:spcPts val="1074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499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404" indent="-215678" algn="l" defTabSz="683506" rtl="0" eaLnBrk="1" fontAlgn="base" hangingPunct="1">
        <a:lnSpc>
          <a:spcPct val="95000"/>
        </a:lnSpc>
        <a:spcBef>
          <a:spcPts val="599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399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353" indent="-169687" algn="l" defTabSz="683506" rtl="0" eaLnBrk="1" fontAlgn="base" hangingPunct="1">
        <a:lnSpc>
          <a:spcPct val="95000"/>
        </a:lnSpc>
        <a:spcBef>
          <a:spcPts val="624"/>
        </a:spcBef>
        <a:spcAft>
          <a:spcPct val="0"/>
        </a:spcAft>
        <a:buFont typeface="Arial" charset="0"/>
        <a:buChar char="•"/>
        <a:defRPr lang="en-US" sz="1199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2718" indent="-169687" algn="l" defTabSz="683506" rtl="0" eaLnBrk="1" fontAlgn="base" hangingPunct="1">
        <a:lnSpc>
          <a:spcPct val="95000"/>
        </a:lnSpc>
        <a:spcBef>
          <a:spcPts val="624"/>
        </a:spcBef>
        <a:spcAft>
          <a:spcPct val="0"/>
        </a:spcAft>
        <a:buFont typeface="Arial" charset="0"/>
        <a:buChar char="•"/>
        <a:defRPr lang="en-US" sz="1099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081" indent="-169687" algn="l" defTabSz="683506" rtl="0" eaLnBrk="1" fontAlgn="base" hangingPunct="1">
        <a:lnSpc>
          <a:spcPct val="95000"/>
        </a:lnSpc>
        <a:spcBef>
          <a:spcPts val="624"/>
        </a:spcBef>
        <a:spcAft>
          <a:spcPct val="0"/>
        </a:spcAft>
        <a:buFont typeface="Arial" charset="0"/>
        <a:buChar char="•"/>
        <a:defRPr lang="en-US" sz="1099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2964" indent="-171268" algn="l" defTabSz="685069" rtl="0" eaLnBrk="1" latinLnBrk="0" hangingPunct="1">
        <a:spcBef>
          <a:spcPts val="599"/>
        </a:spcBef>
        <a:buFont typeface="Arial" pitchFamily="34" charset="0"/>
        <a:buChar char="•"/>
        <a:defRPr sz="899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4877" indent="-171245" algn="l" defTabSz="685069" rtl="0" eaLnBrk="1" latinLnBrk="0" hangingPunct="1">
        <a:spcBef>
          <a:spcPts val="599"/>
        </a:spcBef>
        <a:buFont typeface="Arial" pitchFamily="34" charset="0"/>
        <a:buChar char="•"/>
        <a:defRPr sz="799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397740" indent="0" algn="l" defTabSz="685069" rtl="0" eaLnBrk="1" latinLnBrk="0" hangingPunct="1">
        <a:spcBef>
          <a:spcPct val="20000"/>
        </a:spcBef>
        <a:buFont typeface="Arial" pitchFamily="34" charset="0"/>
        <a:buNone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1541" indent="-171268" algn="l" defTabSz="685069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069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1pPr>
      <a:lvl2pPr marL="342531" algn="l" defTabSz="685069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2pPr>
      <a:lvl3pPr marL="685069" algn="l" defTabSz="685069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3pPr>
      <a:lvl4pPr marL="1027602" algn="l" defTabSz="685069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4pPr>
      <a:lvl5pPr marL="1370138" algn="l" defTabSz="685069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5pPr>
      <a:lvl6pPr marL="1712669" algn="l" defTabSz="685069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6pPr>
      <a:lvl7pPr marL="2055206" algn="l" defTabSz="685069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7pPr>
      <a:lvl8pPr marL="2397740" algn="l" defTabSz="685069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8pPr>
      <a:lvl9pPr marL="2740276" algn="l" defTabSz="685069" rtl="0" eaLnBrk="1" latinLnBrk="0" hangingPunct="1">
        <a:defRPr sz="1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7" y="34133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707" y="4742908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2" tIns="30790" rIns="61582" bIns="3079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9" y="4741674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2" tIns="30790" rIns="61582" bIns="30790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cs typeface="CiscoSans Thin"/>
              </a:rPr>
              <a:t>© </a:t>
            </a: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cs typeface="CiscoSans Thin"/>
              </a:rPr>
              <a:t>2016  </a:t>
            </a:r>
            <a:r>
              <a:rPr lang="en-US" sz="600" dirty="0">
                <a:solidFill>
                  <a:srgbClr val="000000">
                    <a:alpha val="25000"/>
                  </a:srgbClr>
                </a:solidFill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464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99" r:id="rId1"/>
    <p:sldLayoutId id="2147485400" r:id="rId2"/>
    <p:sldLayoutId id="2147485401" r:id="rId3"/>
    <p:sldLayoutId id="2147485403" r:id="rId4"/>
    <p:sldLayoutId id="2147485404" r:id="rId5"/>
    <p:sldLayoutId id="2147485405" r:id="rId6"/>
    <p:sldLayoutId id="2147485406" r:id="rId7"/>
    <p:sldLayoutId id="2147485407" r:id="rId8"/>
    <p:sldLayoutId id="2147485408" r:id="rId9"/>
  </p:sldLayoutIdLst>
  <p:transition spd="slow">
    <p:wipe/>
  </p:transition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199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399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598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799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4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5" indent="-171445" algn="l" defTabSz="685776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3" indent="-171422" algn="l" defTabSz="685776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18" indent="0" algn="l" defTabSz="685776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1" indent="-171445" algn="l" defTabSz="68577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6" algn="l" defTabSz="68577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4" algn="l" defTabSz="68577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3" algn="l" defTabSz="68577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0" algn="l" defTabSz="68577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1" algn="l" defTabSz="68577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18" algn="l" defTabSz="68577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08" algn="l" defTabSz="685776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5751" y="4697113"/>
            <a:ext cx="1466491" cy="257445"/>
          </a:xfrm>
          <a:prstGeom prst="rect">
            <a:avLst/>
          </a:prstGeom>
        </p:spPr>
      </p:pic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2806259" y="4736431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algn="ctr" defTabSz="61074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cs typeface="CiscoSans Thin"/>
              </a:rPr>
              <a:t>© </a:t>
            </a: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cs typeface="CiscoSans Thin"/>
              </a:rPr>
              <a:t>2015  </a:t>
            </a:r>
            <a:r>
              <a:rPr lang="en-US" sz="600" dirty="0">
                <a:solidFill>
                  <a:srgbClr val="000000">
                    <a:alpha val="25000"/>
                  </a:srgbClr>
                </a:solidFill>
                <a:cs typeface="CiscoSans Thin"/>
              </a:rPr>
              <a:t>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963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10" r:id="rId1"/>
    <p:sldLayoutId id="2147485411" r:id="rId2"/>
    <p:sldLayoutId id="2147485412" r:id="rId3"/>
    <p:sldLayoutId id="2147485413" r:id="rId4"/>
    <p:sldLayoutId id="2147485414" r:id="rId5"/>
    <p:sldLayoutId id="2147485415" r:id="rId6"/>
    <p:sldLayoutId id="2147485416" r:id="rId7"/>
    <p:sldLayoutId id="2147485417" r:id="rId8"/>
    <p:sldLayoutId id="2147485418" r:id="rId9"/>
    <p:sldLayoutId id="2147485419" r:id="rId10"/>
    <p:sldLayoutId id="2147485420" r:id="rId11"/>
    <p:sldLayoutId id="2147485421" r:id="rId12"/>
    <p:sldLayoutId id="2147485422" r:id="rId13"/>
    <p:sldLayoutId id="2147485423" r:id="rId14"/>
    <p:sldLayoutId id="2147485424" r:id="rId15"/>
    <p:sldLayoutId id="2147485425" r:id="rId16"/>
    <p:sldLayoutId id="2147485426" r:id="rId17"/>
    <p:sldLayoutId id="2147485427" r:id="rId18"/>
    <p:sldLayoutId id="2147485428" r:id="rId19"/>
    <p:sldLayoutId id="2147485429" r:id="rId20"/>
    <p:sldLayoutId id="2147485430" r:id="rId21"/>
    <p:sldLayoutId id="2147485431" r:id="rId22"/>
    <p:sldLayoutId id="2147485432" r:id="rId23"/>
    <p:sldLayoutId id="2147485433" r:id="rId24"/>
    <p:sldLayoutId id="2147485434" r:id="rId25"/>
    <p:sldLayoutId id="2147485435" r:id="rId26"/>
    <p:sldLayoutId id="2147485436" r:id="rId27"/>
    <p:sldLayoutId id="2147485437" r:id="rId28"/>
    <p:sldLayoutId id="2147485438" r:id="rId29"/>
    <p:sldLayoutId id="2147485439" r:id="rId30"/>
    <p:sldLayoutId id="2147485440" r:id="rId31"/>
    <p:sldLayoutId id="2147485441" r:id="rId32"/>
    <p:sldLayoutId id="2147485442" r:id="rId33"/>
    <p:sldLayoutId id="2147485443" r:id="rId34"/>
    <p:sldLayoutId id="2147485444" r:id="rId35"/>
    <p:sldLayoutId id="2147485445" r:id="rId36"/>
    <p:sldLayoutId id="2147485446" r:id="rId37"/>
    <p:sldLayoutId id="2147485447" r:id="rId38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8150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707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>
              <a:defRPr/>
            </a:pPr>
            <a:fld id="{6A1E46DC-7EF6-4EA2-B285-14272867D133}" type="slidenum">
              <a:rPr lang="en-US" sz="60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pPr algn="r" defTabSz="61074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ea typeface="ＭＳ Ｐゴシック" charset="0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charset="0"/>
                <a:cs typeface="CiscoSans Thin"/>
              </a:rPr>
              <a:t>© 2016  Cisco and/or its affiliates. All rights reserved.   Cisco Confidential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9034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52" r:id="rId1"/>
    <p:sldLayoutId id="2147485453" r:id="rId2"/>
    <p:sldLayoutId id="2147485454" r:id="rId3"/>
    <p:sldLayoutId id="2147485455" r:id="rId4"/>
    <p:sldLayoutId id="2147485456" r:id="rId5"/>
    <p:sldLayoutId id="2147485457" r:id="rId6"/>
    <p:sldLayoutId id="2147485458" r:id="rId7"/>
    <p:sldLayoutId id="2147485459" r:id="rId8"/>
    <p:sldLayoutId id="2147485460" r:id="rId9"/>
    <p:sldLayoutId id="2147485462" r:id="rId10"/>
    <p:sldLayoutId id="2147485464" r:id="rId11"/>
    <p:sldLayoutId id="2147485465" r:id="rId12"/>
  </p:sldLayoutIdLst>
  <p:transition spd="slow">
    <p:wipe/>
  </p:transition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chemeClr val="tx2"/>
          </a:solidFill>
          <a:latin typeface="+mj-lt"/>
          <a:ea typeface="ＭＳ Ｐゴシック" charset="0"/>
          <a:cs typeface="CiscoSans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22533" y="4946904"/>
            <a:ext cx="716863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600" dirty="0">
                <a:solidFill>
                  <a:srgbClr val="000000"/>
                </a:solidFill>
                <a:cs typeface="CiscoSans Thin"/>
              </a:defRPr>
            </a:lvl1pPr>
          </a:lstStyle>
          <a:p>
            <a:pPr defTabSz="610744"/>
            <a:endParaRPr>
              <a:ea typeface="ＭＳ Ｐゴシック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356616" y="217715"/>
            <a:ext cx="8513064" cy="765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Arial" pitchFamily="34" charset="0"/>
              </a:rPr>
              <a:t>Slide 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356616" y="1079426"/>
            <a:ext cx="8513064" cy="330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>
                <a:sym typeface="Arial" pitchFamily="34" charset="0"/>
              </a:rPr>
              <a:t>Click to edit Master text styles</a:t>
            </a:r>
          </a:p>
          <a:p>
            <a:pPr lvl="1"/>
            <a:r>
              <a:rPr lang="en-US" dirty="0" smtClean="0">
                <a:sym typeface="Arial" pitchFamily="34" charset="0"/>
              </a:rPr>
              <a:t>Second level</a:t>
            </a:r>
          </a:p>
          <a:p>
            <a:pPr lvl="2"/>
            <a:r>
              <a:rPr lang="en-US" dirty="0" smtClean="0">
                <a:sym typeface="Arial" pitchFamily="34" charset="0"/>
              </a:rPr>
              <a:t>Third level</a:t>
            </a:r>
          </a:p>
          <a:p>
            <a:pPr lvl="3"/>
            <a:r>
              <a:rPr lang="en-US" dirty="0" smtClean="0">
                <a:sym typeface="Arial" pitchFamily="34" charset="0"/>
              </a:rPr>
              <a:t>Four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89"/>
            <a:ext cx="35966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600" kern="1200" smtClean="0">
                <a:solidFill>
                  <a:srgbClr val="000000"/>
                </a:solidFill>
                <a:latin typeface="+mn-lt"/>
                <a:ea typeface="+mn-ea"/>
                <a:cs typeface="CiscoSans Thin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96A97DD0-5BE7-4856-A2A9-C42C6688E607}" type="slidenum">
              <a:rPr/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/>
          </a:p>
        </p:txBody>
      </p:sp>
      <p:sp>
        <p:nvSpPr>
          <p:cNvPr id="9" name="Rectangle 4"/>
          <p:cNvSpPr>
            <a:spLocks noChangeArrowheads="1"/>
          </p:cNvSpPr>
          <p:nvPr userDrawn="1"/>
        </p:nvSpPr>
        <p:spPr bwMode="ltGray">
          <a:xfrm>
            <a:off x="5985510" y="4946904"/>
            <a:ext cx="2472136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r" defTabSz="610744"/>
            <a:r>
              <a:rPr lang="en-US" sz="600" dirty="0">
                <a:solidFill>
                  <a:srgbClr val="000000"/>
                </a:solidFill>
                <a:ea typeface="ＭＳ Ｐゴシック" charset="0"/>
                <a:cs typeface="CiscoSans Thin"/>
              </a:rPr>
              <a:t>© </a:t>
            </a:r>
            <a:r>
              <a:rPr lang="en-US" sz="600" dirty="0" smtClean="0">
                <a:solidFill>
                  <a:srgbClr val="000000"/>
                </a:solidFill>
                <a:ea typeface="ＭＳ Ｐゴシック" charset="0"/>
                <a:cs typeface="CiscoSans Thin"/>
              </a:rPr>
              <a:t>2017  </a:t>
            </a:r>
            <a:r>
              <a:rPr lang="en-US" sz="600" dirty="0">
                <a:solidFill>
                  <a:srgbClr val="000000"/>
                </a:solidFill>
                <a:ea typeface="ＭＳ Ｐゴシック" charset="0"/>
                <a:cs typeface="CiscoSans Thin"/>
              </a:rPr>
              <a:t>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906206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67" r:id="rId1"/>
    <p:sldLayoutId id="2147485468" r:id="rId2"/>
    <p:sldLayoutId id="2147485469" r:id="rId3"/>
    <p:sldLayoutId id="2147485470" r:id="rId4"/>
    <p:sldLayoutId id="2147485471" r:id="rId5"/>
    <p:sldLayoutId id="2147485472" r:id="rId6"/>
    <p:sldLayoutId id="2147485473" r:id="rId7"/>
    <p:sldLayoutId id="2147485474" r:id="rId8"/>
    <p:sldLayoutId id="2147485475" r:id="rId9"/>
    <p:sldLayoutId id="2147485476" r:id="rId10"/>
    <p:sldLayoutId id="2147485477" r:id="rId11"/>
    <p:sldLayoutId id="2147485478" r:id="rId12"/>
    <p:sldLayoutId id="2147485479" r:id="rId13"/>
    <p:sldLayoutId id="2147485480" r:id="rId14"/>
    <p:sldLayoutId id="2147485481" r:id="rId15"/>
    <p:sldLayoutId id="2147485482" r:id="rId16"/>
    <p:sldLayoutId id="2147485483" r:id="rId17"/>
    <p:sldLayoutId id="2147485484" r:id="rId18"/>
    <p:sldLayoutId id="2147485485" r:id="rId19"/>
    <p:sldLayoutId id="2147485486" r:id="rId20"/>
    <p:sldLayoutId id="2147485487" r:id="rId21"/>
    <p:sldLayoutId id="2147485488" r:id="rId22"/>
    <p:sldLayoutId id="2147485489" r:id="rId23"/>
    <p:sldLayoutId id="2147485490" r:id="rId24"/>
    <p:sldLayoutId id="2147485491" r:id="rId25"/>
    <p:sldLayoutId id="2147485492" r:id="rId26"/>
    <p:sldLayoutId id="2147485493" r:id="rId27"/>
    <p:sldLayoutId id="2147485494" r:id="rId28"/>
    <p:sldLayoutId id="2147485495" r:id="rId29"/>
    <p:sldLayoutId id="2147485496" r:id="rId30"/>
    <p:sldLayoutId id="2147485497" r:id="rId31"/>
    <p:sldLayoutId id="2147485498" r:id="rId32"/>
    <p:sldLayoutId id="2147485499" r:id="rId33"/>
    <p:sldLayoutId id="2147485500" r:id="rId34"/>
    <p:sldLayoutId id="2147485501" r:id="rId35"/>
    <p:sldLayoutId id="2147485502" r:id="rId36"/>
    <p:sldLayoutId id="2147485503" r:id="rId37"/>
    <p:sldLayoutId id="2147485504" r:id="rId38"/>
    <p:sldLayoutId id="2147485505" r:id="rId39"/>
    <p:sldLayoutId id="2147485506" r:id="rId40"/>
    <p:sldLayoutId id="2147485507" r:id="rId41"/>
    <p:sldLayoutId id="2147485508" r:id="rId42"/>
    <p:sldLayoutId id="2147485509" r:id="rId43"/>
    <p:sldLayoutId id="2147485510" r:id="rId44"/>
    <p:sldLayoutId id="2147485511" r:id="rId45"/>
    <p:sldLayoutId id="2147485512" r:id="rId46"/>
    <p:sldLayoutId id="2147485513" r:id="rId47"/>
    <p:sldLayoutId id="2147485514" r:id="rId48"/>
    <p:sldLayoutId id="2147485515" r:id="rId49"/>
    <p:sldLayoutId id="2147485516" r:id="rId50"/>
    <p:sldLayoutId id="2147485517" r:id="rId51"/>
    <p:sldLayoutId id="2147485518" r:id="rId52"/>
    <p:sldLayoutId id="2147485519" r:id="rId53"/>
    <p:sldLayoutId id="2147485520" r:id="rId54"/>
    <p:sldLayoutId id="2147485521" r:id="rId55"/>
    <p:sldLayoutId id="2147485522" r:id="rId56"/>
    <p:sldLayoutId id="2147485523" r:id="rId57"/>
    <p:sldLayoutId id="2147485524" r:id="rId58"/>
    <p:sldLayoutId id="2147485525" r:id="rId59"/>
    <p:sldLayoutId id="2147485526" r:id="rId60"/>
    <p:sldLayoutId id="2147485527" r:id="rId61"/>
    <p:sldLayoutId id="2147485528" r:id="rId62"/>
    <p:sldLayoutId id="2147485529" r:id="rId63"/>
    <p:sldLayoutId id="2147485530" r:id="rId64"/>
    <p:sldLayoutId id="2147485531" r:id="rId65"/>
    <p:sldLayoutId id="2147485532" r:id="rId66"/>
    <p:sldLayoutId id="2147485533" r:id="rId67"/>
    <p:sldLayoutId id="2147485534" r:id="rId68"/>
  </p:sldLayoutIdLst>
  <p:transition/>
  <p:timing>
    <p:tnLst>
      <p:par>
        <p:cTn id="1" dur="indefinite" restart="never" nodeType="tmRoot"/>
      </p:par>
    </p:tnLst>
  </p:timing>
  <p:hf sldNum="0" hdr="0" ftr="0" dt="0"/>
  <p:txStyles>
    <p:titleStyle>
      <a:lvl1pPr marL="6251" indent="-625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en-US" sz="2800" b="0" kern="1200" dirty="0" smtClean="0">
          <a:solidFill>
            <a:schemeClr val="accent6"/>
          </a:solidFill>
          <a:latin typeface="+mj-lt"/>
          <a:ea typeface="+mj-ea"/>
          <a:cs typeface="+mj-cs"/>
          <a:sym typeface="Arial" pitchFamily="34" charset="0"/>
        </a:defRPr>
      </a:lvl1pPr>
      <a:lvl2pPr marL="6251" indent="-625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2pPr>
      <a:lvl3pPr marL="6251" indent="-625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3pPr>
      <a:lvl4pPr marL="6251" indent="-625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4pPr>
      <a:lvl5pPr marL="6251" indent="-625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B1059D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34" charset="0"/>
        </a:defRPr>
      </a:lvl5pPr>
      <a:lvl6pPr marL="2634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6pPr>
      <a:lvl7pPr marL="52060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7pPr>
      <a:lvl8pPr marL="77777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8pPr>
      <a:lvl9pPr marL="103495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1EB9E4"/>
          </a:solidFill>
          <a:latin typeface="Arial" pitchFamily="-107" charset="0"/>
          <a:ea typeface="Apple LiGothic Medium" pitchFamily="-107" charset="-120"/>
          <a:cs typeface="Apple LiGothic Medium" pitchFamily="-107" charset="-120"/>
          <a:sym typeface="Arial" pitchFamily="-107" charset="0"/>
        </a:defRPr>
      </a:lvl9pPr>
    </p:titleStyle>
    <p:bodyStyle>
      <a:lvl1pPr marL="187523" indent="-185738" algn="l" rtl="0" eaLnBrk="1" fontAlgn="base" hangingPunct="1">
        <a:lnSpc>
          <a:spcPct val="90000"/>
        </a:lnSpc>
        <a:spcBef>
          <a:spcPts val="1200"/>
        </a:spcBef>
        <a:spcAft>
          <a:spcPct val="0"/>
        </a:spcAft>
        <a:buClrTx/>
        <a:buSzPct val="80000"/>
        <a:buFont typeface="Arial" panose="020B0604020202020204" pitchFamily="34" charset="0"/>
        <a:buChar char="•"/>
        <a:defRPr sz="18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1pPr>
      <a:lvl2pPr marL="386656" indent="-193775" algn="l" rtl="0" eaLnBrk="1" fontAlgn="base" hangingPunct="1">
        <a:lnSpc>
          <a:spcPct val="90000"/>
        </a:lnSpc>
        <a:spcBef>
          <a:spcPts val="400"/>
        </a:spcBef>
        <a:spcAft>
          <a:spcPct val="0"/>
        </a:spcAft>
        <a:buClrTx/>
        <a:buSzPct val="80000"/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2pPr>
      <a:lvl3pPr marL="546497" indent="-159842" algn="l" rtl="0" eaLnBrk="1" fontAlgn="base" hangingPunct="1">
        <a:lnSpc>
          <a:spcPct val="90000"/>
        </a:lnSpc>
        <a:spcBef>
          <a:spcPts val="200"/>
        </a:spcBef>
        <a:spcAft>
          <a:spcPct val="0"/>
        </a:spcAft>
        <a:buClrTx/>
        <a:buSzPct val="80000"/>
        <a:buFont typeface="Arial" panose="020B0604020202020204" pitchFamily="34" charset="0"/>
        <a:buChar char="•"/>
        <a:defRPr sz="14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3pPr>
      <a:lvl4pPr marL="706339" indent="-159842" algn="l" rtl="0" eaLnBrk="1" fontAlgn="base" hangingPunct="1">
        <a:lnSpc>
          <a:spcPct val="90000"/>
        </a:lnSpc>
        <a:spcBef>
          <a:spcPts val="200"/>
        </a:spcBef>
        <a:spcAft>
          <a:spcPct val="0"/>
        </a:spcAft>
        <a:buClrTx/>
        <a:buSzPct val="80000"/>
        <a:buFont typeface="Arial" panose="020B0604020202020204" pitchFamily="34" charset="0"/>
        <a:buChar char="•"/>
        <a:defRPr sz="1400">
          <a:solidFill>
            <a:schemeClr val="tx1"/>
          </a:solidFill>
          <a:latin typeface="+mn-lt"/>
          <a:ea typeface="+mn-ea"/>
          <a:cs typeface="+mn-cs"/>
          <a:sym typeface="Arial" pitchFamily="34" charset="0"/>
        </a:defRPr>
      </a:lvl4pPr>
      <a:lvl5pPr marL="773311" indent="-66973" algn="l" rtl="0" eaLnBrk="1" fontAlgn="base" hangingPunct="1">
        <a:lnSpc>
          <a:spcPct val="95000"/>
        </a:lnSpc>
        <a:spcBef>
          <a:spcPts val="675"/>
        </a:spcBef>
        <a:spcAft>
          <a:spcPct val="0"/>
        </a:spcAft>
        <a:buClr>
          <a:srgbClr val="FFFFFF"/>
        </a:buClr>
        <a:buSzPct val="100000"/>
        <a:buFont typeface="Arial" pitchFamily="34" charset="0"/>
        <a:buChar char="»"/>
        <a:defRPr>
          <a:solidFill>
            <a:schemeClr val="tx2"/>
          </a:solidFill>
          <a:latin typeface="+mn-lt"/>
          <a:ea typeface="+mn-ea"/>
          <a:cs typeface="+mn-cs"/>
          <a:sym typeface="Arial" pitchFamily="34" charset="0"/>
        </a:defRPr>
      </a:lvl5pPr>
      <a:lvl6pPr marL="1416248" indent="-128588" algn="l" rtl="0" eaLnBrk="1" fontAlgn="base" hangingPunct="1">
        <a:lnSpc>
          <a:spcPct val="95000"/>
        </a:lnSpc>
        <a:spcBef>
          <a:spcPts val="1013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6pPr>
      <a:lvl7pPr marL="1673423" indent="-128588" algn="l" rtl="0" eaLnBrk="1" fontAlgn="base" hangingPunct="1">
        <a:lnSpc>
          <a:spcPct val="95000"/>
        </a:lnSpc>
        <a:spcBef>
          <a:spcPts val="1013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7pPr>
      <a:lvl8pPr marL="1930598" indent="-128588" algn="l" rtl="0" eaLnBrk="1" fontAlgn="base" hangingPunct="1">
        <a:lnSpc>
          <a:spcPct val="95000"/>
        </a:lnSpc>
        <a:spcBef>
          <a:spcPts val="1013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8pPr>
      <a:lvl9pPr marL="2187773" indent="-128588" algn="l" rtl="0" eaLnBrk="1" fontAlgn="base" hangingPunct="1">
        <a:lnSpc>
          <a:spcPct val="95000"/>
        </a:lnSpc>
        <a:spcBef>
          <a:spcPts val="1013"/>
        </a:spcBef>
        <a:spcAft>
          <a:spcPct val="0"/>
        </a:spcAft>
        <a:buClr>
          <a:srgbClr val="FFFFFF"/>
        </a:buClr>
        <a:buSzPct val="100000"/>
        <a:buFont typeface="Arial" pitchFamily="-107" charset="0"/>
        <a:buChar char="»"/>
        <a:defRPr>
          <a:solidFill>
            <a:schemeClr val="tx1"/>
          </a:solidFill>
          <a:latin typeface="+mn-lt"/>
          <a:ea typeface="+mn-ea"/>
          <a:cs typeface="+mn-cs"/>
          <a:sym typeface="Arial" pitchFamily="-107" charset="0"/>
        </a:defRPr>
      </a:lvl9pPr>
    </p:bodyStyle>
    <p:otherStyle>
      <a:defPPr>
        <a:defRPr lang="en-US"/>
      </a:defPPr>
      <a:lvl1pPr marL="0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257175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288">
          <p15:clr>
            <a:srgbClr val="F26B43"/>
          </p15:clr>
        </p15:guide>
        <p15:guide id="4" pos="5496">
          <p15:clr>
            <a:srgbClr val="F26B43"/>
          </p15:clr>
        </p15:guide>
        <p15:guide id="5" orient="horz" pos="540">
          <p15:clr>
            <a:srgbClr val="F26B43"/>
          </p15:clr>
        </p15:guide>
      </p15:sldGuideLst>
    </p:ext>
  </p:extLst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spc="20" dirty="0">
                <a:solidFill>
                  <a:srgbClr val="FFFFFF">
                    <a:lumMod val="65000"/>
                  </a:srgbClr>
                </a:solidFill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07482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36" r:id="rId1"/>
    <p:sldLayoutId id="2147485537" r:id="rId2"/>
    <p:sldLayoutId id="2147485538" r:id="rId3"/>
    <p:sldLayoutId id="2147485539" r:id="rId4"/>
    <p:sldLayoutId id="2147485540" r:id="rId5"/>
    <p:sldLayoutId id="2147485541" r:id="rId6"/>
    <p:sldLayoutId id="2147485542" r:id="rId7"/>
    <p:sldLayoutId id="2147485543" r:id="rId8"/>
    <p:sldLayoutId id="2147485544" r:id="rId9"/>
    <p:sldLayoutId id="2147485545" r:id="rId10"/>
    <p:sldLayoutId id="2147485546" r:id="rId11"/>
    <p:sldLayoutId id="2147485547" r:id="rId12"/>
    <p:sldLayoutId id="2147485548" r:id="rId13"/>
    <p:sldLayoutId id="2147485549" r:id="rId14"/>
    <p:sldLayoutId id="2147485550" r:id="rId15"/>
    <p:sldLayoutId id="2147485551" r:id="rId16"/>
    <p:sldLayoutId id="2147485552" r:id="rId17"/>
    <p:sldLayoutId id="2147485553" r:id="rId18"/>
    <p:sldLayoutId id="2147485554" r:id="rId19"/>
    <p:sldLayoutId id="2147485555" r:id="rId20"/>
    <p:sldLayoutId id="2147485556" r:id="rId21"/>
    <p:sldLayoutId id="2147485557" r:id="rId22"/>
    <p:sldLayoutId id="2147485558" r:id="rId23"/>
    <p:sldLayoutId id="2147485559" r:id="rId24"/>
    <p:sldLayoutId id="2147485560" r:id="rId25"/>
    <p:sldLayoutId id="2147485561" r:id="rId26"/>
    <p:sldLayoutId id="2147485562" r:id="rId27"/>
    <p:sldLayoutId id="2147485563" r:id="rId28"/>
    <p:sldLayoutId id="2147485564" r:id="rId29"/>
    <p:sldLayoutId id="2147485565" r:id="rId30"/>
    <p:sldLayoutId id="2147485566" r:id="rId31"/>
  </p:sldLayoutIdLs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40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29" tIns="34283" rIns="68529" bIns="3428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3594" y="4742935"/>
            <a:ext cx="220553" cy="15451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47" tIns="30791" rIns="61547" bIns="30791" anchor="b">
            <a:spAutoFit/>
          </a:bodyPr>
          <a:lstStyle/>
          <a:p>
            <a:pPr algn="r" defTabSz="610339"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cs typeface="CiscoSans Thin"/>
              </a:rPr>
              <a:pPr algn="r" defTabSz="610339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80"/>
            <a:ext cx="2658018" cy="1545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47" tIns="30791" rIns="61547" bIns="30791" anchor="b">
            <a:spAutoFit/>
          </a:bodyPr>
          <a:lstStyle/>
          <a:p>
            <a:pPr defTabSz="610339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cs typeface="CiscoSans Thin"/>
              </a:rPr>
              <a:t>© </a:t>
            </a:r>
            <a:r>
              <a:rPr lang="en-US" sz="600" dirty="0" smtClean="0">
                <a:solidFill>
                  <a:srgbClr val="000000">
                    <a:alpha val="25000"/>
                  </a:srgbClr>
                </a:solidFill>
                <a:cs typeface="CiscoSans Thin"/>
              </a:rPr>
              <a:t>2016  </a:t>
            </a:r>
            <a:r>
              <a:rPr lang="en-US" sz="600" dirty="0">
                <a:solidFill>
                  <a:srgbClr val="000000">
                    <a:alpha val="25000"/>
                  </a:srgbClr>
                </a:solidFill>
                <a:cs typeface="CiscoSans Thin"/>
              </a:rPr>
              <a:t>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71466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7" r:id="rId1"/>
    <p:sldLayoutId id="2147484648" r:id="rId2"/>
    <p:sldLayoutId id="2147484649" r:id="rId3"/>
    <p:sldLayoutId id="2147484650" r:id="rId4"/>
    <p:sldLayoutId id="2147484651" r:id="rId5"/>
    <p:sldLayoutId id="2147484652" r:id="rId6"/>
    <p:sldLayoutId id="2147484653" r:id="rId7"/>
    <p:sldLayoutId id="2147484654" r:id="rId8"/>
    <p:sldLayoutId id="2147484655" r:id="rId9"/>
    <p:sldLayoutId id="2147484656" r:id="rId10"/>
    <p:sldLayoutId id="2147484657" r:id="rId11"/>
    <p:sldLayoutId id="2147484658" r:id="rId12"/>
    <p:sldLayoutId id="2147484659" r:id="rId13"/>
    <p:sldLayoutId id="2147484660" r:id="rId14"/>
    <p:sldLayoutId id="2147484661" r:id="rId15"/>
    <p:sldLayoutId id="2147484662" r:id="rId16"/>
    <p:sldLayoutId id="2147484663" r:id="rId17"/>
    <p:sldLayoutId id="2147484664" r:id="rId18"/>
    <p:sldLayoutId id="2147484665" r:id="rId19"/>
    <p:sldLayoutId id="2147484666" r:id="rId20"/>
    <p:sldLayoutId id="2147484667" r:id="rId21"/>
    <p:sldLayoutId id="2147484668" r:id="rId22"/>
    <p:sldLayoutId id="2147484669" r:id="rId23"/>
    <p:sldLayoutId id="2147484670" r:id="rId24"/>
    <p:sldLayoutId id="2147484671" r:id="rId25"/>
    <p:sldLayoutId id="2147484672" r:id="rId26"/>
    <p:sldLayoutId id="2147484673" r:id="rId27"/>
    <p:sldLayoutId id="2147484674" r:id="rId28"/>
    <p:sldLayoutId id="2147484675" r:id="rId29"/>
    <p:sldLayoutId id="2147484676" r:id="rId30"/>
    <p:sldLayoutId id="2147484677" r:id="rId31"/>
    <p:sldLayoutId id="2147484678" r:id="rId32"/>
    <p:sldLayoutId id="2147484679" r:id="rId33"/>
    <p:sldLayoutId id="2147484680" r:id="rId34"/>
    <p:sldLayoutId id="2147484681" r:id="rId35"/>
    <p:sldLayoutId id="2147484682" r:id="rId36"/>
    <p:sldLayoutId id="2147484683" r:id="rId37"/>
    <p:sldLayoutId id="2147484684" r:id="rId38"/>
    <p:sldLayoutId id="2147484685" r:id="rId39"/>
    <p:sldLayoutId id="2147484686" r:id="rId40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375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375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375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375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375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6878" algn="l" defTabSz="68375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3793" algn="l" defTabSz="68375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0682" algn="l" defTabSz="68375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7584" algn="l" defTabSz="68375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755" indent="-169755" algn="l" defTabSz="683754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532" indent="-215738" algn="l" defTabSz="683754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516" indent="-169755" algn="l" defTabSz="683754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2913" indent="-169755" algn="l" defTabSz="683754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297" indent="-169755" algn="l" defTabSz="683754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288" indent="-171337" algn="l" defTabSz="685318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198" indent="-171314" algn="l" defTabSz="685318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398600" indent="0" algn="l" defTabSz="685318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2609" indent="-171337" algn="l" defTabSz="685318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644" algn="l" defTabSz="685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318" algn="l" defTabSz="685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7976" algn="l" defTabSz="685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637" algn="l" defTabSz="685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305" algn="l" defTabSz="685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5955" algn="l" defTabSz="685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8600" algn="l" defTabSz="685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249" algn="l" defTabSz="685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44401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68" r:id="rId1"/>
    <p:sldLayoutId id="2147485569" r:id="rId2"/>
  </p:sldLayoutIdLst>
  <p:txStyles>
    <p:titleStyle>
      <a:lvl1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189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378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566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754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59" indent="-169859" algn="l" defTabSz="684196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66" indent="-215894" algn="l" defTabSz="684196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789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25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61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34" indent="-171441" algn="l" defTabSz="685760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21" indent="-171418" algn="l" defTabSz="685760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160" indent="0" algn="l" defTabSz="685760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81" indent="-171441" algn="l" defTabSz="68576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39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2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9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8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42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137820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71" r:id="rId1"/>
    <p:sldLayoutId id="2147485572" r:id="rId2"/>
  </p:sldLayoutIdLst>
  <p:txStyles>
    <p:titleStyle>
      <a:lvl1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189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378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566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754" algn="l" defTabSz="684196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59" indent="-169859" algn="l" defTabSz="684196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66" indent="-215894" algn="l" defTabSz="684196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789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25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61" indent="-169859" algn="l" defTabSz="684196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34" indent="-171441" algn="l" defTabSz="685760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21" indent="-171418" algn="l" defTabSz="685760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160" indent="0" algn="l" defTabSz="685760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81" indent="-171441" algn="l" defTabSz="68576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39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2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98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81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60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42" algn="l" defTabSz="68576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>
              <a:defRPr/>
            </a:pPr>
            <a:r>
              <a:rPr lang="en-US" sz="600" spc="20" dirty="0">
                <a:solidFill>
                  <a:srgbClr val="FFFFFF">
                    <a:lumMod val="65000"/>
                  </a:srgbClr>
                </a:solidFill>
                <a:cs typeface="CiscoSans Thin"/>
              </a:rPr>
              <a:t>© 2017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58867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74" r:id="rId1"/>
    <p:sldLayoutId id="2147485575" r:id="rId2"/>
    <p:sldLayoutId id="2147485576" r:id="rId3"/>
    <p:sldLayoutId id="2147485577" r:id="rId4"/>
    <p:sldLayoutId id="2147485578" r:id="rId5"/>
    <p:sldLayoutId id="2147485579" r:id="rId6"/>
    <p:sldLayoutId id="2147485580" r:id="rId7"/>
    <p:sldLayoutId id="2147485581" r:id="rId8"/>
    <p:sldLayoutId id="2147485582" r:id="rId9"/>
    <p:sldLayoutId id="2147485583" r:id="rId10"/>
    <p:sldLayoutId id="2147485584" r:id="rId11"/>
    <p:sldLayoutId id="2147485585" r:id="rId12"/>
    <p:sldLayoutId id="2147485586" r:id="rId13"/>
    <p:sldLayoutId id="2147485587" r:id="rId14"/>
    <p:sldLayoutId id="2147485588" r:id="rId15"/>
    <p:sldLayoutId id="2147485589" r:id="rId16"/>
    <p:sldLayoutId id="2147485590" r:id="rId17"/>
    <p:sldLayoutId id="2147485591" r:id="rId18"/>
    <p:sldLayoutId id="2147485592" r:id="rId19"/>
    <p:sldLayoutId id="2147485593" r:id="rId20"/>
    <p:sldLayoutId id="2147485594" r:id="rId21"/>
    <p:sldLayoutId id="2147485595" r:id="rId22"/>
    <p:sldLayoutId id="2147485596" r:id="rId23"/>
    <p:sldLayoutId id="2147485597" r:id="rId24"/>
    <p:sldLayoutId id="2147485598" r:id="rId25"/>
    <p:sldLayoutId id="2147485599" r:id="rId26"/>
    <p:sldLayoutId id="2147485600" r:id="rId27"/>
    <p:sldLayoutId id="2147485601" r:id="rId28"/>
    <p:sldLayoutId id="2147485603" r:id="rId29"/>
  </p:sldLayoutIdLs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0" y="25"/>
            <a:ext cx="161984" cy="121481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6" y="1989514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ext styles</a:t>
            </a:r>
          </a:p>
          <a:p>
            <a:pPr lvl="1"/>
            <a:r>
              <a:rPr lang="en-US" altLang="ja-JP" noProof="0" smtClean="0"/>
              <a:t>Second level</a:t>
            </a:r>
          </a:p>
          <a:p>
            <a:pPr lvl="2"/>
            <a:r>
              <a:rPr lang="en-US" altLang="ja-JP" noProof="0" smtClean="0"/>
              <a:t>Third level</a:t>
            </a:r>
          </a:p>
          <a:p>
            <a:pPr lvl="3"/>
            <a:r>
              <a:rPr lang="en-US" altLang="ja-JP" noProof="0" smtClean="0"/>
              <a:t>Fourth level</a:t>
            </a:r>
          </a:p>
          <a:p>
            <a:pPr lvl="4"/>
            <a:r>
              <a:rPr lang="en-US" altLang="ja-JP" noProof="0" smtClean="0"/>
              <a:t>Fifth level</a:t>
            </a:r>
            <a:endParaRPr lang="en-US" altLang="ja-JP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  <p:sp>
        <p:nvSpPr>
          <p:cNvPr id="12" name="McK 3. Unit of measure" hidden="1"/>
          <p:cNvSpPr txBox="1">
            <a:spLocks noChangeArrowheads="1"/>
          </p:cNvSpPr>
          <p:nvPr/>
        </p:nvSpPr>
        <p:spPr bwMode="auto">
          <a:xfrm>
            <a:off x="166814" y="567123"/>
            <a:ext cx="8810379" cy="246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600" dirty="0" smtClean="0">
                <a:solidFill>
                  <a:srgbClr val="808080"/>
                </a:solidFill>
                <a:latin typeface="Arial"/>
                <a:cs typeface="Arial" pitchFamily="34" charset="0"/>
              </a:rPr>
              <a:t>Unit of measure</a:t>
            </a:r>
          </a:p>
        </p:txBody>
      </p: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2377116" y="1435560"/>
            <a:ext cx="4389768" cy="506574"/>
            <a:chOff x="915" y="613"/>
            <a:chExt cx="2686" cy="417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b="1" dirty="0">
                  <a:solidFill>
                    <a:srgbClr val="676767"/>
                  </a:solidFill>
                  <a:cs typeface="Arial" pitchFamily="34" charset="0"/>
                </a:rPr>
                <a:t>Title</a:t>
              </a:r>
            </a:p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dirty="0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grpSp>
        <p:nvGrpSpPr>
          <p:cNvPr id="66" name="LegendBoxes" hidden="1"/>
          <p:cNvGrpSpPr/>
          <p:nvPr/>
        </p:nvGrpSpPr>
        <p:grpSpPr bwMode="auto">
          <a:xfrm>
            <a:off x="8323524" y="297015"/>
            <a:ext cx="656070" cy="874313"/>
            <a:chOff x="8336837" y="2006068"/>
            <a:chExt cx="656070" cy="874312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auto">
            <a:xfrm>
              <a:off x="8567310" y="2006068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2" name="LegendRectangle1"/>
            <p:cNvSpPr>
              <a:spLocks noChangeArrowheads="1"/>
            </p:cNvSpPr>
            <p:nvPr/>
          </p:nvSpPr>
          <p:spPr bwMode="auto">
            <a:xfrm>
              <a:off x="8336837" y="2006068"/>
              <a:ext cx="149807" cy="1463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3" name="Legend2"/>
            <p:cNvSpPr>
              <a:spLocks noChangeArrowheads="1"/>
            </p:cNvSpPr>
            <p:nvPr/>
          </p:nvSpPr>
          <p:spPr bwMode="auto">
            <a:xfrm>
              <a:off x="8567310" y="2246225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4" name="LegendRectangle2"/>
            <p:cNvSpPr>
              <a:spLocks noChangeArrowheads="1"/>
            </p:cNvSpPr>
            <p:nvPr/>
          </p:nvSpPr>
          <p:spPr bwMode="auto">
            <a:xfrm>
              <a:off x="8336837" y="2246225"/>
              <a:ext cx="149807" cy="1463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auto">
            <a:xfrm>
              <a:off x="8567310" y="2486382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6" name="LegendRectangle3"/>
            <p:cNvSpPr>
              <a:spLocks noChangeArrowheads="1"/>
            </p:cNvSpPr>
            <p:nvPr/>
          </p:nvSpPr>
          <p:spPr bwMode="auto">
            <a:xfrm>
              <a:off x="8336837" y="2486382"/>
              <a:ext cx="149807" cy="146304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7" name="Legend4"/>
            <p:cNvSpPr>
              <a:spLocks noChangeArrowheads="1"/>
            </p:cNvSpPr>
            <p:nvPr/>
          </p:nvSpPr>
          <p:spPr bwMode="auto">
            <a:xfrm>
              <a:off x="8567310" y="2726539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8" name="LegendRectangle4"/>
            <p:cNvSpPr>
              <a:spLocks noChangeArrowheads="1"/>
            </p:cNvSpPr>
            <p:nvPr/>
          </p:nvSpPr>
          <p:spPr bwMode="auto">
            <a:xfrm>
              <a:off x="8336837" y="2726539"/>
              <a:ext cx="149807" cy="146304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</p:grpSp>
      <p:grpSp>
        <p:nvGrpSpPr>
          <p:cNvPr id="71" name="LegendLines" hidden="1"/>
          <p:cNvGrpSpPr/>
          <p:nvPr/>
        </p:nvGrpSpPr>
        <p:grpSpPr bwMode="auto">
          <a:xfrm>
            <a:off x="8044074" y="297001"/>
            <a:ext cx="935518" cy="614828"/>
            <a:chOff x="8057389" y="2020564"/>
            <a:chExt cx="935518" cy="614827"/>
          </a:xfrm>
        </p:grpSpPr>
        <p:sp>
          <p:nvSpPr>
            <p:cNvPr id="30" name="LineLegend1"/>
            <p:cNvSpPr>
              <a:spLocks noChangeShapeType="1"/>
            </p:cNvSpPr>
            <p:nvPr/>
          </p:nvSpPr>
          <p:spPr bwMode="auto">
            <a:xfrm>
              <a:off x="8057389" y="2097508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3" name="Legend1"/>
            <p:cNvSpPr>
              <a:spLocks noChangeArrowheads="1"/>
            </p:cNvSpPr>
            <p:nvPr/>
          </p:nvSpPr>
          <p:spPr bwMode="auto">
            <a:xfrm>
              <a:off x="8567310" y="2020564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31" name="LineLegend2"/>
            <p:cNvSpPr>
              <a:spLocks noChangeShapeType="1"/>
            </p:cNvSpPr>
            <p:nvPr/>
          </p:nvSpPr>
          <p:spPr bwMode="auto">
            <a:xfrm>
              <a:off x="8057389" y="2328001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4" name="Legend2"/>
            <p:cNvSpPr>
              <a:spLocks noChangeArrowheads="1"/>
            </p:cNvSpPr>
            <p:nvPr/>
          </p:nvSpPr>
          <p:spPr bwMode="auto">
            <a:xfrm>
              <a:off x="8567310" y="2251057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32" name="LineLegend3"/>
            <p:cNvSpPr>
              <a:spLocks noChangeShapeType="1"/>
            </p:cNvSpPr>
            <p:nvPr/>
          </p:nvSpPr>
          <p:spPr bwMode="auto">
            <a:xfrm>
              <a:off x="8057389" y="2558494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5" name="Legend3"/>
            <p:cNvSpPr>
              <a:spLocks noChangeArrowheads="1"/>
            </p:cNvSpPr>
            <p:nvPr/>
          </p:nvSpPr>
          <p:spPr bwMode="auto">
            <a:xfrm>
              <a:off x="8567310" y="2481550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</p:grpSp>
      <p:grpSp>
        <p:nvGrpSpPr>
          <p:cNvPr id="36" name="McKSticker" hidden="1"/>
          <p:cNvGrpSpPr/>
          <p:nvPr/>
        </p:nvGrpSpPr>
        <p:grpSpPr bwMode="auto">
          <a:xfrm>
            <a:off x="8082365" y="297001"/>
            <a:ext cx="894925" cy="181588"/>
            <a:chOff x="7754493" y="285750"/>
            <a:chExt cx="986282" cy="237304"/>
          </a:xfrm>
        </p:grpSpPr>
        <p:sp>
          <p:nvSpPr>
            <p:cNvPr id="37" name="StickerRectangle"/>
            <p:cNvSpPr>
              <a:spLocks noChangeArrowheads="1"/>
            </p:cNvSpPr>
            <p:nvPr/>
          </p:nvSpPr>
          <p:spPr bwMode="auto">
            <a:xfrm>
              <a:off x="7754493" y="285750"/>
              <a:ext cx="986282" cy="23730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8" name="AutoShape 31"/>
            <p:cNvCxnSpPr>
              <a:cxnSpLocks noChangeShapeType="1"/>
              <a:stCxn id="37" idx="2"/>
              <a:endCxn id="37" idx="4"/>
            </p:cNvCxnSpPr>
            <p:nvPr/>
          </p:nvCxnSpPr>
          <p:spPr bwMode="auto">
            <a:xfrm>
              <a:off x="7754493" y="285750"/>
              <a:ext cx="0" cy="23730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AutoShape 32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7754493" y="523054"/>
              <a:ext cx="9862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2" name="LegendMoons" hidden="1"/>
          <p:cNvGrpSpPr/>
          <p:nvPr/>
        </p:nvGrpSpPr>
        <p:grpSpPr bwMode="auto">
          <a:xfrm>
            <a:off x="8277315" y="297022"/>
            <a:ext cx="702280" cy="1104851"/>
            <a:chOff x="6915362" y="2006068"/>
            <a:chExt cx="702280" cy="1104851"/>
          </a:xfrm>
        </p:grpSpPr>
        <p:sp>
          <p:nvSpPr>
            <p:cNvPr id="44" name="Legend1"/>
            <p:cNvSpPr>
              <a:spLocks noChangeArrowheads="1"/>
            </p:cNvSpPr>
            <p:nvPr userDrawn="1"/>
          </p:nvSpPr>
          <p:spPr bwMode="auto">
            <a:xfrm>
              <a:off x="7192045" y="2020564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49" name="MoonLegend1"/>
            <p:cNvGrpSpPr>
              <a:grpSpLocks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6915362" y="2006068"/>
              <a:ext cx="182880" cy="182880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5" name="Legend2"/>
            <p:cNvSpPr>
              <a:spLocks noChangeArrowheads="1"/>
            </p:cNvSpPr>
            <p:nvPr userDrawn="1"/>
          </p:nvSpPr>
          <p:spPr bwMode="auto">
            <a:xfrm>
              <a:off x="7192045" y="2251057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0" name="MoonLegend2"/>
            <p:cNvGrpSpPr>
              <a:grpSpLocks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6915362" y="2236561"/>
              <a:ext cx="182880" cy="182880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6" name="Legend3"/>
            <p:cNvSpPr>
              <a:spLocks noChangeArrowheads="1"/>
            </p:cNvSpPr>
            <p:nvPr userDrawn="1"/>
          </p:nvSpPr>
          <p:spPr bwMode="auto">
            <a:xfrm>
              <a:off x="7192045" y="2481550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1" name="MoonLegend3"/>
            <p:cNvGrpSpPr>
              <a:grpSpLocks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6915362" y="2467054"/>
              <a:ext cx="182880" cy="182880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7" name="Legend4"/>
            <p:cNvSpPr>
              <a:spLocks noChangeArrowheads="1"/>
            </p:cNvSpPr>
            <p:nvPr userDrawn="1"/>
          </p:nvSpPr>
          <p:spPr bwMode="auto">
            <a:xfrm>
              <a:off x="7192045" y="2712043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2" name="MoonLegend4"/>
            <p:cNvGrpSpPr>
              <a:grpSpLocks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6915362" y="2697547"/>
              <a:ext cx="182880" cy="182880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8" name="Legend5"/>
            <p:cNvSpPr>
              <a:spLocks noChangeArrowheads="1"/>
            </p:cNvSpPr>
            <p:nvPr userDrawn="1"/>
          </p:nvSpPr>
          <p:spPr bwMode="auto">
            <a:xfrm>
              <a:off x="7192045" y="2942535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3" name="MoonLegend5"/>
            <p:cNvGrpSpPr>
              <a:grpSpLocks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6915362" y="2928039"/>
              <a:ext cx="182880" cy="182880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</p:grpSp>
      <p:sp>
        <p:nvSpPr>
          <p:cNvPr id="11" name="McK 1. On-page tracker" hidden="1"/>
          <p:cNvSpPr>
            <a:spLocks noChangeArrowheads="1"/>
          </p:cNvSpPr>
          <p:nvPr/>
        </p:nvSpPr>
        <p:spPr bwMode="auto">
          <a:xfrm>
            <a:off x="166814" y="7915"/>
            <a:ext cx="872835" cy="219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214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67" name="TextBox 66"/>
          <p:cNvSpPr txBox="1">
            <a:spLocks/>
          </p:cNvSpPr>
          <p:nvPr/>
        </p:nvSpPr>
        <p:spPr bwMode="auto">
          <a:xfrm>
            <a:off x="8663149" y="4935545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 algn="r" defTabSz="913214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altLang="ja-JP" sz="700" smtClean="0">
                <a:solidFill>
                  <a:srgbClr val="676767"/>
                </a:solidFill>
                <a:latin typeface="Arial"/>
                <a:ea typeface="ＭＳ Ｐゴシック"/>
              </a:rPr>
              <a:pPr algn="r" defTabSz="91321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700" dirty="0">
              <a:solidFill>
                <a:srgbClr val="676767"/>
              </a:solidFill>
              <a:latin typeface="Arial"/>
              <a:ea typeface="ＭＳ Ｐゴシック"/>
            </a:endParaRPr>
          </a:p>
        </p:txBody>
      </p:sp>
      <p:grpSp>
        <p:nvGrpSpPr>
          <p:cNvPr id="3" name="McK Slide Elements" hidden="1"/>
          <p:cNvGrpSpPr/>
          <p:nvPr/>
        </p:nvGrpSpPr>
        <p:grpSpPr bwMode="auto">
          <a:xfrm>
            <a:off x="166814" y="4428739"/>
            <a:ext cx="8810379" cy="347102"/>
            <a:chOff x="166811" y="4241226"/>
            <a:chExt cx="8810379" cy="347101"/>
          </a:xfrm>
        </p:grpSpPr>
        <p:sp>
          <p:nvSpPr>
            <p:cNvPr id="68" name="McK 4. Footnote"/>
            <p:cNvSpPr txBox="1">
              <a:spLocks noChangeArrowheads="1"/>
            </p:cNvSpPr>
            <p:nvPr userDrawn="1"/>
          </p:nvSpPr>
          <p:spPr bwMode="auto">
            <a:xfrm>
              <a:off x="166811" y="4241226"/>
              <a:ext cx="8810379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676767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9" name="McK 5. Source"/>
            <p:cNvSpPr>
              <a:spLocks noChangeArrowheads="1"/>
            </p:cNvSpPr>
            <p:nvPr userDrawn="1"/>
          </p:nvSpPr>
          <p:spPr bwMode="auto">
            <a:xfrm>
              <a:off x="166811" y="4434486"/>
              <a:ext cx="8810379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269" indent="-469269" defTabSz="894184" fontAlgn="base">
                <a:spcBef>
                  <a:spcPct val="0"/>
                </a:spcBef>
                <a:spcAft>
                  <a:spcPct val="0"/>
                </a:spcAft>
                <a:tabLst>
                  <a:tab pos="474032" algn="l"/>
                </a:tabLst>
              </a:pPr>
              <a:r>
                <a:rPr lang="en-US" sz="1000" dirty="0">
                  <a:solidFill>
                    <a:srgbClr val="676767"/>
                  </a:solidFill>
                </a:rPr>
                <a:t>Source: Source</a:t>
              </a:r>
            </a:p>
          </p:txBody>
        </p:sp>
      </p:grpSp>
      <p:pic>
        <p:nvPicPr>
          <p:cNvPr id="64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943" y="480189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Rectangle 4"/>
          <p:cNvSpPr>
            <a:spLocks noChangeArrowheads="1"/>
          </p:cNvSpPr>
          <p:nvPr/>
        </p:nvSpPr>
        <p:spPr bwMode="auto">
          <a:xfrm>
            <a:off x="5575731" y="4935546"/>
            <a:ext cx="2906245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09954">
              <a:defRPr/>
            </a:pPr>
            <a:r>
              <a:rPr lang="en-US" sz="700" dirty="0">
                <a:solidFill>
                  <a:srgbClr val="676767"/>
                </a:solidFill>
                <a:cs typeface="CiscoSans Thin"/>
              </a:rPr>
              <a:t>© 2015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93438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8" r:id="rId1"/>
    <p:sldLayoutId id="2147484690" r:id="rId2"/>
    <p:sldLayoutId id="2147484691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760494" rtl="0" eaLnBrk="1" fontAlgn="base" hangingPunct="1">
        <a:spcBef>
          <a:spcPct val="0"/>
        </a:spcBef>
        <a:spcAft>
          <a:spcPct val="0"/>
        </a:spcAft>
        <a:tabLst>
          <a:tab pos="303392" algn="l"/>
        </a:tabLst>
        <a:defRPr kumimoji="1" sz="2200" b="0" baseline="0">
          <a:solidFill>
            <a:schemeClr val="tx1"/>
          </a:solidFill>
          <a:latin typeface="+mj-lt"/>
          <a:ea typeface="+mj-ea"/>
          <a:cs typeface="Arial" pitchFamily="34" charset="0"/>
        </a:defRPr>
      </a:lvl1pPr>
      <a:lvl2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2pPr>
      <a:lvl3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3pPr>
      <a:lvl4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4pPr>
      <a:lvl5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5pPr>
      <a:lvl6pPr marL="388373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6pPr>
      <a:lvl7pPr marL="776671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7pPr>
      <a:lvl8pPr marL="1165018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8pPr>
      <a:lvl9pPr marL="1553340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164510" indent="-163160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388373" indent="-222464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21831" indent="-132159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▫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6pPr>
      <a:lvl7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7pPr>
      <a:lvl8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8pPr>
      <a:lvl9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9pPr>
    </p:bodyStyle>
    <p:otherStyle>
      <a:defPPr>
        <a:defRPr lang="en-US"/>
      </a:defPPr>
      <a:lvl1pPr marL="0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8373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6671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5018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3340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1713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0037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18358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06682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0" y="25"/>
            <a:ext cx="161984" cy="121481"/>
          </a:xfrm>
          <a:prstGeom prst="rect">
            <a:avLst/>
          </a:prstGeom>
          <a:noFill/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6" y="1989514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ext styles</a:t>
            </a:r>
          </a:p>
          <a:p>
            <a:pPr lvl="1"/>
            <a:r>
              <a:rPr lang="en-US" altLang="ja-JP" noProof="0" smtClean="0"/>
              <a:t>Second level</a:t>
            </a:r>
          </a:p>
          <a:p>
            <a:pPr lvl="2"/>
            <a:r>
              <a:rPr lang="en-US" altLang="ja-JP" noProof="0" smtClean="0"/>
              <a:t>Third level</a:t>
            </a:r>
          </a:p>
          <a:p>
            <a:pPr lvl="3"/>
            <a:r>
              <a:rPr lang="en-US" altLang="ja-JP" noProof="0" smtClean="0"/>
              <a:t>Fourth level</a:t>
            </a:r>
          </a:p>
          <a:p>
            <a:pPr lvl="4"/>
            <a:r>
              <a:rPr lang="en-US" altLang="ja-JP" noProof="0" smtClean="0"/>
              <a:t>Fifth level</a:t>
            </a:r>
            <a:endParaRPr lang="en-US" altLang="ja-JP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6814" y="225957"/>
            <a:ext cx="881037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ja-JP" noProof="0" smtClean="0"/>
              <a:t>Click to edit Master title style</a:t>
            </a:r>
            <a:endParaRPr lang="en-US" altLang="ja-JP" noProof="0" dirty="0" smtClean="0"/>
          </a:p>
        </p:txBody>
      </p:sp>
      <p:sp>
        <p:nvSpPr>
          <p:cNvPr id="12" name="McK 3. Unit of measure" hidden="1"/>
          <p:cNvSpPr txBox="1">
            <a:spLocks noChangeArrowheads="1"/>
          </p:cNvSpPr>
          <p:nvPr/>
        </p:nvSpPr>
        <p:spPr bwMode="auto">
          <a:xfrm>
            <a:off x="166814" y="567123"/>
            <a:ext cx="8810379" cy="246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600" dirty="0" smtClean="0">
                <a:solidFill>
                  <a:srgbClr val="808080"/>
                </a:solidFill>
                <a:latin typeface="Arial"/>
                <a:cs typeface="Arial" pitchFamily="34" charset="0"/>
              </a:rPr>
              <a:t>Unit of measure</a:t>
            </a:r>
          </a:p>
        </p:txBody>
      </p:sp>
      <p:grpSp>
        <p:nvGrpSpPr>
          <p:cNvPr id="16" name="ACET" hidden="1"/>
          <p:cNvGrpSpPr>
            <a:grpSpLocks/>
          </p:cNvGrpSpPr>
          <p:nvPr/>
        </p:nvGrpSpPr>
        <p:grpSpPr bwMode="auto">
          <a:xfrm>
            <a:off x="2377116" y="1435560"/>
            <a:ext cx="4389768" cy="506574"/>
            <a:chOff x="915" y="613"/>
            <a:chExt cx="2686" cy="417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b="1" dirty="0">
                  <a:solidFill>
                    <a:srgbClr val="676767"/>
                  </a:solidFill>
                  <a:cs typeface="Arial" pitchFamily="34" charset="0"/>
                </a:rPr>
                <a:t>Title</a:t>
              </a:r>
            </a:p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ja-JP" sz="1600" dirty="0">
                  <a:solidFill>
                    <a:srgbClr val="808080"/>
                  </a:solidFill>
                  <a:cs typeface="Arial" pitchFamily="34" charset="0"/>
                </a:rPr>
                <a:t>Unit of measure</a:t>
              </a:r>
            </a:p>
          </p:txBody>
        </p:sp>
      </p:grpSp>
      <p:grpSp>
        <p:nvGrpSpPr>
          <p:cNvPr id="66" name="LegendBoxes" hidden="1"/>
          <p:cNvGrpSpPr/>
          <p:nvPr/>
        </p:nvGrpSpPr>
        <p:grpSpPr bwMode="auto">
          <a:xfrm>
            <a:off x="8323524" y="297015"/>
            <a:ext cx="656070" cy="874313"/>
            <a:chOff x="8336837" y="2006068"/>
            <a:chExt cx="656070" cy="874312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auto">
            <a:xfrm>
              <a:off x="8567310" y="2006068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2" name="LegendRectangle1"/>
            <p:cNvSpPr>
              <a:spLocks noChangeArrowheads="1"/>
            </p:cNvSpPr>
            <p:nvPr/>
          </p:nvSpPr>
          <p:spPr bwMode="auto">
            <a:xfrm>
              <a:off x="8336837" y="2006068"/>
              <a:ext cx="149807" cy="1463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3" name="Legend2"/>
            <p:cNvSpPr>
              <a:spLocks noChangeArrowheads="1"/>
            </p:cNvSpPr>
            <p:nvPr/>
          </p:nvSpPr>
          <p:spPr bwMode="auto">
            <a:xfrm>
              <a:off x="8567310" y="2246225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4" name="LegendRectangle2"/>
            <p:cNvSpPr>
              <a:spLocks noChangeArrowheads="1"/>
            </p:cNvSpPr>
            <p:nvPr/>
          </p:nvSpPr>
          <p:spPr bwMode="auto">
            <a:xfrm>
              <a:off x="8336837" y="2246225"/>
              <a:ext cx="149807" cy="1463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auto">
            <a:xfrm>
              <a:off x="8567310" y="2486382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6" name="LegendRectangle3"/>
            <p:cNvSpPr>
              <a:spLocks noChangeArrowheads="1"/>
            </p:cNvSpPr>
            <p:nvPr/>
          </p:nvSpPr>
          <p:spPr bwMode="auto">
            <a:xfrm>
              <a:off x="8336837" y="2486382"/>
              <a:ext cx="149807" cy="146304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27" name="Legend4"/>
            <p:cNvSpPr>
              <a:spLocks noChangeArrowheads="1"/>
            </p:cNvSpPr>
            <p:nvPr/>
          </p:nvSpPr>
          <p:spPr bwMode="auto">
            <a:xfrm>
              <a:off x="8567310" y="2726539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28" name="LegendRectangle4"/>
            <p:cNvSpPr>
              <a:spLocks noChangeArrowheads="1"/>
            </p:cNvSpPr>
            <p:nvPr/>
          </p:nvSpPr>
          <p:spPr bwMode="auto">
            <a:xfrm>
              <a:off x="8336837" y="2726539"/>
              <a:ext cx="149807" cy="146304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</p:grpSp>
      <p:grpSp>
        <p:nvGrpSpPr>
          <p:cNvPr id="71" name="LegendLines" hidden="1"/>
          <p:cNvGrpSpPr/>
          <p:nvPr/>
        </p:nvGrpSpPr>
        <p:grpSpPr bwMode="auto">
          <a:xfrm>
            <a:off x="8044074" y="297001"/>
            <a:ext cx="935518" cy="614828"/>
            <a:chOff x="8057389" y="2020564"/>
            <a:chExt cx="935518" cy="614827"/>
          </a:xfrm>
        </p:grpSpPr>
        <p:sp>
          <p:nvSpPr>
            <p:cNvPr id="30" name="LineLegend1"/>
            <p:cNvSpPr>
              <a:spLocks noChangeShapeType="1"/>
            </p:cNvSpPr>
            <p:nvPr/>
          </p:nvSpPr>
          <p:spPr bwMode="auto">
            <a:xfrm>
              <a:off x="8057389" y="2097508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3" name="Legend1"/>
            <p:cNvSpPr>
              <a:spLocks noChangeArrowheads="1"/>
            </p:cNvSpPr>
            <p:nvPr/>
          </p:nvSpPr>
          <p:spPr bwMode="auto">
            <a:xfrm>
              <a:off x="8567310" y="2020564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31" name="LineLegend2"/>
            <p:cNvSpPr>
              <a:spLocks noChangeShapeType="1"/>
            </p:cNvSpPr>
            <p:nvPr/>
          </p:nvSpPr>
          <p:spPr bwMode="auto">
            <a:xfrm>
              <a:off x="8057389" y="2328001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4" name="Legend2"/>
            <p:cNvSpPr>
              <a:spLocks noChangeArrowheads="1"/>
            </p:cNvSpPr>
            <p:nvPr/>
          </p:nvSpPr>
          <p:spPr bwMode="auto">
            <a:xfrm>
              <a:off x="8567310" y="2251057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sp>
          <p:nvSpPr>
            <p:cNvPr id="32" name="LineLegend3"/>
            <p:cNvSpPr>
              <a:spLocks noChangeShapeType="1"/>
            </p:cNvSpPr>
            <p:nvPr/>
          </p:nvSpPr>
          <p:spPr bwMode="auto">
            <a:xfrm>
              <a:off x="8057389" y="2558494"/>
              <a:ext cx="414851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3214" fontAlgn="base">
                <a:spcBef>
                  <a:spcPct val="0"/>
                </a:spcBef>
                <a:spcAft>
                  <a:spcPct val="0"/>
                </a:spcAft>
              </a:pPr>
              <a:endParaRPr lang="en-US" altLang="ja-JP" sz="1000" dirty="0">
                <a:solidFill>
                  <a:srgbClr val="676767"/>
                </a:solidFill>
              </a:endParaRPr>
            </a:p>
          </p:txBody>
        </p:sp>
        <p:sp>
          <p:nvSpPr>
            <p:cNvPr id="35" name="Legend3"/>
            <p:cNvSpPr>
              <a:spLocks noChangeArrowheads="1"/>
            </p:cNvSpPr>
            <p:nvPr/>
          </p:nvSpPr>
          <p:spPr bwMode="auto">
            <a:xfrm>
              <a:off x="8567310" y="2481550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</p:grpSp>
      <p:grpSp>
        <p:nvGrpSpPr>
          <p:cNvPr id="36" name="McKSticker" hidden="1"/>
          <p:cNvGrpSpPr/>
          <p:nvPr/>
        </p:nvGrpSpPr>
        <p:grpSpPr bwMode="auto">
          <a:xfrm>
            <a:off x="8082365" y="297001"/>
            <a:ext cx="894925" cy="181588"/>
            <a:chOff x="7754493" y="285750"/>
            <a:chExt cx="986282" cy="237304"/>
          </a:xfrm>
        </p:grpSpPr>
        <p:sp>
          <p:nvSpPr>
            <p:cNvPr id="37" name="StickerRectangle"/>
            <p:cNvSpPr>
              <a:spLocks noChangeArrowheads="1"/>
            </p:cNvSpPr>
            <p:nvPr/>
          </p:nvSpPr>
          <p:spPr bwMode="auto">
            <a:xfrm>
              <a:off x="7754493" y="285750"/>
              <a:ext cx="986282" cy="23730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8" name="AutoShape 31"/>
            <p:cNvCxnSpPr>
              <a:cxnSpLocks noChangeShapeType="1"/>
              <a:stCxn id="37" idx="2"/>
              <a:endCxn id="37" idx="4"/>
            </p:cNvCxnSpPr>
            <p:nvPr/>
          </p:nvCxnSpPr>
          <p:spPr bwMode="auto">
            <a:xfrm>
              <a:off x="7754493" y="285750"/>
              <a:ext cx="0" cy="23730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AutoShape 32"/>
            <p:cNvCxnSpPr>
              <a:cxnSpLocks noChangeShapeType="1"/>
              <a:stCxn id="37" idx="4"/>
              <a:endCxn id="37" idx="6"/>
            </p:cNvCxnSpPr>
            <p:nvPr/>
          </p:nvCxnSpPr>
          <p:spPr bwMode="auto">
            <a:xfrm>
              <a:off x="7754493" y="523054"/>
              <a:ext cx="98628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2" name="LegendMoons" hidden="1"/>
          <p:cNvGrpSpPr/>
          <p:nvPr/>
        </p:nvGrpSpPr>
        <p:grpSpPr bwMode="auto">
          <a:xfrm>
            <a:off x="8277315" y="297022"/>
            <a:ext cx="702280" cy="1104851"/>
            <a:chOff x="6915362" y="2006068"/>
            <a:chExt cx="702280" cy="1104851"/>
          </a:xfrm>
        </p:grpSpPr>
        <p:sp>
          <p:nvSpPr>
            <p:cNvPr id="44" name="Legend1"/>
            <p:cNvSpPr>
              <a:spLocks noChangeArrowheads="1"/>
            </p:cNvSpPr>
            <p:nvPr userDrawn="1"/>
          </p:nvSpPr>
          <p:spPr bwMode="auto">
            <a:xfrm>
              <a:off x="7192045" y="2020564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49" name="MoonLegend1"/>
            <p:cNvGrpSpPr>
              <a:grpSpLocks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6915362" y="2006068"/>
              <a:ext cx="182880" cy="182880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5" name="Legend2"/>
            <p:cNvSpPr>
              <a:spLocks noChangeArrowheads="1"/>
            </p:cNvSpPr>
            <p:nvPr userDrawn="1"/>
          </p:nvSpPr>
          <p:spPr bwMode="auto">
            <a:xfrm>
              <a:off x="7192045" y="2251057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0" name="MoonLegend2"/>
            <p:cNvGrpSpPr>
              <a:grpSpLocks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6915362" y="2236561"/>
              <a:ext cx="182880" cy="182880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6" name="Legend3"/>
            <p:cNvSpPr>
              <a:spLocks noChangeArrowheads="1"/>
            </p:cNvSpPr>
            <p:nvPr userDrawn="1"/>
          </p:nvSpPr>
          <p:spPr bwMode="auto">
            <a:xfrm>
              <a:off x="7192045" y="2481550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1" name="MoonLegend3"/>
            <p:cNvGrpSpPr>
              <a:grpSpLocks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6915362" y="2467054"/>
              <a:ext cx="182880" cy="182880"/>
              <a:chOff x="1694" y="2044"/>
              <a:chExt cx="160" cy="160"/>
            </a:xfrm>
          </p:grpSpPr>
          <p:sp>
            <p:nvSpPr>
              <p:cNvPr id="58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9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7" name="Legend4"/>
            <p:cNvSpPr>
              <a:spLocks noChangeArrowheads="1"/>
            </p:cNvSpPr>
            <p:nvPr userDrawn="1"/>
          </p:nvSpPr>
          <p:spPr bwMode="auto">
            <a:xfrm>
              <a:off x="7192045" y="2712043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2" name="MoonLegend4"/>
            <p:cNvGrpSpPr>
              <a:grpSpLocks/>
            </p:cNvGrpSpPr>
            <p:nvPr userDrawn="1">
              <p:custDataLst>
                <p:tags r:id="rId8"/>
              </p:custDataLst>
            </p:nvPr>
          </p:nvGrpSpPr>
          <p:grpSpPr bwMode="auto">
            <a:xfrm>
              <a:off x="6915362" y="2697547"/>
              <a:ext cx="182880" cy="182880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  <p:sp>
          <p:nvSpPr>
            <p:cNvPr id="48" name="Legend5"/>
            <p:cNvSpPr>
              <a:spLocks noChangeArrowheads="1"/>
            </p:cNvSpPr>
            <p:nvPr userDrawn="1"/>
          </p:nvSpPr>
          <p:spPr bwMode="auto">
            <a:xfrm>
              <a:off x="7192045" y="2942535"/>
              <a:ext cx="425597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60494" fontAlgn="base">
                <a:spcBef>
                  <a:spcPct val="0"/>
                </a:spcBef>
                <a:spcAft>
                  <a:spcPct val="0"/>
                </a:spcAft>
                <a:buClr>
                  <a:srgbClr val="2968AF"/>
                </a:buClr>
              </a:pPr>
              <a:r>
                <a:rPr lang="en-US" altLang="ja-JP" sz="1000" dirty="0">
                  <a:solidFill>
                    <a:srgbClr val="676767"/>
                  </a:solidFill>
                </a:rPr>
                <a:t>Legend</a:t>
              </a:r>
            </a:p>
          </p:txBody>
        </p:sp>
        <p:grpSp>
          <p:nvGrpSpPr>
            <p:cNvPr id="53" name="MoonLegend5"/>
            <p:cNvGrpSpPr>
              <a:grpSpLocks/>
            </p:cNvGrpSpPr>
            <p:nvPr userDrawn="1">
              <p:custDataLst>
                <p:tags r:id="rId9"/>
              </p:custDataLst>
            </p:nvPr>
          </p:nvGrpSpPr>
          <p:grpSpPr bwMode="auto">
            <a:xfrm>
              <a:off x="6915362" y="2928039"/>
              <a:ext cx="182880" cy="182880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>
                <a:noAutofit/>
              </a:bodyPr>
              <a:lstStyle/>
              <a:p>
                <a:pPr defTabSz="913214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altLang="ja-JP" sz="1000" dirty="0">
                  <a:solidFill>
                    <a:srgbClr val="676767"/>
                  </a:solidFill>
                </a:endParaRPr>
              </a:p>
            </p:txBody>
          </p:sp>
        </p:grpSp>
      </p:grpSp>
      <p:sp>
        <p:nvSpPr>
          <p:cNvPr id="11" name="McK 1. On-page tracker" hidden="1"/>
          <p:cNvSpPr>
            <a:spLocks noChangeArrowheads="1"/>
          </p:cNvSpPr>
          <p:nvPr/>
        </p:nvSpPr>
        <p:spPr bwMode="auto">
          <a:xfrm>
            <a:off x="166814" y="7915"/>
            <a:ext cx="872835" cy="219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3214" fontAlgn="base">
              <a:spcBef>
                <a:spcPct val="0"/>
              </a:spcBef>
              <a:spcAft>
                <a:spcPct val="0"/>
              </a:spcAft>
            </a:pPr>
            <a:r>
              <a:rPr lang="en-US" altLang="ja-JP" sz="1400" dirty="0">
                <a:solidFill>
                  <a:srgbClr val="808080"/>
                </a:solidFill>
                <a:cs typeface="Arial" pitchFamily="34" charset="0"/>
              </a:rPr>
              <a:t>TRACKER</a:t>
            </a:r>
          </a:p>
        </p:txBody>
      </p:sp>
      <p:sp>
        <p:nvSpPr>
          <p:cNvPr id="67" name="TextBox 66"/>
          <p:cNvSpPr txBox="1">
            <a:spLocks/>
          </p:cNvSpPr>
          <p:nvPr/>
        </p:nvSpPr>
        <p:spPr bwMode="auto">
          <a:xfrm>
            <a:off x="8663149" y="4935545"/>
            <a:ext cx="110608" cy="10772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Arial" pitchFamily="34" charset="0"/>
                <a:ea typeface="MS PGothic" pitchFamily="34" charset="-128"/>
                <a:cs typeface="Arial" pitchFamily="34" charset="0"/>
              </a:defRPr>
            </a:lvl1pPr>
          </a:lstStyle>
          <a:p>
            <a:pPr algn="r" defTabSz="913214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altLang="ja-JP" sz="700" smtClean="0">
                <a:solidFill>
                  <a:srgbClr val="676767"/>
                </a:solidFill>
                <a:latin typeface="Arial"/>
                <a:ea typeface="ＭＳ Ｐゴシック"/>
              </a:rPr>
              <a:pPr algn="r" defTabSz="91321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sz="700" dirty="0">
              <a:solidFill>
                <a:srgbClr val="676767"/>
              </a:solidFill>
              <a:latin typeface="Arial"/>
              <a:ea typeface="ＭＳ Ｐゴシック"/>
            </a:endParaRPr>
          </a:p>
        </p:txBody>
      </p:sp>
      <p:grpSp>
        <p:nvGrpSpPr>
          <p:cNvPr id="3" name="McK Slide Elements" hidden="1"/>
          <p:cNvGrpSpPr/>
          <p:nvPr/>
        </p:nvGrpSpPr>
        <p:grpSpPr bwMode="auto">
          <a:xfrm>
            <a:off x="166814" y="4428739"/>
            <a:ext cx="8810379" cy="347102"/>
            <a:chOff x="166811" y="4241226"/>
            <a:chExt cx="8810379" cy="347101"/>
          </a:xfrm>
        </p:grpSpPr>
        <p:sp>
          <p:nvSpPr>
            <p:cNvPr id="68" name="McK 4. Footnote"/>
            <p:cNvSpPr txBox="1">
              <a:spLocks noChangeArrowheads="1"/>
            </p:cNvSpPr>
            <p:nvPr userDrawn="1"/>
          </p:nvSpPr>
          <p:spPr bwMode="auto">
            <a:xfrm>
              <a:off x="166811" y="4241226"/>
              <a:ext cx="8810379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676767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9" name="McK 5. Source"/>
            <p:cNvSpPr>
              <a:spLocks noChangeArrowheads="1"/>
            </p:cNvSpPr>
            <p:nvPr userDrawn="1"/>
          </p:nvSpPr>
          <p:spPr bwMode="auto">
            <a:xfrm>
              <a:off x="166811" y="4434486"/>
              <a:ext cx="8810379" cy="1538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269" indent="-469269" defTabSz="894184" fontAlgn="base">
                <a:spcBef>
                  <a:spcPct val="0"/>
                </a:spcBef>
                <a:spcAft>
                  <a:spcPct val="0"/>
                </a:spcAft>
                <a:tabLst>
                  <a:tab pos="474032" algn="l"/>
                </a:tabLst>
              </a:pPr>
              <a:r>
                <a:rPr lang="en-US" sz="1000" dirty="0">
                  <a:solidFill>
                    <a:srgbClr val="676767"/>
                  </a:solidFill>
                </a:rPr>
                <a:t>Source: Source</a:t>
              </a:r>
            </a:p>
          </p:txBody>
        </p:sp>
      </p:grpSp>
      <p:pic>
        <p:nvPicPr>
          <p:cNvPr id="64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943" y="4801897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Rectangle 4"/>
          <p:cNvSpPr>
            <a:spLocks noChangeArrowheads="1"/>
          </p:cNvSpPr>
          <p:nvPr/>
        </p:nvSpPr>
        <p:spPr bwMode="auto">
          <a:xfrm>
            <a:off x="5575731" y="4935546"/>
            <a:ext cx="2906245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09954">
              <a:defRPr/>
            </a:pPr>
            <a:r>
              <a:rPr lang="en-US" sz="700" dirty="0">
                <a:solidFill>
                  <a:srgbClr val="676767"/>
                </a:solidFill>
                <a:cs typeface="CiscoSans Thin"/>
              </a:rPr>
              <a:t>© 2015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4828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3" r:id="rId1"/>
    <p:sldLayoutId id="2147484695" r:id="rId2"/>
    <p:sldLayoutId id="2147484696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760494" rtl="0" eaLnBrk="1" fontAlgn="base" hangingPunct="1">
        <a:spcBef>
          <a:spcPct val="0"/>
        </a:spcBef>
        <a:spcAft>
          <a:spcPct val="0"/>
        </a:spcAft>
        <a:tabLst>
          <a:tab pos="303392" algn="l"/>
        </a:tabLst>
        <a:defRPr kumimoji="1" sz="2200" b="0" baseline="0">
          <a:solidFill>
            <a:schemeClr val="tx1"/>
          </a:solidFill>
          <a:latin typeface="+mj-lt"/>
          <a:ea typeface="+mj-ea"/>
          <a:cs typeface="Arial" pitchFamily="34" charset="0"/>
        </a:defRPr>
      </a:lvl1pPr>
      <a:lvl2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2pPr>
      <a:lvl3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3pPr>
      <a:lvl4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4pPr>
      <a:lvl5pPr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5pPr>
      <a:lvl6pPr marL="388373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6pPr>
      <a:lvl7pPr marL="776671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7pPr>
      <a:lvl8pPr marL="1165018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8pPr>
      <a:lvl9pPr marL="1553340" algn="l" defTabSz="760494" rtl="0" eaLnBrk="1" fontAlgn="base" hangingPunct="1">
        <a:spcBef>
          <a:spcPct val="0"/>
        </a:spcBef>
        <a:spcAft>
          <a:spcPct val="0"/>
        </a:spcAft>
        <a:defRPr kumimoji="1" sz="16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164510" indent="-163160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▪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2pPr>
      <a:lvl3pPr marL="388373" indent="-222464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521831" indent="-132159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▫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600" baseline="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6pPr>
      <a:lvl7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7pPr>
      <a:lvl8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8pPr>
      <a:lvl9pPr marL="636870" indent="-110558" algn="l" defTabSz="76049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kumimoji="1" sz="1400">
          <a:solidFill>
            <a:schemeClr val="tx1"/>
          </a:solidFill>
          <a:latin typeface="+mn-lt"/>
          <a:ea typeface="MS PGothic" pitchFamily="34" charset="-128"/>
        </a:defRPr>
      </a:lvl9pPr>
    </p:bodyStyle>
    <p:otherStyle>
      <a:defPPr>
        <a:defRPr lang="en-US"/>
      </a:defPPr>
      <a:lvl1pPr marL="0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8373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6671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5018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3340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1713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0037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18358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06682" algn="l" defTabSz="776671" rtl="0" eaLnBrk="1" latinLnBrk="0" hangingPunct="1"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8150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0" tIns="45690" rIns="91380" bIns="4569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/>
              <a:t>Title Goes Here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708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53" tIns="30791" rIns="61553" bIns="30791" anchor="b">
            <a:spAutoFit/>
          </a:bodyPr>
          <a:lstStyle/>
          <a:p>
            <a:pPr algn="r" defTabSz="610414">
              <a:defRPr/>
            </a:pPr>
            <a:fld id="{6A1E46DC-7EF6-4EA2-B285-14272867D133}" type="slidenum">
              <a:rPr lang="en-US" sz="600">
                <a:solidFill>
                  <a:srgbClr val="000000">
                    <a:alpha val="25000"/>
                  </a:srgbClr>
                </a:solidFill>
                <a:ea typeface="ＭＳ Ｐゴシック" pitchFamily="34" charset="-128"/>
                <a:cs typeface="CiscoSans Thin"/>
              </a:rPr>
              <a:pPr algn="r" defTabSz="61041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ea typeface="ＭＳ Ｐゴシック" pitchFamily="34" charset="-128"/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53" tIns="30791" rIns="61553" bIns="30791" anchor="b">
            <a:spAutoFit/>
          </a:bodyPr>
          <a:lstStyle/>
          <a:p>
            <a:pPr defTabSz="61041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ea typeface="ＭＳ Ｐゴシック" pitchFamily="34" charset="-128"/>
                <a:cs typeface="CiscoSans Thin"/>
              </a:rPr>
              <a:t>© 2016  Cisco and/or its affiliates. All rights reserved.   Cisco Confidential</a:t>
            </a:r>
          </a:p>
        </p:txBody>
      </p:sp>
      <p:pic>
        <p:nvPicPr>
          <p:cNvPr id="1029" name="Picture 2"/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52718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8" r:id="rId1"/>
    <p:sldLayoutId id="2147484699" r:id="rId2"/>
    <p:sldLayoutId id="2147484700" r:id="rId3"/>
    <p:sldLayoutId id="2147484701" r:id="rId4"/>
    <p:sldLayoutId id="2147484702" r:id="rId5"/>
    <p:sldLayoutId id="2147484703" r:id="rId6"/>
    <p:sldLayoutId id="2147484704" r:id="rId7"/>
    <p:sldLayoutId id="2147484705" r:id="rId8"/>
    <p:sldLayoutId id="2147484706" r:id="rId9"/>
    <p:sldLayoutId id="2147484707" r:id="rId10"/>
    <p:sldLayoutId id="2147484708" r:id="rId11"/>
    <p:sldLayoutId id="2147484709" r:id="rId12"/>
    <p:sldLayoutId id="2147484710" r:id="rId13"/>
    <p:sldLayoutId id="2147484711" r:id="rId14"/>
    <p:sldLayoutId id="2147484712" r:id="rId15"/>
    <p:sldLayoutId id="2147484713" r:id="rId16"/>
    <p:sldLayoutId id="2147484714" r:id="rId17"/>
    <p:sldLayoutId id="2147484715" r:id="rId18"/>
    <p:sldLayoutId id="2147484716" r:id="rId19"/>
    <p:sldLayoutId id="2147484717" r:id="rId20"/>
    <p:sldLayoutId id="2147484718" r:id="rId21"/>
    <p:sldLayoutId id="2147484719" r:id="rId22"/>
    <p:sldLayoutId id="2147484720" r:id="rId23"/>
    <p:sldLayoutId id="2147484721" r:id="rId24"/>
    <p:sldLayoutId id="2147484722" r:id="rId25"/>
    <p:sldLayoutId id="2147484723" r:id="rId26"/>
    <p:sldLayoutId id="2147484724" r:id="rId27"/>
    <p:sldLayoutId id="2147484725" r:id="rId28"/>
    <p:sldLayoutId id="2147484726" r:id="rId29"/>
    <p:sldLayoutId id="2147484727" r:id="rId30"/>
    <p:sldLayoutId id="2147484728" r:id="rId31"/>
    <p:sldLayoutId id="2147484729" r:id="rId32"/>
    <p:sldLayoutId id="2147484730" r:id="rId33"/>
    <p:sldLayoutId id="2147484731" r:id="rId34"/>
    <p:sldLayoutId id="2147484732" r:id="rId35"/>
  </p:sldLayoutIdLst>
  <p:transition spd="slow">
    <p:wipe/>
  </p:transition>
  <p:txStyles>
    <p:titleStyle>
      <a:lvl1pPr algn="l" defTabSz="6838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chemeClr val="tx2"/>
          </a:solidFill>
          <a:latin typeface="+mj-lt"/>
          <a:ea typeface="ＭＳ Ｐゴシック" charset="0"/>
          <a:cs typeface="CiscoSans"/>
        </a:defRPr>
      </a:lvl1pPr>
      <a:lvl2pPr algn="l" defTabSz="6838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2pPr>
      <a:lvl3pPr algn="l" defTabSz="6838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3pPr>
      <a:lvl4pPr algn="l" defTabSz="6838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4pPr>
      <a:lvl5pPr algn="l" defTabSz="6838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  <a:cs typeface="CiscoSans" pitchFamily="34" charset="0"/>
        </a:defRPr>
      </a:lvl5pPr>
      <a:lvl6pPr marL="456938" algn="l" defTabSz="6838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3905" algn="l" defTabSz="6838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0852" algn="l" defTabSz="6838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7809" algn="l" defTabSz="6838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775" indent="-169775" algn="l" defTabSz="683839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577" indent="-215768" algn="l" defTabSz="683839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568" indent="-169775" algn="l" defTabSz="683839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2973" indent="-169775" algn="l" defTabSz="683839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367" indent="-169775" algn="l" defTabSz="683839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393" indent="-171357" algn="l" defTabSz="685403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318" indent="-171334" algn="l" defTabSz="685403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398900" indent="0" algn="l" defTabSz="685403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2969" indent="-171357" algn="l" defTabSz="68540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689" algn="l" defTabSz="685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03" algn="l" defTabSz="685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103" algn="l" defTabSz="685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807" algn="l" defTabSz="685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515" algn="l" defTabSz="685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210" algn="l" defTabSz="685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8900" algn="l" defTabSz="685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594" algn="l" defTabSz="685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3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0" tIns="45690" rIns="91380" bIns="4569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Title Goes Here</a:t>
            </a:r>
            <a:endParaRPr lang="en-GB" dirty="0"/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ltGray">
          <a:xfrm>
            <a:off x="8515708" y="4742907"/>
            <a:ext cx="218414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53" tIns="30791" rIns="61553" bIns="30791" anchor="b">
            <a:spAutoFit/>
          </a:bodyPr>
          <a:lstStyle/>
          <a:p>
            <a:pPr algn="r" defTabSz="610414">
              <a:defRPr/>
            </a:pPr>
            <a:fld id="{4ABDCABE-3F10-B64C-92F1-862014417034}" type="slidenum">
              <a:rPr lang="en-US" sz="600">
                <a:solidFill>
                  <a:srgbClr val="000000">
                    <a:alpha val="25000"/>
                  </a:srgbClr>
                </a:solidFill>
                <a:cs typeface="CiscoSans Thin"/>
              </a:rPr>
              <a:pPr algn="r" defTabSz="610414">
                <a:defRPr/>
              </a:pPr>
              <a:t>‹#›</a:t>
            </a:fld>
            <a:endParaRPr lang="en-US" sz="600" dirty="0">
              <a:solidFill>
                <a:srgbClr val="000000">
                  <a:alpha val="25000"/>
                </a:srgbClr>
              </a:solidFill>
              <a:cs typeface="CiscoSans Thin"/>
            </a:endParaRP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53" tIns="30791" rIns="61553" bIns="30791" anchor="b">
            <a:spAutoFit/>
          </a:bodyPr>
          <a:lstStyle/>
          <a:p>
            <a:pPr defTabSz="610414">
              <a:defRPr/>
            </a:pPr>
            <a:r>
              <a:rPr lang="en-US" sz="600" dirty="0">
                <a:solidFill>
                  <a:srgbClr val="000000">
                    <a:alpha val="25000"/>
                  </a:srgbClr>
                </a:solidFill>
                <a:cs typeface="CiscoSans Thin"/>
              </a:rPr>
              <a:t>© 2014  Cisco and/or its affiliates. All rights reserved.   Cisco Confidential</a:t>
            </a:r>
          </a:p>
        </p:txBody>
      </p:sp>
      <p:pic>
        <p:nvPicPr>
          <p:cNvPr id="7" name="Picture 2" descr="C:\Users\spius\Pictures\cisco logo blue gradient.png"/>
          <p:cNvPicPr>
            <a:picLocks noChangeAspect="1" noChangeArrowheads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175" y="4625773"/>
            <a:ext cx="431312" cy="26517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9646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4" r:id="rId1"/>
    <p:sldLayoutId id="2147484735" r:id="rId2"/>
    <p:sldLayoutId id="2147484736" r:id="rId3"/>
    <p:sldLayoutId id="2147484737" r:id="rId4"/>
    <p:sldLayoutId id="2147484738" r:id="rId5"/>
    <p:sldLayoutId id="2147484739" r:id="rId6"/>
    <p:sldLayoutId id="2147484740" r:id="rId7"/>
    <p:sldLayoutId id="2147484741" r:id="rId8"/>
    <p:sldLayoutId id="2147484742" r:id="rId9"/>
    <p:sldLayoutId id="2147484743" r:id="rId10"/>
    <p:sldLayoutId id="2147484744" r:id="rId11"/>
    <p:sldLayoutId id="2147484745" r:id="rId12"/>
    <p:sldLayoutId id="2147484746" r:id="rId13"/>
    <p:sldLayoutId id="2147484747" r:id="rId14"/>
    <p:sldLayoutId id="2147484748" r:id="rId15"/>
    <p:sldLayoutId id="2147484749" r:id="rId16"/>
    <p:sldLayoutId id="2147484750" r:id="rId17"/>
    <p:sldLayoutId id="2147484751" r:id="rId18"/>
    <p:sldLayoutId id="2147484752" r:id="rId19"/>
    <p:sldLayoutId id="2147484753" r:id="rId20"/>
    <p:sldLayoutId id="2147484754" r:id="rId21"/>
    <p:sldLayoutId id="2147484755" r:id="rId22"/>
    <p:sldLayoutId id="2147484756" r:id="rId23"/>
    <p:sldLayoutId id="2147484757" r:id="rId24"/>
    <p:sldLayoutId id="2147484758" r:id="rId25"/>
    <p:sldLayoutId id="2147484759" r:id="rId26"/>
    <p:sldLayoutId id="2147484760" r:id="rId27"/>
    <p:sldLayoutId id="2147484761" r:id="rId28"/>
    <p:sldLayoutId id="2147484762" r:id="rId29"/>
    <p:sldLayoutId id="2147484763" r:id="rId30"/>
    <p:sldLayoutId id="2147484764" r:id="rId31"/>
    <p:sldLayoutId id="2147484765" r:id="rId32"/>
    <p:sldLayoutId id="2147484766" r:id="rId33"/>
    <p:sldLayoutId id="2147484767" r:id="rId34"/>
    <p:sldLayoutId id="2147484768" r:id="rId35"/>
  </p:sldLayoutIdLst>
  <p:transition spd="slow">
    <p:wipe/>
  </p:transition>
  <p:timing>
    <p:tnLst>
      <p:par>
        <p:cTn id="1" dur="indefinite" restart="never" nodeType="tmRoot"/>
      </p:par>
    </p:tnLst>
  </p:timing>
  <p:txStyles>
    <p:titleStyle>
      <a:lvl1pPr algn="l" defTabSz="6838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200" kern="1200" dirty="0">
          <a:solidFill>
            <a:srgbClr val="676767"/>
          </a:solidFill>
          <a:latin typeface="+mj-lt"/>
          <a:ea typeface="ＭＳ Ｐゴシック" charset="0"/>
          <a:cs typeface="CiscoSans"/>
        </a:defRPr>
      </a:lvl1pPr>
      <a:lvl2pPr algn="l" defTabSz="6838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38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38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38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6938" algn="l" defTabSz="6838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3905" algn="l" defTabSz="6838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0852" algn="l" defTabSz="6838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7809" algn="l" defTabSz="6838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775" indent="-169775" algn="l" defTabSz="683839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577" indent="-215768" algn="l" defTabSz="683839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568" indent="-169775" algn="l" defTabSz="683839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2973" indent="-169775" algn="l" defTabSz="683839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367" indent="-169775" algn="l" defTabSz="683839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393" indent="-171357" algn="l" defTabSz="685403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318" indent="-171334" algn="l" defTabSz="685403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398900" indent="0" algn="l" defTabSz="685403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2969" indent="-171357" algn="l" defTabSz="68540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689" algn="l" defTabSz="685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03" algn="l" defTabSz="685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103" algn="l" defTabSz="685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807" algn="l" defTabSz="685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515" algn="l" defTabSz="685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210" algn="l" defTabSz="685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8900" algn="l" defTabSz="685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594" algn="l" defTabSz="68540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4" Type="http://schemas.openxmlformats.org/officeDocument/2006/relationships/image" Target="../media/image89.png"/><Relationship Id="rId5" Type="http://schemas.openxmlformats.org/officeDocument/2006/relationships/image" Target="../media/image90.png"/><Relationship Id="rId6" Type="http://schemas.openxmlformats.org/officeDocument/2006/relationships/image" Target="../media/image91.png"/><Relationship Id="rId7" Type="http://schemas.openxmlformats.org/officeDocument/2006/relationships/image" Target="../media/image92.png"/><Relationship Id="rId8" Type="http://schemas.openxmlformats.org/officeDocument/2006/relationships/image" Target="../media/image93.png"/><Relationship Id="rId9" Type="http://schemas.openxmlformats.org/officeDocument/2006/relationships/image" Target="../media/image94.png"/><Relationship Id="rId1" Type="http://schemas.openxmlformats.org/officeDocument/2006/relationships/slideLayout" Target="../slideLayouts/slideLayout805.xml"/><Relationship Id="rId2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0.xml"/><Relationship Id="rId2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5.xml"/><Relationship Id="rId2" Type="http://schemas.openxmlformats.org/officeDocument/2006/relationships/image" Target="../media/image9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4" Type="http://schemas.openxmlformats.org/officeDocument/2006/relationships/image" Target="../media/image97.png"/><Relationship Id="rId5" Type="http://schemas.openxmlformats.org/officeDocument/2006/relationships/image" Target="../media/image98.png"/><Relationship Id="rId1" Type="http://schemas.openxmlformats.org/officeDocument/2006/relationships/slideLayout" Target="../slideLayouts/slideLayout539.xml"/><Relationship Id="rId2" Type="http://schemas.openxmlformats.org/officeDocument/2006/relationships/notesSlide" Target="../notesSlides/notesSlide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9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6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4" Type="http://schemas.openxmlformats.org/officeDocument/2006/relationships/image" Target="../media/image100.png"/><Relationship Id="rId5" Type="http://schemas.openxmlformats.org/officeDocument/2006/relationships/image" Target="../media/image101.emf"/><Relationship Id="rId6" Type="http://schemas.openxmlformats.org/officeDocument/2006/relationships/image" Target="../media/image102.png"/><Relationship Id="rId7" Type="http://schemas.openxmlformats.org/officeDocument/2006/relationships/image" Target="../media/image103.png"/><Relationship Id="rId1" Type="http://schemas.openxmlformats.org/officeDocument/2006/relationships/slideLayout" Target="../slideLayouts/slideLayout535.xml"/><Relationship Id="rId2" Type="http://schemas.openxmlformats.org/officeDocument/2006/relationships/notesSlide" Target="../notesSlides/notesSlide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4" Type="http://schemas.openxmlformats.org/officeDocument/2006/relationships/image" Target="../media/image105.png"/><Relationship Id="rId5" Type="http://schemas.openxmlformats.org/officeDocument/2006/relationships/image" Target="../media/image106.png"/><Relationship Id="rId1" Type="http://schemas.openxmlformats.org/officeDocument/2006/relationships/slideLayout" Target="../slideLayouts/slideLayout535.xml"/><Relationship Id="rId2" Type="http://schemas.openxmlformats.org/officeDocument/2006/relationships/notesSlide" Target="../notesSlides/notesSlide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4" Type="http://schemas.openxmlformats.org/officeDocument/2006/relationships/image" Target="../media/image68.png"/><Relationship Id="rId5" Type="http://schemas.openxmlformats.org/officeDocument/2006/relationships/image" Target="../media/image69.png"/><Relationship Id="rId6" Type="http://schemas.openxmlformats.org/officeDocument/2006/relationships/image" Target="../media/image70.png"/><Relationship Id="rId7" Type="http://schemas.openxmlformats.org/officeDocument/2006/relationships/image" Target="../media/image71.png"/><Relationship Id="rId8" Type="http://schemas.openxmlformats.org/officeDocument/2006/relationships/image" Target="../media/image72.jpeg"/><Relationship Id="rId9" Type="http://schemas.openxmlformats.org/officeDocument/2006/relationships/image" Target="../media/image73.jpeg"/><Relationship Id="rId10" Type="http://schemas.openxmlformats.org/officeDocument/2006/relationships/image" Target="../media/image74.jpeg"/><Relationship Id="rId1" Type="http://schemas.openxmlformats.org/officeDocument/2006/relationships/slideLayout" Target="../slideLayouts/slideLayout425.xml"/><Relationship Id="rId2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5.xml"/><Relationship Id="rId2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4" Type="http://schemas.openxmlformats.org/officeDocument/2006/relationships/image" Target="../media/image76.jpeg"/><Relationship Id="rId5" Type="http://schemas.openxmlformats.org/officeDocument/2006/relationships/image" Target="../media/image77.jpeg"/><Relationship Id="rId1" Type="http://schemas.openxmlformats.org/officeDocument/2006/relationships/slideLayout" Target="../slideLayouts/slideLayout785.xml"/><Relationship Id="rId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4" Type="http://schemas.openxmlformats.org/officeDocument/2006/relationships/image" Target="../media/image79.png"/><Relationship Id="rId1" Type="http://schemas.openxmlformats.org/officeDocument/2006/relationships/slideLayout" Target="../slideLayouts/slideLayout838.xml"/><Relationship Id="rId2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emf"/><Relationship Id="rId4" Type="http://schemas.openxmlformats.org/officeDocument/2006/relationships/image" Target="../media/image81.jpg"/><Relationship Id="rId5" Type="http://schemas.openxmlformats.org/officeDocument/2006/relationships/image" Target="../media/image82.png"/><Relationship Id="rId1" Type="http://schemas.openxmlformats.org/officeDocument/2006/relationships/slideLayout" Target="../slideLayouts/slideLayout805.xml"/><Relationship Id="rId2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5.xml"/><Relationship Id="rId2" Type="http://schemas.openxmlformats.org/officeDocument/2006/relationships/image" Target="../media/image8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emf"/><Relationship Id="rId4" Type="http://schemas.openxmlformats.org/officeDocument/2006/relationships/image" Target="../media/image84.png"/><Relationship Id="rId5" Type="http://schemas.openxmlformats.org/officeDocument/2006/relationships/image" Target="../media/image85.png"/><Relationship Id="rId1" Type="http://schemas.openxmlformats.org/officeDocument/2006/relationships/slideLayout" Target="../slideLayouts/slideLayout805.xml"/><Relationship Id="rId2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emf"/><Relationship Id="rId4" Type="http://schemas.openxmlformats.org/officeDocument/2006/relationships/image" Target="../media/image86.png"/><Relationship Id="rId5" Type="http://schemas.openxmlformats.org/officeDocument/2006/relationships/image" Target="../media/image87.png"/><Relationship Id="rId6" Type="http://schemas.openxmlformats.org/officeDocument/2006/relationships/image" Target="../media/image88.png"/><Relationship Id="rId1" Type="http://schemas.openxmlformats.org/officeDocument/2006/relationships/slideLayout" Target="../slideLayouts/slideLayout805.xml"/><Relationship Id="rId2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24216" y="485103"/>
            <a:ext cx="7564916" cy="2569946"/>
          </a:xfrm>
        </p:spPr>
        <p:txBody>
          <a:bodyPr/>
          <a:lstStyle/>
          <a:p>
            <a:r>
              <a:rPr lang="en-US" dirty="0" smtClean="0"/>
              <a:t>Wireless in </a:t>
            </a:r>
            <a:r>
              <a:rPr lang="en-US" smtClean="0"/>
              <a:t>High Density Environment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4294967295"/>
          </p:nvPr>
        </p:nvSpPr>
        <p:spPr>
          <a:xfrm>
            <a:off x="371849" y="3577387"/>
            <a:ext cx="8296275" cy="492443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  <a:latin typeface="Arial" charset="0"/>
              </a:rPr>
              <a:t>Carlos </a:t>
            </a:r>
            <a:r>
              <a:rPr lang="en-US" dirty="0" err="1" smtClean="0">
                <a:solidFill>
                  <a:schemeClr val="bg1"/>
                </a:solidFill>
                <a:latin typeface="Arial" charset="0"/>
              </a:rPr>
              <a:t>Infante</a:t>
            </a:r>
            <a:endParaRPr lang="en-US" dirty="0" smtClean="0">
              <a:solidFill>
                <a:schemeClr val="bg1"/>
              </a:solidFill>
              <a:latin typeface="Arial" charset="0"/>
            </a:endParaRPr>
          </a:p>
          <a:p>
            <a:r>
              <a:rPr lang="en-US" dirty="0" smtClean="0">
                <a:solidFill>
                  <a:schemeClr val="bg1"/>
                </a:solidFill>
                <a:latin typeface="Arial" charset="0"/>
              </a:rPr>
              <a:t>PSS EN Spain</a:t>
            </a:r>
            <a:endParaRPr lang="en-US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4294967295"/>
          </p:nvPr>
        </p:nvSpPr>
        <p:spPr>
          <a:xfrm>
            <a:off x="371849" y="4204395"/>
            <a:ext cx="8296275" cy="246221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  <a:latin typeface="Arial" charset="0"/>
                <a:ea typeface="ＭＳ Ｐゴシック" charset="0"/>
              </a:rPr>
              <a:t>Nov, </a:t>
            </a:r>
            <a:r>
              <a:rPr lang="en-US" dirty="0" smtClean="0">
                <a:solidFill>
                  <a:schemeClr val="bg1"/>
                </a:solidFill>
                <a:latin typeface="Arial" charset="0"/>
                <a:ea typeface="ＭＳ Ｐゴシック" charset="0"/>
              </a:rPr>
              <a:t>2017 </a:t>
            </a:r>
            <a:endParaRPr lang="en-US" dirty="0">
              <a:solidFill>
                <a:schemeClr val="bg1"/>
              </a:solidFill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567957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e-tuning HDX with RF Profiles</a:t>
            </a:r>
            <a:endParaRPr lang="en-US" dirty="0"/>
          </a:p>
        </p:txBody>
      </p:sp>
      <p:grpSp>
        <p:nvGrpSpPr>
          <p:cNvPr id="4" name="Group 3"/>
          <p:cNvGrpSpPr>
            <a:grpSpLocks noChangeAspect="1"/>
          </p:cNvGrpSpPr>
          <p:nvPr/>
        </p:nvGrpSpPr>
        <p:grpSpPr>
          <a:xfrm>
            <a:off x="5126773" y="913448"/>
            <a:ext cx="4483072" cy="3133422"/>
            <a:chOff x="4186879" y="913448"/>
            <a:chExt cx="5193976" cy="3630305"/>
          </a:xfrm>
        </p:grpSpPr>
        <p:sp>
          <p:nvSpPr>
            <p:cNvPr id="32" name="Oval 31"/>
            <p:cNvSpPr/>
            <p:nvPr/>
          </p:nvSpPr>
          <p:spPr>
            <a:xfrm>
              <a:off x="4978839" y="913448"/>
              <a:ext cx="3630168" cy="3630305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1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solidFill>
                  <a:srgbClr val="FF0000"/>
                </a:solidFill>
              </a:endParaRPr>
            </a:p>
          </p:txBody>
        </p:sp>
        <p:graphicFrame>
          <p:nvGraphicFramePr>
            <p:cNvPr id="13" name="Chart 12"/>
            <p:cNvGraphicFramePr/>
            <p:nvPr>
              <p:extLst/>
            </p:nvPr>
          </p:nvGraphicFramePr>
          <p:xfrm>
            <a:off x="4186879" y="1027039"/>
            <a:ext cx="5193976" cy="346175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34" name="Rectangle 33"/>
            <p:cNvSpPr/>
            <p:nvPr/>
          </p:nvSpPr>
          <p:spPr>
            <a:xfrm>
              <a:off x="6346530" y="3525754"/>
              <a:ext cx="1006360" cy="6672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45718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charset="0"/>
                  <a:cs typeface="ＭＳ Ｐゴシック" charset="0"/>
                </a:rPr>
                <a:t>Wi-Fi Triggered ED-RRM</a:t>
              </a: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5781359" y="1584985"/>
              <a:ext cx="748997" cy="53487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45718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charset="0"/>
                  <a:cs typeface="ＭＳ Ｐゴシック" charset="0"/>
                </a:rPr>
                <a:t>Optimized</a:t>
              </a:r>
              <a:br>
                <a:rPr lang="en-US" sz="80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charset="0"/>
                  <a:cs typeface="ＭＳ Ｐゴシック" charset="0"/>
                </a:rPr>
              </a:br>
              <a:r>
                <a:rPr lang="en-US" sz="80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charset="0"/>
                  <a:cs typeface="ＭＳ Ｐゴシック" charset="0"/>
                </a:rPr>
                <a:t>Roaming</a:t>
              </a:r>
              <a:br>
                <a:rPr lang="en-US" sz="80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charset="0"/>
                  <a:cs typeface="ＭＳ Ｐゴシック" charset="0"/>
                </a:rPr>
              </a:br>
              <a:r>
                <a:rPr lang="en-US" sz="80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charset="0"/>
                  <a:cs typeface="ＭＳ Ｐゴシック" charset="0"/>
                </a:rPr>
                <a:t>RXSOP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7005217" y="1539262"/>
              <a:ext cx="808630" cy="120105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45718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charset="0"/>
                  <a:cs typeface="ＭＳ Ｐゴシック" charset="0"/>
                </a:rPr>
                <a:t>Dynamic Bandwidth Selection</a:t>
              </a: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5236634" y="2869603"/>
              <a:ext cx="971225" cy="48932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45718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charset="0"/>
                  <a:cs typeface="ＭＳ Ｐゴシック" charset="0"/>
                </a:rPr>
                <a:t>TPC, DCA</a:t>
              </a:r>
            </a:p>
            <a:p>
              <a:pPr algn="ctr" defTabSz="45718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charset="0"/>
                  <a:cs typeface="ＭＳ Ｐゴシック" charset="0"/>
                </a:rPr>
                <a:t>CHDM</a:t>
              </a: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7409532" y="2826621"/>
              <a:ext cx="843581" cy="3113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defTabSz="45718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 err="1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ea typeface="ＭＳ Ｐゴシック" charset="0"/>
                  <a:cs typeface="ＭＳ Ｐゴシック" charset="0"/>
                </a:rPr>
                <a:t>FlexDFS</a:t>
              </a:r>
              <a:endParaRPr lang="en-US" sz="8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9" name="Oval 38"/>
            <p:cNvSpPr/>
            <p:nvPr/>
          </p:nvSpPr>
          <p:spPr>
            <a:xfrm>
              <a:off x="6050120" y="2005307"/>
              <a:ext cx="1467495" cy="1467113"/>
            </a:xfrm>
            <a:prstGeom prst="ellipse">
              <a:avLst/>
            </a:prstGeom>
            <a:solidFill>
              <a:srgbClr val="660066"/>
            </a:solidFill>
            <a:ln>
              <a:solidFill>
                <a:schemeClr val="bg2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1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 smtClean="0">
                <a:solidFill>
                  <a:srgbClr val="676767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6166012" y="2239006"/>
              <a:ext cx="1235710" cy="808170"/>
            </a:xfrm>
            <a:prstGeom prst="rect">
              <a:avLst/>
            </a:prstGeom>
          </p:spPr>
          <p:txBody>
            <a:bodyPr lIns="0" tIns="0" rIns="0" bIns="0" anchor="ctr" anchorCtr="1">
              <a:noAutofit/>
            </a:bodyPr>
            <a:lstStyle/>
            <a:p>
              <a:pPr defTabSz="457181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700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   CORE</a:t>
              </a:r>
              <a:r>
                <a:rPr lang="en-US" sz="700" b="1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:</a:t>
              </a:r>
            </a:p>
            <a:p>
              <a:pPr marL="114300" indent="-114300" defTabSz="457181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Char char="•"/>
              </a:pPr>
              <a:r>
                <a:rPr lang="en-US" sz="700" dirty="0" err="1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CleanAir</a:t>
              </a:r>
              <a:r>
                <a:rPr lang="en-US" sz="700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 </a:t>
              </a:r>
            </a:p>
            <a:p>
              <a:pPr marL="114300" indent="-114300" defTabSz="457181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Char char="•"/>
              </a:pPr>
              <a:r>
                <a:rPr lang="en-US" sz="700" dirty="0" err="1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ClientLink</a:t>
              </a:r>
              <a:r>
                <a:rPr lang="en-US" sz="700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 4.0</a:t>
              </a:r>
            </a:p>
            <a:p>
              <a:pPr marL="114300" indent="-114300" defTabSz="457181" fontAlgn="base">
                <a:lnSpc>
                  <a:spcPct val="150000"/>
                </a:lnSpc>
                <a:spcBef>
                  <a:spcPct val="0"/>
                </a:spcBef>
                <a:spcAft>
                  <a:spcPct val="0"/>
                </a:spcAft>
                <a:buFont typeface="Arial" pitchFamily="34" charset="0"/>
                <a:buChar char="•"/>
              </a:pPr>
              <a:r>
                <a:rPr lang="en-US" sz="700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Turbo Performance</a:t>
              </a:r>
            </a:p>
          </p:txBody>
        </p:sp>
        <p:sp>
          <p:nvSpPr>
            <p:cNvPr id="43" name="Rectangle 42"/>
            <p:cNvSpPr/>
            <p:nvPr/>
          </p:nvSpPr>
          <p:spPr>
            <a:xfrm>
              <a:off x="5488625" y="1066055"/>
              <a:ext cx="2606356" cy="2600860"/>
            </a:xfrm>
            <a:prstGeom prst="rect">
              <a:avLst/>
            </a:prstGeom>
          </p:spPr>
          <p:txBody>
            <a:bodyPr wrap="none">
              <a:prstTxWarp prst="textCircle">
                <a:avLst>
                  <a:gd name="adj" fmla="val 14450338"/>
                </a:avLst>
              </a:prstTxWarp>
              <a:spAutoFit/>
            </a:bodyPr>
            <a:lstStyle/>
            <a:p>
              <a:pPr defTabSz="457181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800" dirty="0" smtClean="0">
                  <a:solidFill>
                    <a:srgbClr val="32B2DF">
                      <a:lumMod val="50000"/>
                    </a:srgbClr>
                  </a:solidFill>
                  <a:ea typeface="ＭＳ Ｐゴシック" charset="0"/>
                  <a:cs typeface="ＭＳ Ｐゴシック" charset="0"/>
                </a:rPr>
                <a:t>        RF PROFILES</a:t>
              </a:r>
            </a:p>
          </p:txBody>
        </p:sp>
      </p:grpSp>
      <p:pic>
        <p:nvPicPr>
          <p:cNvPr id="19" name="Picture 18" descr="Screen Shot 2014-09-23 at 9.26.46 PM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4484" y="1113197"/>
            <a:ext cx="3036863" cy="18489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0" name="Picture 19" descr="Screen Shot 2013-04-13 at 11.04.53 AM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86496" y="2489451"/>
            <a:ext cx="1671756" cy="199066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1" name="Picture 20" descr="Screen Shot 2013-04-13 at 11.05.58 AM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7601" y="2883372"/>
            <a:ext cx="1645246" cy="199685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pSp>
        <p:nvGrpSpPr>
          <p:cNvPr id="22" name="Group 21"/>
          <p:cNvGrpSpPr/>
          <p:nvPr/>
        </p:nvGrpSpPr>
        <p:grpSpPr>
          <a:xfrm>
            <a:off x="5984302" y="4102069"/>
            <a:ext cx="2528241" cy="864260"/>
            <a:chOff x="5444097" y="2514436"/>
            <a:chExt cx="3500353" cy="1504950"/>
          </a:xfrm>
        </p:grpSpPr>
        <p:pic>
          <p:nvPicPr>
            <p:cNvPr id="23" name="Picture 22" descr="Screen Shot 2013-04-13 at 11.14.03 AM.png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44097" y="2514436"/>
              <a:ext cx="3500353" cy="150495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24" name="Rounded Rectangle 23"/>
            <p:cNvSpPr/>
            <p:nvPr/>
          </p:nvSpPr>
          <p:spPr bwMode="auto">
            <a:xfrm>
              <a:off x="7715250" y="2824837"/>
              <a:ext cx="1149350" cy="190500"/>
            </a:xfrm>
            <a:prstGeom prst="roundRect">
              <a:avLst/>
            </a:prstGeom>
            <a:noFill/>
            <a:ln w="254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0" tIns="0" rIns="0" bIns="0" rtlCol="0" anchor="ctr"/>
            <a:lstStyle/>
            <a:p>
              <a:pPr algn="ctr" defTabSz="514287" fontAlgn="base">
                <a:spcBef>
                  <a:spcPct val="0"/>
                </a:spcBef>
                <a:spcAft>
                  <a:spcPct val="0"/>
                </a:spcAft>
              </a:pPr>
              <a:endParaRPr lang="en-US" sz="1400" dirty="0" err="1">
                <a:solidFill>
                  <a:srgbClr val="FFFFFF"/>
                </a:solidFill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</p:grpSp>
      <p:pic>
        <p:nvPicPr>
          <p:cNvPr id="25" name="Picture 24" descr="Screen Shot 2014-04-14 at 7.37.50 PM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4091" y="2755131"/>
            <a:ext cx="2221227" cy="172954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6" name="Picture 25" descr="Screen Shot 2014-01-06 at 12.40.44 PM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76024" y="3661758"/>
            <a:ext cx="2721275" cy="145593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7" name="TextBox 26"/>
          <p:cNvSpPr txBox="1"/>
          <p:nvPr/>
        </p:nvSpPr>
        <p:spPr>
          <a:xfrm>
            <a:off x="292044" y="1145966"/>
            <a:ext cx="215277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45720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ü"/>
            </a:pPr>
            <a:r>
              <a:rPr lang="en-US" sz="1200" dirty="0" smtClean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Pre-canned RF Profiles</a:t>
            </a:r>
          </a:p>
          <a:p>
            <a:pPr marL="171450" indent="-171450" defTabSz="45720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ü"/>
            </a:pPr>
            <a:r>
              <a:rPr lang="en-US" sz="1200" dirty="0" smtClean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Client Distribution</a:t>
            </a:r>
          </a:p>
          <a:p>
            <a:pPr marL="171450" indent="-171450" defTabSz="45720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ü"/>
            </a:pPr>
            <a:r>
              <a:rPr lang="en-US" sz="1200" dirty="0" smtClean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Data Rates</a:t>
            </a:r>
          </a:p>
          <a:p>
            <a:pPr marL="171450" indent="-171450" defTabSz="45720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ü"/>
            </a:pPr>
            <a:r>
              <a:rPr lang="en-US" sz="1200" dirty="0" smtClean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DCA, TPC, CHDM</a:t>
            </a:r>
          </a:p>
          <a:p>
            <a:pPr marL="171450" indent="-171450" defTabSz="45720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ü"/>
            </a:pPr>
            <a:r>
              <a:rPr lang="en-US" sz="1200" dirty="0" smtClean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Profile Threshold for Traps</a:t>
            </a:r>
          </a:p>
          <a:p>
            <a:pPr marL="171450" indent="-171450" defTabSz="45720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ü"/>
            </a:pPr>
            <a:r>
              <a:rPr lang="en-US" sz="1200" dirty="0" smtClean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High Density Features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3972824" y="988474"/>
            <a:ext cx="305263" cy="305263"/>
            <a:chOff x="971601" y="1893303"/>
            <a:chExt cx="305263" cy="305263"/>
          </a:xfrm>
        </p:grpSpPr>
        <p:sp>
          <p:nvSpPr>
            <p:cNvPr id="31" name="Oval 30"/>
            <p:cNvSpPr/>
            <p:nvPr/>
          </p:nvSpPr>
          <p:spPr>
            <a:xfrm>
              <a:off x="971601" y="1893303"/>
              <a:ext cx="305263" cy="305263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1053833" y="1981355"/>
              <a:ext cx="149716" cy="141972"/>
            </a:xfrm>
            <a:custGeom>
              <a:avLst/>
              <a:gdLst>
                <a:gd name="T0" fmla="*/ 95 w 98"/>
                <a:gd name="T1" fmla="*/ 0 h 93"/>
                <a:gd name="T2" fmla="*/ 98 w 98"/>
                <a:gd name="T3" fmla="*/ 4 h 93"/>
                <a:gd name="T4" fmla="*/ 64 w 98"/>
                <a:gd name="T5" fmla="*/ 39 h 93"/>
                <a:gd name="T6" fmla="*/ 36 w 98"/>
                <a:gd name="T7" fmla="*/ 83 h 93"/>
                <a:gd name="T8" fmla="*/ 31 w 98"/>
                <a:gd name="T9" fmla="*/ 86 h 93"/>
                <a:gd name="T10" fmla="*/ 22 w 98"/>
                <a:gd name="T11" fmla="*/ 93 h 93"/>
                <a:gd name="T12" fmla="*/ 18 w 98"/>
                <a:gd name="T13" fmla="*/ 82 h 93"/>
                <a:gd name="T14" fmla="*/ 16 w 98"/>
                <a:gd name="T15" fmla="*/ 77 h 93"/>
                <a:gd name="T16" fmla="*/ 8 w 98"/>
                <a:gd name="T17" fmla="*/ 63 h 93"/>
                <a:gd name="T18" fmla="*/ 0 w 98"/>
                <a:gd name="T19" fmla="*/ 57 h 93"/>
                <a:gd name="T20" fmla="*/ 14 w 98"/>
                <a:gd name="T21" fmla="*/ 49 h 93"/>
                <a:gd name="T22" fmla="*/ 26 w 98"/>
                <a:gd name="T23" fmla="*/ 63 h 93"/>
                <a:gd name="T24" fmla="*/ 28 w 98"/>
                <a:gd name="T25" fmla="*/ 68 h 93"/>
                <a:gd name="T26" fmla="*/ 59 w 98"/>
                <a:gd name="T27" fmla="*/ 29 h 93"/>
                <a:gd name="T28" fmla="*/ 95 w 98"/>
                <a:gd name="T2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93">
                  <a:moveTo>
                    <a:pt x="95" y="0"/>
                  </a:moveTo>
                  <a:cubicBezTo>
                    <a:pt x="98" y="4"/>
                    <a:pt x="98" y="4"/>
                    <a:pt x="98" y="4"/>
                  </a:cubicBezTo>
                  <a:cubicBezTo>
                    <a:pt x="88" y="11"/>
                    <a:pt x="76" y="23"/>
                    <a:pt x="64" y="39"/>
                  </a:cubicBezTo>
                  <a:cubicBezTo>
                    <a:pt x="52" y="54"/>
                    <a:pt x="42" y="69"/>
                    <a:pt x="36" y="83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26" y="89"/>
                    <a:pt x="24" y="91"/>
                    <a:pt x="22" y="93"/>
                  </a:cubicBezTo>
                  <a:cubicBezTo>
                    <a:pt x="21" y="91"/>
                    <a:pt x="20" y="87"/>
                    <a:pt x="18" y="82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3" y="71"/>
                    <a:pt x="11" y="66"/>
                    <a:pt x="8" y="63"/>
                  </a:cubicBezTo>
                  <a:cubicBezTo>
                    <a:pt x="6" y="60"/>
                    <a:pt x="3" y="58"/>
                    <a:pt x="0" y="57"/>
                  </a:cubicBezTo>
                  <a:cubicBezTo>
                    <a:pt x="5" y="51"/>
                    <a:pt x="10" y="49"/>
                    <a:pt x="14" y="49"/>
                  </a:cubicBezTo>
                  <a:cubicBezTo>
                    <a:pt x="18" y="49"/>
                    <a:pt x="22" y="54"/>
                    <a:pt x="26" y="63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6" y="55"/>
                    <a:pt x="46" y="42"/>
                    <a:pt x="59" y="29"/>
                  </a:cubicBezTo>
                  <a:cubicBezTo>
                    <a:pt x="71" y="17"/>
                    <a:pt x="83" y="7"/>
                    <a:pt x="9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endParaRPr lang="en-US">
                <a:solidFill>
                  <a:srgbClr val="676767"/>
                </a:solidFill>
              </a:endParaRP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1223392" y="2602499"/>
            <a:ext cx="305263" cy="305263"/>
            <a:chOff x="971601" y="1893303"/>
            <a:chExt cx="305263" cy="305263"/>
          </a:xfrm>
        </p:grpSpPr>
        <p:sp>
          <p:nvSpPr>
            <p:cNvPr id="44" name="Oval 43"/>
            <p:cNvSpPr/>
            <p:nvPr/>
          </p:nvSpPr>
          <p:spPr>
            <a:xfrm>
              <a:off x="971601" y="1893303"/>
              <a:ext cx="305263" cy="305263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1053833" y="1981355"/>
              <a:ext cx="149716" cy="141972"/>
            </a:xfrm>
            <a:custGeom>
              <a:avLst/>
              <a:gdLst>
                <a:gd name="T0" fmla="*/ 95 w 98"/>
                <a:gd name="T1" fmla="*/ 0 h 93"/>
                <a:gd name="T2" fmla="*/ 98 w 98"/>
                <a:gd name="T3" fmla="*/ 4 h 93"/>
                <a:gd name="T4" fmla="*/ 64 w 98"/>
                <a:gd name="T5" fmla="*/ 39 h 93"/>
                <a:gd name="T6" fmla="*/ 36 w 98"/>
                <a:gd name="T7" fmla="*/ 83 h 93"/>
                <a:gd name="T8" fmla="*/ 31 w 98"/>
                <a:gd name="T9" fmla="*/ 86 h 93"/>
                <a:gd name="T10" fmla="*/ 22 w 98"/>
                <a:gd name="T11" fmla="*/ 93 h 93"/>
                <a:gd name="T12" fmla="*/ 18 w 98"/>
                <a:gd name="T13" fmla="*/ 82 h 93"/>
                <a:gd name="T14" fmla="*/ 16 w 98"/>
                <a:gd name="T15" fmla="*/ 77 h 93"/>
                <a:gd name="T16" fmla="*/ 8 w 98"/>
                <a:gd name="T17" fmla="*/ 63 h 93"/>
                <a:gd name="T18" fmla="*/ 0 w 98"/>
                <a:gd name="T19" fmla="*/ 57 h 93"/>
                <a:gd name="T20" fmla="*/ 14 w 98"/>
                <a:gd name="T21" fmla="*/ 49 h 93"/>
                <a:gd name="T22" fmla="*/ 26 w 98"/>
                <a:gd name="T23" fmla="*/ 63 h 93"/>
                <a:gd name="T24" fmla="*/ 28 w 98"/>
                <a:gd name="T25" fmla="*/ 68 h 93"/>
                <a:gd name="T26" fmla="*/ 59 w 98"/>
                <a:gd name="T27" fmla="*/ 29 h 93"/>
                <a:gd name="T28" fmla="*/ 95 w 98"/>
                <a:gd name="T2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93">
                  <a:moveTo>
                    <a:pt x="95" y="0"/>
                  </a:moveTo>
                  <a:cubicBezTo>
                    <a:pt x="98" y="4"/>
                    <a:pt x="98" y="4"/>
                    <a:pt x="98" y="4"/>
                  </a:cubicBezTo>
                  <a:cubicBezTo>
                    <a:pt x="88" y="11"/>
                    <a:pt x="76" y="23"/>
                    <a:pt x="64" y="39"/>
                  </a:cubicBezTo>
                  <a:cubicBezTo>
                    <a:pt x="52" y="54"/>
                    <a:pt x="42" y="69"/>
                    <a:pt x="36" y="83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26" y="89"/>
                    <a:pt x="24" y="91"/>
                    <a:pt x="22" y="93"/>
                  </a:cubicBezTo>
                  <a:cubicBezTo>
                    <a:pt x="21" y="91"/>
                    <a:pt x="20" y="87"/>
                    <a:pt x="18" y="82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3" y="71"/>
                    <a:pt x="11" y="66"/>
                    <a:pt x="8" y="63"/>
                  </a:cubicBezTo>
                  <a:cubicBezTo>
                    <a:pt x="6" y="60"/>
                    <a:pt x="3" y="58"/>
                    <a:pt x="0" y="57"/>
                  </a:cubicBezTo>
                  <a:cubicBezTo>
                    <a:pt x="5" y="51"/>
                    <a:pt x="10" y="49"/>
                    <a:pt x="14" y="49"/>
                  </a:cubicBezTo>
                  <a:cubicBezTo>
                    <a:pt x="18" y="49"/>
                    <a:pt x="22" y="54"/>
                    <a:pt x="26" y="63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6" y="55"/>
                    <a:pt x="46" y="42"/>
                    <a:pt x="59" y="29"/>
                  </a:cubicBezTo>
                  <a:cubicBezTo>
                    <a:pt x="71" y="17"/>
                    <a:pt x="83" y="7"/>
                    <a:pt x="9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endParaRPr lang="en-US">
                <a:solidFill>
                  <a:srgbClr val="676767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2862835" y="3613745"/>
            <a:ext cx="305263" cy="305263"/>
            <a:chOff x="971601" y="1893303"/>
            <a:chExt cx="305263" cy="305263"/>
          </a:xfrm>
        </p:grpSpPr>
        <p:sp>
          <p:nvSpPr>
            <p:cNvPr id="47" name="Oval 46"/>
            <p:cNvSpPr/>
            <p:nvPr/>
          </p:nvSpPr>
          <p:spPr>
            <a:xfrm>
              <a:off x="971601" y="1893303"/>
              <a:ext cx="305263" cy="305263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1053833" y="1981355"/>
              <a:ext cx="149716" cy="141972"/>
            </a:xfrm>
            <a:custGeom>
              <a:avLst/>
              <a:gdLst>
                <a:gd name="T0" fmla="*/ 95 w 98"/>
                <a:gd name="T1" fmla="*/ 0 h 93"/>
                <a:gd name="T2" fmla="*/ 98 w 98"/>
                <a:gd name="T3" fmla="*/ 4 h 93"/>
                <a:gd name="T4" fmla="*/ 64 w 98"/>
                <a:gd name="T5" fmla="*/ 39 h 93"/>
                <a:gd name="T6" fmla="*/ 36 w 98"/>
                <a:gd name="T7" fmla="*/ 83 h 93"/>
                <a:gd name="T8" fmla="*/ 31 w 98"/>
                <a:gd name="T9" fmla="*/ 86 h 93"/>
                <a:gd name="T10" fmla="*/ 22 w 98"/>
                <a:gd name="T11" fmla="*/ 93 h 93"/>
                <a:gd name="T12" fmla="*/ 18 w 98"/>
                <a:gd name="T13" fmla="*/ 82 h 93"/>
                <a:gd name="T14" fmla="*/ 16 w 98"/>
                <a:gd name="T15" fmla="*/ 77 h 93"/>
                <a:gd name="T16" fmla="*/ 8 w 98"/>
                <a:gd name="T17" fmla="*/ 63 h 93"/>
                <a:gd name="T18" fmla="*/ 0 w 98"/>
                <a:gd name="T19" fmla="*/ 57 h 93"/>
                <a:gd name="T20" fmla="*/ 14 w 98"/>
                <a:gd name="T21" fmla="*/ 49 h 93"/>
                <a:gd name="T22" fmla="*/ 26 w 98"/>
                <a:gd name="T23" fmla="*/ 63 h 93"/>
                <a:gd name="T24" fmla="*/ 28 w 98"/>
                <a:gd name="T25" fmla="*/ 68 h 93"/>
                <a:gd name="T26" fmla="*/ 59 w 98"/>
                <a:gd name="T27" fmla="*/ 29 h 93"/>
                <a:gd name="T28" fmla="*/ 95 w 98"/>
                <a:gd name="T2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93">
                  <a:moveTo>
                    <a:pt x="95" y="0"/>
                  </a:moveTo>
                  <a:cubicBezTo>
                    <a:pt x="98" y="4"/>
                    <a:pt x="98" y="4"/>
                    <a:pt x="98" y="4"/>
                  </a:cubicBezTo>
                  <a:cubicBezTo>
                    <a:pt x="88" y="11"/>
                    <a:pt x="76" y="23"/>
                    <a:pt x="64" y="39"/>
                  </a:cubicBezTo>
                  <a:cubicBezTo>
                    <a:pt x="52" y="54"/>
                    <a:pt x="42" y="69"/>
                    <a:pt x="36" y="83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26" y="89"/>
                    <a:pt x="24" y="91"/>
                    <a:pt x="22" y="93"/>
                  </a:cubicBezTo>
                  <a:cubicBezTo>
                    <a:pt x="21" y="91"/>
                    <a:pt x="20" y="87"/>
                    <a:pt x="18" y="82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3" y="71"/>
                    <a:pt x="11" y="66"/>
                    <a:pt x="8" y="63"/>
                  </a:cubicBezTo>
                  <a:cubicBezTo>
                    <a:pt x="6" y="60"/>
                    <a:pt x="3" y="58"/>
                    <a:pt x="0" y="57"/>
                  </a:cubicBezTo>
                  <a:cubicBezTo>
                    <a:pt x="5" y="51"/>
                    <a:pt x="10" y="49"/>
                    <a:pt x="14" y="49"/>
                  </a:cubicBezTo>
                  <a:cubicBezTo>
                    <a:pt x="18" y="49"/>
                    <a:pt x="22" y="54"/>
                    <a:pt x="26" y="63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6" y="55"/>
                    <a:pt x="46" y="42"/>
                    <a:pt x="59" y="29"/>
                  </a:cubicBezTo>
                  <a:cubicBezTo>
                    <a:pt x="71" y="17"/>
                    <a:pt x="83" y="7"/>
                    <a:pt x="9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endParaRPr lang="en-US">
                <a:solidFill>
                  <a:srgbClr val="676767"/>
                </a:solidFill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3497659" y="2341351"/>
            <a:ext cx="305263" cy="305263"/>
            <a:chOff x="971601" y="1893303"/>
            <a:chExt cx="305263" cy="305263"/>
          </a:xfrm>
        </p:grpSpPr>
        <p:sp>
          <p:nvSpPr>
            <p:cNvPr id="50" name="Oval 49"/>
            <p:cNvSpPr/>
            <p:nvPr/>
          </p:nvSpPr>
          <p:spPr>
            <a:xfrm>
              <a:off x="971601" y="1893303"/>
              <a:ext cx="305263" cy="305263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auto">
            <a:xfrm>
              <a:off x="1053833" y="1981355"/>
              <a:ext cx="149716" cy="141972"/>
            </a:xfrm>
            <a:custGeom>
              <a:avLst/>
              <a:gdLst>
                <a:gd name="T0" fmla="*/ 95 w 98"/>
                <a:gd name="T1" fmla="*/ 0 h 93"/>
                <a:gd name="T2" fmla="*/ 98 w 98"/>
                <a:gd name="T3" fmla="*/ 4 h 93"/>
                <a:gd name="T4" fmla="*/ 64 w 98"/>
                <a:gd name="T5" fmla="*/ 39 h 93"/>
                <a:gd name="T6" fmla="*/ 36 w 98"/>
                <a:gd name="T7" fmla="*/ 83 h 93"/>
                <a:gd name="T8" fmla="*/ 31 w 98"/>
                <a:gd name="T9" fmla="*/ 86 h 93"/>
                <a:gd name="T10" fmla="*/ 22 w 98"/>
                <a:gd name="T11" fmla="*/ 93 h 93"/>
                <a:gd name="T12" fmla="*/ 18 w 98"/>
                <a:gd name="T13" fmla="*/ 82 h 93"/>
                <a:gd name="T14" fmla="*/ 16 w 98"/>
                <a:gd name="T15" fmla="*/ 77 h 93"/>
                <a:gd name="T16" fmla="*/ 8 w 98"/>
                <a:gd name="T17" fmla="*/ 63 h 93"/>
                <a:gd name="T18" fmla="*/ 0 w 98"/>
                <a:gd name="T19" fmla="*/ 57 h 93"/>
                <a:gd name="T20" fmla="*/ 14 w 98"/>
                <a:gd name="T21" fmla="*/ 49 h 93"/>
                <a:gd name="T22" fmla="*/ 26 w 98"/>
                <a:gd name="T23" fmla="*/ 63 h 93"/>
                <a:gd name="T24" fmla="*/ 28 w 98"/>
                <a:gd name="T25" fmla="*/ 68 h 93"/>
                <a:gd name="T26" fmla="*/ 59 w 98"/>
                <a:gd name="T27" fmla="*/ 29 h 93"/>
                <a:gd name="T28" fmla="*/ 95 w 98"/>
                <a:gd name="T2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93">
                  <a:moveTo>
                    <a:pt x="95" y="0"/>
                  </a:moveTo>
                  <a:cubicBezTo>
                    <a:pt x="98" y="4"/>
                    <a:pt x="98" y="4"/>
                    <a:pt x="98" y="4"/>
                  </a:cubicBezTo>
                  <a:cubicBezTo>
                    <a:pt x="88" y="11"/>
                    <a:pt x="76" y="23"/>
                    <a:pt x="64" y="39"/>
                  </a:cubicBezTo>
                  <a:cubicBezTo>
                    <a:pt x="52" y="54"/>
                    <a:pt x="42" y="69"/>
                    <a:pt x="36" y="83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26" y="89"/>
                    <a:pt x="24" y="91"/>
                    <a:pt x="22" y="93"/>
                  </a:cubicBezTo>
                  <a:cubicBezTo>
                    <a:pt x="21" y="91"/>
                    <a:pt x="20" y="87"/>
                    <a:pt x="18" y="82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3" y="71"/>
                    <a:pt x="11" y="66"/>
                    <a:pt x="8" y="63"/>
                  </a:cubicBezTo>
                  <a:cubicBezTo>
                    <a:pt x="6" y="60"/>
                    <a:pt x="3" y="58"/>
                    <a:pt x="0" y="57"/>
                  </a:cubicBezTo>
                  <a:cubicBezTo>
                    <a:pt x="5" y="51"/>
                    <a:pt x="10" y="49"/>
                    <a:pt x="14" y="49"/>
                  </a:cubicBezTo>
                  <a:cubicBezTo>
                    <a:pt x="18" y="49"/>
                    <a:pt x="22" y="54"/>
                    <a:pt x="26" y="63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6" y="55"/>
                    <a:pt x="46" y="42"/>
                    <a:pt x="59" y="29"/>
                  </a:cubicBezTo>
                  <a:cubicBezTo>
                    <a:pt x="71" y="17"/>
                    <a:pt x="83" y="7"/>
                    <a:pt x="9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endParaRPr lang="en-US">
                <a:solidFill>
                  <a:srgbClr val="676767"/>
                </a:solidFill>
              </a:endParaRP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5428715" y="2755131"/>
            <a:ext cx="305263" cy="305263"/>
            <a:chOff x="971601" y="1893303"/>
            <a:chExt cx="305263" cy="305263"/>
          </a:xfrm>
        </p:grpSpPr>
        <p:sp>
          <p:nvSpPr>
            <p:cNvPr id="53" name="Oval 52"/>
            <p:cNvSpPr/>
            <p:nvPr/>
          </p:nvSpPr>
          <p:spPr>
            <a:xfrm>
              <a:off x="971601" y="1893303"/>
              <a:ext cx="305263" cy="305263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auto">
            <a:xfrm>
              <a:off x="1053833" y="1981355"/>
              <a:ext cx="149716" cy="141972"/>
            </a:xfrm>
            <a:custGeom>
              <a:avLst/>
              <a:gdLst>
                <a:gd name="T0" fmla="*/ 95 w 98"/>
                <a:gd name="T1" fmla="*/ 0 h 93"/>
                <a:gd name="T2" fmla="*/ 98 w 98"/>
                <a:gd name="T3" fmla="*/ 4 h 93"/>
                <a:gd name="T4" fmla="*/ 64 w 98"/>
                <a:gd name="T5" fmla="*/ 39 h 93"/>
                <a:gd name="T6" fmla="*/ 36 w 98"/>
                <a:gd name="T7" fmla="*/ 83 h 93"/>
                <a:gd name="T8" fmla="*/ 31 w 98"/>
                <a:gd name="T9" fmla="*/ 86 h 93"/>
                <a:gd name="T10" fmla="*/ 22 w 98"/>
                <a:gd name="T11" fmla="*/ 93 h 93"/>
                <a:gd name="T12" fmla="*/ 18 w 98"/>
                <a:gd name="T13" fmla="*/ 82 h 93"/>
                <a:gd name="T14" fmla="*/ 16 w 98"/>
                <a:gd name="T15" fmla="*/ 77 h 93"/>
                <a:gd name="T16" fmla="*/ 8 w 98"/>
                <a:gd name="T17" fmla="*/ 63 h 93"/>
                <a:gd name="T18" fmla="*/ 0 w 98"/>
                <a:gd name="T19" fmla="*/ 57 h 93"/>
                <a:gd name="T20" fmla="*/ 14 w 98"/>
                <a:gd name="T21" fmla="*/ 49 h 93"/>
                <a:gd name="T22" fmla="*/ 26 w 98"/>
                <a:gd name="T23" fmla="*/ 63 h 93"/>
                <a:gd name="T24" fmla="*/ 28 w 98"/>
                <a:gd name="T25" fmla="*/ 68 h 93"/>
                <a:gd name="T26" fmla="*/ 59 w 98"/>
                <a:gd name="T27" fmla="*/ 29 h 93"/>
                <a:gd name="T28" fmla="*/ 95 w 98"/>
                <a:gd name="T2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93">
                  <a:moveTo>
                    <a:pt x="95" y="0"/>
                  </a:moveTo>
                  <a:cubicBezTo>
                    <a:pt x="98" y="4"/>
                    <a:pt x="98" y="4"/>
                    <a:pt x="98" y="4"/>
                  </a:cubicBezTo>
                  <a:cubicBezTo>
                    <a:pt x="88" y="11"/>
                    <a:pt x="76" y="23"/>
                    <a:pt x="64" y="39"/>
                  </a:cubicBezTo>
                  <a:cubicBezTo>
                    <a:pt x="52" y="54"/>
                    <a:pt x="42" y="69"/>
                    <a:pt x="36" y="83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26" y="89"/>
                    <a:pt x="24" y="91"/>
                    <a:pt x="22" y="93"/>
                  </a:cubicBezTo>
                  <a:cubicBezTo>
                    <a:pt x="21" y="91"/>
                    <a:pt x="20" y="87"/>
                    <a:pt x="18" y="82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3" y="71"/>
                    <a:pt x="11" y="66"/>
                    <a:pt x="8" y="63"/>
                  </a:cubicBezTo>
                  <a:cubicBezTo>
                    <a:pt x="6" y="60"/>
                    <a:pt x="3" y="58"/>
                    <a:pt x="0" y="57"/>
                  </a:cubicBezTo>
                  <a:cubicBezTo>
                    <a:pt x="5" y="51"/>
                    <a:pt x="10" y="49"/>
                    <a:pt x="14" y="49"/>
                  </a:cubicBezTo>
                  <a:cubicBezTo>
                    <a:pt x="18" y="49"/>
                    <a:pt x="22" y="54"/>
                    <a:pt x="26" y="63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6" y="55"/>
                    <a:pt x="46" y="42"/>
                    <a:pt x="59" y="29"/>
                  </a:cubicBezTo>
                  <a:cubicBezTo>
                    <a:pt x="71" y="17"/>
                    <a:pt x="83" y="7"/>
                    <a:pt x="9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endParaRPr lang="en-US">
                <a:solidFill>
                  <a:srgbClr val="676767"/>
                </a:solidFill>
              </a:endParaRPr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7554187" y="3975063"/>
            <a:ext cx="305263" cy="305263"/>
            <a:chOff x="971601" y="1893303"/>
            <a:chExt cx="305263" cy="305263"/>
          </a:xfrm>
        </p:grpSpPr>
        <p:sp>
          <p:nvSpPr>
            <p:cNvPr id="56" name="Oval 55"/>
            <p:cNvSpPr/>
            <p:nvPr/>
          </p:nvSpPr>
          <p:spPr>
            <a:xfrm>
              <a:off x="971601" y="1893303"/>
              <a:ext cx="305263" cy="305263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auto">
            <a:xfrm>
              <a:off x="1053833" y="1981355"/>
              <a:ext cx="149716" cy="141972"/>
            </a:xfrm>
            <a:custGeom>
              <a:avLst/>
              <a:gdLst>
                <a:gd name="T0" fmla="*/ 95 w 98"/>
                <a:gd name="T1" fmla="*/ 0 h 93"/>
                <a:gd name="T2" fmla="*/ 98 w 98"/>
                <a:gd name="T3" fmla="*/ 4 h 93"/>
                <a:gd name="T4" fmla="*/ 64 w 98"/>
                <a:gd name="T5" fmla="*/ 39 h 93"/>
                <a:gd name="T6" fmla="*/ 36 w 98"/>
                <a:gd name="T7" fmla="*/ 83 h 93"/>
                <a:gd name="T8" fmla="*/ 31 w 98"/>
                <a:gd name="T9" fmla="*/ 86 h 93"/>
                <a:gd name="T10" fmla="*/ 22 w 98"/>
                <a:gd name="T11" fmla="*/ 93 h 93"/>
                <a:gd name="T12" fmla="*/ 18 w 98"/>
                <a:gd name="T13" fmla="*/ 82 h 93"/>
                <a:gd name="T14" fmla="*/ 16 w 98"/>
                <a:gd name="T15" fmla="*/ 77 h 93"/>
                <a:gd name="T16" fmla="*/ 8 w 98"/>
                <a:gd name="T17" fmla="*/ 63 h 93"/>
                <a:gd name="T18" fmla="*/ 0 w 98"/>
                <a:gd name="T19" fmla="*/ 57 h 93"/>
                <a:gd name="T20" fmla="*/ 14 w 98"/>
                <a:gd name="T21" fmla="*/ 49 h 93"/>
                <a:gd name="T22" fmla="*/ 26 w 98"/>
                <a:gd name="T23" fmla="*/ 63 h 93"/>
                <a:gd name="T24" fmla="*/ 28 w 98"/>
                <a:gd name="T25" fmla="*/ 68 h 93"/>
                <a:gd name="T26" fmla="*/ 59 w 98"/>
                <a:gd name="T27" fmla="*/ 29 h 93"/>
                <a:gd name="T28" fmla="*/ 95 w 98"/>
                <a:gd name="T2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93">
                  <a:moveTo>
                    <a:pt x="95" y="0"/>
                  </a:moveTo>
                  <a:cubicBezTo>
                    <a:pt x="98" y="4"/>
                    <a:pt x="98" y="4"/>
                    <a:pt x="98" y="4"/>
                  </a:cubicBezTo>
                  <a:cubicBezTo>
                    <a:pt x="88" y="11"/>
                    <a:pt x="76" y="23"/>
                    <a:pt x="64" y="39"/>
                  </a:cubicBezTo>
                  <a:cubicBezTo>
                    <a:pt x="52" y="54"/>
                    <a:pt x="42" y="69"/>
                    <a:pt x="36" y="83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26" y="89"/>
                    <a:pt x="24" y="91"/>
                    <a:pt x="22" y="93"/>
                  </a:cubicBezTo>
                  <a:cubicBezTo>
                    <a:pt x="21" y="91"/>
                    <a:pt x="20" y="87"/>
                    <a:pt x="18" y="82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3" y="71"/>
                    <a:pt x="11" y="66"/>
                    <a:pt x="8" y="63"/>
                  </a:cubicBezTo>
                  <a:cubicBezTo>
                    <a:pt x="6" y="60"/>
                    <a:pt x="3" y="58"/>
                    <a:pt x="0" y="57"/>
                  </a:cubicBezTo>
                  <a:cubicBezTo>
                    <a:pt x="5" y="51"/>
                    <a:pt x="10" y="49"/>
                    <a:pt x="14" y="49"/>
                  </a:cubicBezTo>
                  <a:cubicBezTo>
                    <a:pt x="18" y="49"/>
                    <a:pt x="22" y="54"/>
                    <a:pt x="26" y="63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6" y="55"/>
                    <a:pt x="46" y="42"/>
                    <a:pt x="59" y="29"/>
                  </a:cubicBezTo>
                  <a:cubicBezTo>
                    <a:pt x="71" y="17"/>
                    <a:pt x="83" y="7"/>
                    <a:pt x="9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endParaRPr lang="en-US">
                <a:solidFill>
                  <a:srgbClr val="67676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869117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6" presetClass="emph" presetSubtype="0" repeatCount="2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 tmFilter="0, 0; .2, .5; .8, .5; 1, 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4" dur="250" autoRev="1" fill="hold"/>
                                        <p:tgtEl>
                                          <p:spTgt spid="3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6" presetClass="emph" presetSubtype="0" repeatCount="2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 tmFilter="0, 0; .2, .5; .8, .5; 1, 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2" dur="250" autoRev="1" fill="hold"/>
                                        <p:tgtEl>
                                          <p:spTgt spid="4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6" presetClass="emph" presetSubtype="0" repeatCount="2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9" dur="500" tmFilter="0, 0; .2, .5; .8, .5; 1, 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0" dur="250" autoRev="1" fill="hold"/>
                                        <p:tgtEl>
                                          <p:spTgt spid="4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1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6" presetClass="emph" presetSubtype="0" repeatCount="2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7" dur="500" tmFilter="0, 0; .2, .5; .8, .5; 1, 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8" dur="250" autoRev="1" fill="hold"/>
                                        <p:tgtEl>
                                          <p:spTgt spid="4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6" presetClass="emph" presetSubtype="0" repeatCount="2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 tmFilter="0, 0; .2, .5; .8, .5; 1, 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6" dur="250" autoRev="1" fill="hold"/>
                                        <p:tgtEl>
                                          <p:spTgt spid="5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67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6" presetClass="emph" presetSubtype="0" repeatCount="2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500" tmFilter="0, 0; .2, .5; .8, .5; 1, 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4" dur="250" autoRev="1" fill="hold"/>
                                        <p:tgtEl>
                                          <p:spTgt spid="5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6" name="Group 255"/>
          <p:cNvGrpSpPr/>
          <p:nvPr/>
        </p:nvGrpSpPr>
        <p:grpSpPr>
          <a:xfrm>
            <a:off x="584750" y="1833414"/>
            <a:ext cx="2291983" cy="1902411"/>
            <a:chOff x="584750" y="1833414"/>
            <a:chExt cx="2291983" cy="1902411"/>
          </a:xfrm>
        </p:grpSpPr>
        <p:sp>
          <p:nvSpPr>
            <p:cNvPr id="254" name="Freeform 253"/>
            <p:cNvSpPr/>
            <p:nvPr/>
          </p:nvSpPr>
          <p:spPr bwMode="auto">
            <a:xfrm>
              <a:off x="584750" y="1833414"/>
              <a:ext cx="2291983" cy="1902411"/>
            </a:xfrm>
            <a:custGeom>
              <a:avLst/>
              <a:gdLst>
                <a:gd name="connsiteX0" fmla="*/ 288553 w 2291983"/>
                <a:gd name="connsiteY0" fmla="*/ 32939 h 1868046"/>
                <a:gd name="connsiteX1" fmla="*/ 720068 w 2291983"/>
                <a:gd name="connsiteY1" fmla="*/ 2117 h 1868046"/>
                <a:gd name="connsiteX2" fmla="*/ 1120760 w 2291983"/>
                <a:gd name="connsiteY2" fmla="*/ 12391 h 1868046"/>
                <a:gd name="connsiteX3" fmla="*/ 1819403 w 2291983"/>
                <a:gd name="connsiteY3" fmla="*/ 22665 h 1868046"/>
                <a:gd name="connsiteX4" fmla="*/ 1973515 w 2291983"/>
                <a:gd name="connsiteY4" fmla="*/ 289793 h 1868046"/>
                <a:gd name="connsiteX5" fmla="*/ 1963241 w 2291983"/>
                <a:gd name="connsiteY5" fmla="*/ 669937 h 1868046"/>
                <a:gd name="connsiteX6" fmla="*/ 2004338 w 2291983"/>
                <a:gd name="connsiteY6" fmla="*/ 978162 h 1868046"/>
                <a:gd name="connsiteX7" fmla="*/ 2281740 w 2291983"/>
                <a:gd name="connsiteY7" fmla="*/ 1378854 h 1868046"/>
                <a:gd name="connsiteX8" fmla="*/ 2178998 w 2291983"/>
                <a:gd name="connsiteY8" fmla="*/ 1830917 h 1868046"/>
                <a:gd name="connsiteX9" fmla="*/ 1685839 w 2291983"/>
                <a:gd name="connsiteY9" fmla="*/ 1841191 h 1868046"/>
                <a:gd name="connsiteX10" fmla="*/ 329650 w 2291983"/>
                <a:gd name="connsiteY10" fmla="*/ 1820642 h 1868046"/>
                <a:gd name="connsiteX11" fmla="*/ 877 w 2291983"/>
                <a:gd name="connsiteY11" fmla="*/ 1635708 h 1868046"/>
                <a:gd name="connsiteX12" fmla="*/ 237183 w 2291983"/>
                <a:gd name="connsiteY12" fmla="*/ 1029532 h 1868046"/>
                <a:gd name="connsiteX13" fmla="*/ 360472 w 2291983"/>
                <a:gd name="connsiteY13" fmla="*/ 577469 h 1868046"/>
                <a:gd name="connsiteX14" fmla="*/ 288553 w 2291983"/>
                <a:gd name="connsiteY14" fmla="*/ 32939 h 1868046"/>
                <a:gd name="connsiteX0" fmla="*/ 291977 w 2291983"/>
                <a:gd name="connsiteY0" fmla="*/ 29514 h 1868046"/>
                <a:gd name="connsiteX1" fmla="*/ 720068 w 2291983"/>
                <a:gd name="connsiteY1" fmla="*/ 2117 h 1868046"/>
                <a:gd name="connsiteX2" fmla="*/ 1120760 w 2291983"/>
                <a:gd name="connsiteY2" fmla="*/ 12391 h 1868046"/>
                <a:gd name="connsiteX3" fmla="*/ 1819403 w 2291983"/>
                <a:gd name="connsiteY3" fmla="*/ 22665 h 1868046"/>
                <a:gd name="connsiteX4" fmla="*/ 1973515 w 2291983"/>
                <a:gd name="connsiteY4" fmla="*/ 289793 h 1868046"/>
                <a:gd name="connsiteX5" fmla="*/ 1963241 w 2291983"/>
                <a:gd name="connsiteY5" fmla="*/ 669937 h 1868046"/>
                <a:gd name="connsiteX6" fmla="*/ 2004338 w 2291983"/>
                <a:gd name="connsiteY6" fmla="*/ 978162 h 1868046"/>
                <a:gd name="connsiteX7" fmla="*/ 2281740 w 2291983"/>
                <a:gd name="connsiteY7" fmla="*/ 1378854 h 1868046"/>
                <a:gd name="connsiteX8" fmla="*/ 2178998 w 2291983"/>
                <a:gd name="connsiteY8" fmla="*/ 1830917 h 1868046"/>
                <a:gd name="connsiteX9" fmla="*/ 1685839 w 2291983"/>
                <a:gd name="connsiteY9" fmla="*/ 1841191 h 1868046"/>
                <a:gd name="connsiteX10" fmla="*/ 329650 w 2291983"/>
                <a:gd name="connsiteY10" fmla="*/ 1820642 h 1868046"/>
                <a:gd name="connsiteX11" fmla="*/ 877 w 2291983"/>
                <a:gd name="connsiteY11" fmla="*/ 1635708 h 1868046"/>
                <a:gd name="connsiteX12" fmla="*/ 237183 w 2291983"/>
                <a:gd name="connsiteY12" fmla="*/ 1029532 h 1868046"/>
                <a:gd name="connsiteX13" fmla="*/ 360472 w 2291983"/>
                <a:gd name="connsiteY13" fmla="*/ 577469 h 1868046"/>
                <a:gd name="connsiteX14" fmla="*/ 291977 w 2291983"/>
                <a:gd name="connsiteY14" fmla="*/ 29514 h 1868046"/>
                <a:gd name="connsiteX0" fmla="*/ 291977 w 2291983"/>
                <a:gd name="connsiteY0" fmla="*/ 29514 h 1868046"/>
                <a:gd name="connsiteX1" fmla="*/ 720068 w 2291983"/>
                <a:gd name="connsiteY1" fmla="*/ 2117 h 1868046"/>
                <a:gd name="connsiteX2" fmla="*/ 1120760 w 2291983"/>
                <a:gd name="connsiteY2" fmla="*/ 12391 h 1868046"/>
                <a:gd name="connsiteX3" fmla="*/ 1819403 w 2291983"/>
                <a:gd name="connsiteY3" fmla="*/ 22665 h 1868046"/>
                <a:gd name="connsiteX4" fmla="*/ 1973515 w 2291983"/>
                <a:gd name="connsiteY4" fmla="*/ 289793 h 1868046"/>
                <a:gd name="connsiteX5" fmla="*/ 1963241 w 2291983"/>
                <a:gd name="connsiteY5" fmla="*/ 669937 h 1868046"/>
                <a:gd name="connsiteX6" fmla="*/ 2004338 w 2291983"/>
                <a:gd name="connsiteY6" fmla="*/ 978162 h 1868046"/>
                <a:gd name="connsiteX7" fmla="*/ 2281740 w 2291983"/>
                <a:gd name="connsiteY7" fmla="*/ 1378854 h 1868046"/>
                <a:gd name="connsiteX8" fmla="*/ 2178998 w 2291983"/>
                <a:gd name="connsiteY8" fmla="*/ 1830917 h 1868046"/>
                <a:gd name="connsiteX9" fmla="*/ 1685839 w 2291983"/>
                <a:gd name="connsiteY9" fmla="*/ 1841191 h 1868046"/>
                <a:gd name="connsiteX10" fmla="*/ 329650 w 2291983"/>
                <a:gd name="connsiteY10" fmla="*/ 1820642 h 1868046"/>
                <a:gd name="connsiteX11" fmla="*/ 877 w 2291983"/>
                <a:gd name="connsiteY11" fmla="*/ 1635708 h 1868046"/>
                <a:gd name="connsiteX12" fmla="*/ 237183 w 2291983"/>
                <a:gd name="connsiteY12" fmla="*/ 1029532 h 1868046"/>
                <a:gd name="connsiteX13" fmla="*/ 360472 w 2291983"/>
                <a:gd name="connsiteY13" fmla="*/ 577469 h 1868046"/>
                <a:gd name="connsiteX14" fmla="*/ 291977 w 2291983"/>
                <a:gd name="connsiteY14" fmla="*/ 29514 h 1868046"/>
                <a:gd name="connsiteX0" fmla="*/ 291977 w 2291983"/>
                <a:gd name="connsiteY0" fmla="*/ 63879 h 1902411"/>
                <a:gd name="connsiteX1" fmla="*/ 720068 w 2291983"/>
                <a:gd name="connsiteY1" fmla="*/ 36482 h 1902411"/>
                <a:gd name="connsiteX2" fmla="*/ 1120760 w 2291983"/>
                <a:gd name="connsiteY2" fmla="*/ 46756 h 1902411"/>
                <a:gd name="connsiteX3" fmla="*/ 1819403 w 2291983"/>
                <a:gd name="connsiteY3" fmla="*/ 57030 h 1902411"/>
                <a:gd name="connsiteX4" fmla="*/ 1973515 w 2291983"/>
                <a:gd name="connsiteY4" fmla="*/ 324158 h 1902411"/>
                <a:gd name="connsiteX5" fmla="*/ 1963241 w 2291983"/>
                <a:gd name="connsiteY5" fmla="*/ 704302 h 1902411"/>
                <a:gd name="connsiteX6" fmla="*/ 2004338 w 2291983"/>
                <a:gd name="connsiteY6" fmla="*/ 1012527 h 1902411"/>
                <a:gd name="connsiteX7" fmla="*/ 2281740 w 2291983"/>
                <a:gd name="connsiteY7" fmla="*/ 1413219 h 1902411"/>
                <a:gd name="connsiteX8" fmla="*/ 2178998 w 2291983"/>
                <a:gd name="connsiteY8" fmla="*/ 1865282 h 1902411"/>
                <a:gd name="connsiteX9" fmla="*/ 1685839 w 2291983"/>
                <a:gd name="connsiteY9" fmla="*/ 1875556 h 1902411"/>
                <a:gd name="connsiteX10" fmla="*/ 329650 w 2291983"/>
                <a:gd name="connsiteY10" fmla="*/ 1855007 h 1902411"/>
                <a:gd name="connsiteX11" fmla="*/ 877 w 2291983"/>
                <a:gd name="connsiteY11" fmla="*/ 1670073 h 1902411"/>
                <a:gd name="connsiteX12" fmla="*/ 237183 w 2291983"/>
                <a:gd name="connsiteY12" fmla="*/ 1063897 h 1902411"/>
                <a:gd name="connsiteX13" fmla="*/ 302252 w 2291983"/>
                <a:gd name="connsiteY13" fmla="*/ 800194 h 1902411"/>
                <a:gd name="connsiteX14" fmla="*/ 291977 w 2291983"/>
                <a:gd name="connsiteY14" fmla="*/ 63879 h 1902411"/>
                <a:gd name="connsiteX0" fmla="*/ 291977 w 2291983"/>
                <a:gd name="connsiteY0" fmla="*/ 63879 h 1902411"/>
                <a:gd name="connsiteX1" fmla="*/ 720068 w 2291983"/>
                <a:gd name="connsiteY1" fmla="*/ 36482 h 1902411"/>
                <a:gd name="connsiteX2" fmla="*/ 1120760 w 2291983"/>
                <a:gd name="connsiteY2" fmla="*/ 46756 h 1902411"/>
                <a:gd name="connsiteX3" fmla="*/ 1819403 w 2291983"/>
                <a:gd name="connsiteY3" fmla="*/ 57030 h 1902411"/>
                <a:gd name="connsiteX4" fmla="*/ 1973515 w 2291983"/>
                <a:gd name="connsiteY4" fmla="*/ 324158 h 1902411"/>
                <a:gd name="connsiteX5" fmla="*/ 2000913 w 2291983"/>
                <a:gd name="connsiteY5" fmla="*/ 707727 h 1902411"/>
                <a:gd name="connsiteX6" fmla="*/ 2004338 w 2291983"/>
                <a:gd name="connsiteY6" fmla="*/ 1012527 h 1902411"/>
                <a:gd name="connsiteX7" fmla="*/ 2281740 w 2291983"/>
                <a:gd name="connsiteY7" fmla="*/ 1413219 h 1902411"/>
                <a:gd name="connsiteX8" fmla="*/ 2178998 w 2291983"/>
                <a:gd name="connsiteY8" fmla="*/ 1865282 h 1902411"/>
                <a:gd name="connsiteX9" fmla="*/ 1685839 w 2291983"/>
                <a:gd name="connsiteY9" fmla="*/ 1875556 h 1902411"/>
                <a:gd name="connsiteX10" fmla="*/ 329650 w 2291983"/>
                <a:gd name="connsiteY10" fmla="*/ 1855007 h 1902411"/>
                <a:gd name="connsiteX11" fmla="*/ 877 w 2291983"/>
                <a:gd name="connsiteY11" fmla="*/ 1670073 h 1902411"/>
                <a:gd name="connsiteX12" fmla="*/ 237183 w 2291983"/>
                <a:gd name="connsiteY12" fmla="*/ 1063897 h 1902411"/>
                <a:gd name="connsiteX13" fmla="*/ 302252 w 2291983"/>
                <a:gd name="connsiteY13" fmla="*/ 800194 h 1902411"/>
                <a:gd name="connsiteX14" fmla="*/ 291977 w 2291983"/>
                <a:gd name="connsiteY14" fmla="*/ 63879 h 19024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91983" h="1902411">
                  <a:moveTo>
                    <a:pt x="291977" y="63879"/>
                  </a:moveTo>
                  <a:cubicBezTo>
                    <a:pt x="361613" y="-63406"/>
                    <a:pt x="581938" y="39336"/>
                    <a:pt x="720068" y="36482"/>
                  </a:cubicBezTo>
                  <a:lnTo>
                    <a:pt x="1120760" y="46756"/>
                  </a:lnTo>
                  <a:cubicBezTo>
                    <a:pt x="1303982" y="50181"/>
                    <a:pt x="1677277" y="10796"/>
                    <a:pt x="1819403" y="57030"/>
                  </a:cubicBezTo>
                  <a:cubicBezTo>
                    <a:pt x="1961529" y="103264"/>
                    <a:pt x="1943263" y="215708"/>
                    <a:pt x="1973515" y="324158"/>
                  </a:cubicBezTo>
                  <a:cubicBezTo>
                    <a:pt x="2003767" y="432608"/>
                    <a:pt x="1995776" y="592999"/>
                    <a:pt x="2000913" y="707727"/>
                  </a:cubicBezTo>
                  <a:cubicBezTo>
                    <a:pt x="2006050" y="822455"/>
                    <a:pt x="1957534" y="894945"/>
                    <a:pt x="2004338" y="1012527"/>
                  </a:cubicBezTo>
                  <a:cubicBezTo>
                    <a:pt x="2051142" y="1130109"/>
                    <a:pt x="2252630" y="1271093"/>
                    <a:pt x="2281740" y="1413219"/>
                  </a:cubicBezTo>
                  <a:cubicBezTo>
                    <a:pt x="2310850" y="1555345"/>
                    <a:pt x="2278315" y="1788226"/>
                    <a:pt x="2178998" y="1865282"/>
                  </a:cubicBezTo>
                  <a:cubicBezTo>
                    <a:pt x="2079681" y="1942338"/>
                    <a:pt x="1685839" y="1875556"/>
                    <a:pt x="1685839" y="1875556"/>
                  </a:cubicBezTo>
                  <a:lnTo>
                    <a:pt x="329650" y="1855007"/>
                  </a:lnTo>
                  <a:cubicBezTo>
                    <a:pt x="48823" y="1820760"/>
                    <a:pt x="16288" y="1801925"/>
                    <a:pt x="877" y="1670073"/>
                  </a:cubicBezTo>
                  <a:cubicBezTo>
                    <a:pt x="-14534" y="1538221"/>
                    <a:pt x="177251" y="1240270"/>
                    <a:pt x="237183" y="1063897"/>
                  </a:cubicBezTo>
                  <a:cubicBezTo>
                    <a:pt x="297115" y="887524"/>
                    <a:pt x="293120" y="966864"/>
                    <a:pt x="302252" y="800194"/>
                  </a:cubicBezTo>
                  <a:cubicBezTo>
                    <a:pt x="311384" y="633524"/>
                    <a:pt x="222341" y="191164"/>
                    <a:pt x="291977" y="63879"/>
                  </a:cubicBez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12700" cap="flat">
              <a:noFill/>
              <a:miter lim="800000"/>
              <a:headEnd type="none" w="med" len="med"/>
              <a:tailEnd type="none" w="med" len="med"/>
            </a:ln>
          </p:spPr>
          <p:txBody>
            <a:bodyPr lIns="91440" tIns="45720" rIns="91440" bIns="45720" rtlCol="0" anchor="ctr"/>
            <a:lstStyle/>
            <a:p>
              <a:pPr algn="ctr" defTabSz="514350"/>
              <a:endParaRPr lang="en-US" sz="1400" dirty="0" err="1" smtClean="0">
                <a:solidFill>
                  <a:srgbClr val="FFFFFF"/>
                </a:solidFill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  <p:sp>
          <p:nvSpPr>
            <p:cNvPr id="255" name="TextBox 254"/>
            <p:cNvSpPr txBox="1"/>
            <p:nvPr/>
          </p:nvSpPr>
          <p:spPr>
            <a:xfrm>
              <a:off x="1318792" y="2559302"/>
              <a:ext cx="851515" cy="5293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r>
                <a:rPr lang="en-US" sz="1300" dirty="0" smtClean="0">
                  <a:solidFill>
                    <a:srgbClr val="676767">
                      <a:lumMod val="50000"/>
                    </a:srgbClr>
                  </a:solidFill>
                </a:rPr>
                <a:t>NXOS</a:t>
              </a:r>
            </a:p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r>
                <a:rPr lang="en-US" sz="1300" dirty="0" smtClean="0">
                  <a:solidFill>
                    <a:srgbClr val="676767">
                      <a:lumMod val="50000"/>
                    </a:srgbClr>
                  </a:solidFill>
                </a:rPr>
                <a:t>Switches</a:t>
              </a:r>
            </a:p>
          </p:txBody>
        </p:sp>
      </p:grpSp>
      <p:grpSp>
        <p:nvGrpSpPr>
          <p:cNvPr id="263" name="Group 262"/>
          <p:cNvGrpSpPr/>
          <p:nvPr/>
        </p:nvGrpSpPr>
        <p:grpSpPr>
          <a:xfrm>
            <a:off x="2248375" y="1181526"/>
            <a:ext cx="5417345" cy="3233228"/>
            <a:chOff x="2248375" y="1181526"/>
            <a:chExt cx="5417345" cy="3233228"/>
          </a:xfrm>
        </p:grpSpPr>
        <p:sp>
          <p:nvSpPr>
            <p:cNvPr id="262" name="Oval 261"/>
            <p:cNvSpPr/>
            <p:nvPr/>
          </p:nvSpPr>
          <p:spPr>
            <a:xfrm>
              <a:off x="7049468" y="1181526"/>
              <a:ext cx="616252" cy="511718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ffectLst>
              <a:softEdge rad="127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253" name="Group 252"/>
            <p:cNvGrpSpPr/>
            <p:nvPr/>
          </p:nvGrpSpPr>
          <p:grpSpPr>
            <a:xfrm>
              <a:off x="2248375" y="1243142"/>
              <a:ext cx="4323657" cy="3171612"/>
              <a:chOff x="2248375" y="1243142"/>
              <a:chExt cx="4323657" cy="3171612"/>
            </a:xfrm>
          </p:grpSpPr>
          <p:sp>
            <p:nvSpPr>
              <p:cNvPr id="251" name="Freeform 250"/>
              <p:cNvSpPr/>
              <p:nvPr/>
            </p:nvSpPr>
            <p:spPr bwMode="auto">
              <a:xfrm>
                <a:off x="2248375" y="1243142"/>
                <a:ext cx="4323657" cy="3171612"/>
              </a:xfrm>
              <a:custGeom>
                <a:avLst/>
                <a:gdLst>
                  <a:gd name="connsiteX0" fmla="*/ 3618169 w 4323657"/>
                  <a:gd name="connsiteY0" fmla="*/ 2774054 h 3171612"/>
                  <a:gd name="connsiteX1" fmla="*/ 3690088 w 4323657"/>
                  <a:gd name="connsiteY1" fmla="*/ 2578845 h 3171612"/>
                  <a:gd name="connsiteX2" fmla="*/ 4101054 w 4323657"/>
                  <a:gd name="connsiteY2" fmla="*/ 2424732 h 3171612"/>
                  <a:gd name="connsiteX3" fmla="*/ 4316812 w 4323657"/>
                  <a:gd name="connsiteY3" fmla="*/ 2845973 h 3171612"/>
                  <a:gd name="connsiteX4" fmla="*/ 4183247 w 4323657"/>
                  <a:gd name="connsiteY4" fmla="*/ 3102827 h 3171612"/>
                  <a:gd name="connsiteX5" fmla="*/ 3381863 w 4323657"/>
                  <a:gd name="connsiteY5" fmla="*/ 3164471 h 3171612"/>
                  <a:gd name="connsiteX6" fmla="*/ 1717450 w 4323657"/>
                  <a:gd name="connsiteY6" fmla="*/ 3154197 h 3171612"/>
                  <a:gd name="connsiteX7" fmla="*/ 1203742 w 4323657"/>
                  <a:gd name="connsiteY7" fmla="*/ 3020633 h 3171612"/>
                  <a:gd name="connsiteX8" fmla="*/ 1059904 w 4323657"/>
                  <a:gd name="connsiteY8" fmla="*/ 2465829 h 3171612"/>
                  <a:gd name="connsiteX9" fmla="*/ 823598 w 4323657"/>
                  <a:gd name="connsiteY9" fmla="*/ 1941847 h 3171612"/>
                  <a:gd name="connsiteX10" fmla="*/ 464003 w 4323657"/>
                  <a:gd name="connsiteY10" fmla="*/ 1356220 h 3171612"/>
                  <a:gd name="connsiteX11" fmla="*/ 464003 w 4323657"/>
                  <a:gd name="connsiteY11" fmla="*/ 832238 h 3171612"/>
                  <a:gd name="connsiteX12" fmla="*/ 207149 w 4323657"/>
                  <a:gd name="connsiteY12" fmla="*/ 554836 h 3171612"/>
                  <a:gd name="connsiteX13" fmla="*/ 1665 w 4323657"/>
                  <a:gd name="connsiteY13" fmla="*/ 369901 h 3171612"/>
                  <a:gd name="connsiteX14" fmla="*/ 145504 w 4323657"/>
                  <a:gd name="connsiteY14" fmla="*/ 10305 h 3171612"/>
                  <a:gd name="connsiteX15" fmla="*/ 710582 w 4323657"/>
                  <a:gd name="connsiteY15" fmla="*/ 133595 h 3171612"/>
                  <a:gd name="connsiteX16" fmla="*/ 587292 w 4323657"/>
                  <a:gd name="connsiteY16" fmla="*/ 503465 h 3171612"/>
                  <a:gd name="connsiteX17" fmla="*/ 505099 w 4323657"/>
                  <a:gd name="connsiteY17" fmla="*/ 657577 h 3171612"/>
                  <a:gd name="connsiteX18" fmla="*/ 546196 w 4323657"/>
                  <a:gd name="connsiteY18" fmla="*/ 1017173 h 3171612"/>
                  <a:gd name="connsiteX19" fmla="*/ 535922 w 4323657"/>
                  <a:gd name="connsiteY19" fmla="*/ 1345946 h 3171612"/>
                  <a:gd name="connsiteX20" fmla="*/ 916065 w 4323657"/>
                  <a:gd name="connsiteY20" fmla="*/ 1818557 h 3171612"/>
                  <a:gd name="connsiteX21" fmla="*/ 1594160 w 4323657"/>
                  <a:gd name="connsiteY21" fmla="*/ 2404184 h 3171612"/>
                  <a:gd name="connsiteX22" fmla="*/ 1861288 w 4323657"/>
                  <a:gd name="connsiteY22" fmla="*/ 2866521 h 3171612"/>
                  <a:gd name="connsiteX23" fmla="*/ 2118142 w 4323657"/>
                  <a:gd name="connsiteY23" fmla="*/ 3061730 h 3171612"/>
                  <a:gd name="connsiteX24" fmla="*/ 2765414 w 4323657"/>
                  <a:gd name="connsiteY24" fmla="*/ 3092552 h 3171612"/>
                  <a:gd name="connsiteX25" fmla="*/ 3577072 w 4323657"/>
                  <a:gd name="connsiteY25" fmla="*/ 2969262 h 3171612"/>
                  <a:gd name="connsiteX26" fmla="*/ 3618169 w 4323657"/>
                  <a:gd name="connsiteY26" fmla="*/ 2774054 h 3171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323657" h="3171612">
                    <a:moveTo>
                      <a:pt x="3618169" y="2774054"/>
                    </a:moveTo>
                    <a:cubicBezTo>
                      <a:pt x="3637005" y="2708984"/>
                      <a:pt x="3609607" y="2637065"/>
                      <a:pt x="3690088" y="2578845"/>
                    </a:cubicBezTo>
                    <a:cubicBezTo>
                      <a:pt x="3770569" y="2520625"/>
                      <a:pt x="3996600" y="2380211"/>
                      <a:pt x="4101054" y="2424732"/>
                    </a:cubicBezTo>
                    <a:cubicBezTo>
                      <a:pt x="4205508" y="2469253"/>
                      <a:pt x="4303113" y="2732957"/>
                      <a:pt x="4316812" y="2845973"/>
                    </a:cubicBezTo>
                    <a:cubicBezTo>
                      <a:pt x="4330511" y="2958989"/>
                      <a:pt x="4339072" y="3049744"/>
                      <a:pt x="4183247" y="3102827"/>
                    </a:cubicBezTo>
                    <a:cubicBezTo>
                      <a:pt x="4027422" y="3155910"/>
                      <a:pt x="3792829" y="3155909"/>
                      <a:pt x="3381863" y="3164471"/>
                    </a:cubicBezTo>
                    <a:cubicBezTo>
                      <a:pt x="2970897" y="3173033"/>
                      <a:pt x="2080470" y="3178170"/>
                      <a:pt x="1717450" y="3154197"/>
                    </a:cubicBezTo>
                    <a:cubicBezTo>
                      <a:pt x="1354430" y="3130224"/>
                      <a:pt x="1313333" y="3135361"/>
                      <a:pt x="1203742" y="3020633"/>
                    </a:cubicBezTo>
                    <a:cubicBezTo>
                      <a:pt x="1094151" y="2905905"/>
                      <a:pt x="1123261" y="2645627"/>
                      <a:pt x="1059904" y="2465829"/>
                    </a:cubicBezTo>
                    <a:cubicBezTo>
                      <a:pt x="996547" y="2286031"/>
                      <a:pt x="922915" y="2126782"/>
                      <a:pt x="823598" y="1941847"/>
                    </a:cubicBezTo>
                    <a:cubicBezTo>
                      <a:pt x="724281" y="1756912"/>
                      <a:pt x="523935" y="1541155"/>
                      <a:pt x="464003" y="1356220"/>
                    </a:cubicBezTo>
                    <a:cubicBezTo>
                      <a:pt x="404071" y="1171285"/>
                      <a:pt x="506812" y="965802"/>
                      <a:pt x="464003" y="832238"/>
                    </a:cubicBezTo>
                    <a:cubicBezTo>
                      <a:pt x="421194" y="698674"/>
                      <a:pt x="284205" y="631892"/>
                      <a:pt x="207149" y="554836"/>
                    </a:cubicBezTo>
                    <a:cubicBezTo>
                      <a:pt x="130093" y="477780"/>
                      <a:pt x="11939" y="460656"/>
                      <a:pt x="1665" y="369901"/>
                    </a:cubicBezTo>
                    <a:cubicBezTo>
                      <a:pt x="-8609" y="279146"/>
                      <a:pt x="27351" y="49689"/>
                      <a:pt x="145504" y="10305"/>
                    </a:cubicBezTo>
                    <a:cubicBezTo>
                      <a:pt x="263657" y="-29079"/>
                      <a:pt x="636951" y="51402"/>
                      <a:pt x="710582" y="133595"/>
                    </a:cubicBezTo>
                    <a:cubicBezTo>
                      <a:pt x="784213" y="215788"/>
                      <a:pt x="621539" y="416135"/>
                      <a:pt x="587292" y="503465"/>
                    </a:cubicBezTo>
                    <a:cubicBezTo>
                      <a:pt x="553045" y="590795"/>
                      <a:pt x="511948" y="571959"/>
                      <a:pt x="505099" y="657577"/>
                    </a:cubicBezTo>
                    <a:cubicBezTo>
                      <a:pt x="498250" y="743195"/>
                      <a:pt x="541059" y="902445"/>
                      <a:pt x="546196" y="1017173"/>
                    </a:cubicBezTo>
                    <a:cubicBezTo>
                      <a:pt x="551333" y="1131901"/>
                      <a:pt x="474277" y="1212382"/>
                      <a:pt x="535922" y="1345946"/>
                    </a:cubicBezTo>
                    <a:cubicBezTo>
                      <a:pt x="597567" y="1479510"/>
                      <a:pt x="739692" y="1642184"/>
                      <a:pt x="916065" y="1818557"/>
                    </a:cubicBezTo>
                    <a:cubicBezTo>
                      <a:pt x="1092438" y="1994930"/>
                      <a:pt x="1436623" y="2229523"/>
                      <a:pt x="1594160" y="2404184"/>
                    </a:cubicBezTo>
                    <a:cubicBezTo>
                      <a:pt x="1751697" y="2578845"/>
                      <a:pt x="1773958" y="2756930"/>
                      <a:pt x="1861288" y="2866521"/>
                    </a:cubicBezTo>
                    <a:cubicBezTo>
                      <a:pt x="1948618" y="2976112"/>
                      <a:pt x="1967454" y="3024058"/>
                      <a:pt x="2118142" y="3061730"/>
                    </a:cubicBezTo>
                    <a:cubicBezTo>
                      <a:pt x="2268830" y="3099402"/>
                      <a:pt x="2522259" y="3107963"/>
                      <a:pt x="2765414" y="3092552"/>
                    </a:cubicBezTo>
                    <a:cubicBezTo>
                      <a:pt x="3008569" y="3077141"/>
                      <a:pt x="3431522" y="3024057"/>
                      <a:pt x="3577072" y="2969262"/>
                    </a:cubicBezTo>
                    <a:cubicBezTo>
                      <a:pt x="3722622" y="2914467"/>
                      <a:pt x="3599333" y="2839124"/>
                      <a:pt x="3618169" y="2774054"/>
                    </a:cubicBezTo>
                    <a:close/>
                  </a:path>
                </a:pathLst>
              </a:custGeom>
              <a:solidFill>
                <a:srgbClr val="FFC000"/>
              </a:solidFill>
              <a:ln w="12700" cap="flat">
                <a:noFill/>
                <a:miter lim="800000"/>
                <a:headEnd type="none" w="med" len="med"/>
                <a:tailEnd type="none" w="med" len="med"/>
              </a:ln>
              <a:effectLst>
                <a:softEdge rad="12700"/>
              </a:effectLst>
            </p:spPr>
            <p:txBody>
              <a:bodyPr lIns="91440" tIns="45720" rIns="91440" bIns="45720" rtlCol="0" anchor="ctr"/>
              <a:lstStyle/>
              <a:p>
                <a:pPr algn="ctr" defTabSz="514350"/>
                <a:endParaRPr lang="en-US" sz="1400" dirty="0" err="1" smtClean="0">
                  <a:solidFill>
                    <a:srgbClr val="FFFFFF"/>
                  </a:solidFill>
                  <a:ea typeface="Arial" pitchFamily="-107" charset="0"/>
                  <a:cs typeface="Arial" pitchFamily="-107" charset="0"/>
                  <a:sym typeface="Arial" pitchFamily="-107" charset="0"/>
                </a:endParaRPr>
              </a:p>
            </p:txBody>
          </p:sp>
          <p:sp>
            <p:nvSpPr>
              <p:cNvPr id="252" name="TextBox 251"/>
              <p:cNvSpPr txBox="1"/>
              <p:nvPr/>
            </p:nvSpPr>
            <p:spPr>
              <a:xfrm>
                <a:off x="3141995" y="3464873"/>
                <a:ext cx="824265" cy="27238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</a:pPr>
                <a:r>
                  <a:rPr lang="en-US" sz="1300" smtClean="0">
                    <a:solidFill>
                      <a:srgbClr val="676767">
                        <a:lumMod val="50000"/>
                      </a:srgbClr>
                    </a:solidFill>
                  </a:rPr>
                  <a:t>Wireless</a:t>
                </a:r>
              </a:p>
            </p:txBody>
          </p:sp>
        </p:grpSp>
      </p:grpSp>
      <p:sp>
        <p:nvSpPr>
          <p:cNvPr id="246" name="Rectangle 245"/>
          <p:cNvSpPr/>
          <p:nvPr/>
        </p:nvSpPr>
        <p:spPr bwMode="auto">
          <a:xfrm>
            <a:off x="4100703" y="4705638"/>
            <a:ext cx="1838989" cy="437862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91440" tIns="45720" rIns="91440" bIns="45720" rtlCol="0" anchor="ctr"/>
          <a:lstStyle/>
          <a:p>
            <a:pPr algn="ctr" defTabSz="514350"/>
            <a:endParaRPr lang="en-US" sz="1400" dirty="0" err="1" smtClean="0">
              <a:solidFill>
                <a:srgbClr val="FFFFFF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abling TrustSec in Enterprise Network</a:t>
            </a:r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 bwMode="auto">
          <a:xfrm flipH="1" flipV="1">
            <a:off x="1216761" y="1798563"/>
            <a:ext cx="658" cy="232160"/>
          </a:xfrm>
          <a:prstGeom prst="line">
            <a:avLst/>
          </a:prstGeom>
          <a:solidFill>
            <a:srgbClr val="0183B7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" name="Straight Connector 5"/>
          <p:cNvCxnSpPr/>
          <p:nvPr/>
        </p:nvCxnSpPr>
        <p:spPr bwMode="auto">
          <a:xfrm flipH="1" flipV="1">
            <a:off x="2297450" y="1802781"/>
            <a:ext cx="658" cy="232160"/>
          </a:xfrm>
          <a:prstGeom prst="line">
            <a:avLst/>
          </a:prstGeom>
          <a:solidFill>
            <a:srgbClr val="0183B7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Straight Connector 6"/>
          <p:cNvCxnSpPr/>
          <p:nvPr/>
        </p:nvCxnSpPr>
        <p:spPr bwMode="auto">
          <a:xfrm flipH="1" flipV="1">
            <a:off x="4489139" y="3042009"/>
            <a:ext cx="658" cy="232160"/>
          </a:xfrm>
          <a:prstGeom prst="line">
            <a:avLst/>
          </a:prstGeom>
          <a:solidFill>
            <a:srgbClr val="0183B7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 flipH="1" flipV="1">
            <a:off x="5360066" y="3036669"/>
            <a:ext cx="658" cy="232160"/>
          </a:xfrm>
          <a:prstGeom prst="line">
            <a:avLst/>
          </a:prstGeom>
          <a:solidFill>
            <a:srgbClr val="0183B7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9" name="Group 8"/>
          <p:cNvGrpSpPr/>
          <p:nvPr/>
        </p:nvGrpSpPr>
        <p:grpSpPr>
          <a:xfrm>
            <a:off x="688620" y="2872792"/>
            <a:ext cx="2103120" cy="308277"/>
            <a:chOff x="688620" y="2872792"/>
            <a:chExt cx="2103120" cy="308277"/>
          </a:xfrm>
        </p:grpSpPr>
        <p:cxnSp>
          <p:nvCxnSpPr>
            <p:cNvPr id="10" name="Straight Connector 9"/>
            <p:cNvCxnSpPr/>
            <p:nvPr/>
          </p:nvCxnSpPr>
          <p:spPr bwMode="auto">
            <a:xfrm rot="5400000" flipH="1">
              <a:off x="1399011" y="3116601"/>
              <a:ext cx="128016" cy="197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" name="Straight Connector 10"/>
            <p:cNvCxnSpPr/>
            <p:nvPr/>
          </p:nvCxnSpPr>
          <p:spPr bwMode="auto">
            <a:xfrm flipH="1">
              <a:off x="688620" y="3052060"/>
              <a:ext cx="2103120" cy="197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2" name="Straight Connector 11"/>
            <p:cNvCxnSpPr/>
            <p:nvPr/>
          </p:nvCxnSpPr>
          <p:spPr bwMode="auto">
            <a:xfrm rot="5400000" flipH="1">
              <a:off x="2203111" y="2964133"/>
              <a:ext cx="182880" cy="197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" name="Straight Connector 12"/>
            <p:cNvCxnSpPr/>
            <p:nvPr/>
          </p:nvCxnSpPr>
          <p:spPr bwMode="auto">
            <a:xfrm rot="5400000" flipH="1">
              <a:off x="1103697" y="2965607"/>
              <a:ext cx="182880" cy="197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4" name="Straight Connector 13"/>
            <p:cNvCxnSpPr/>
            <p:nvPr/>
          </p:nvCxnSpPr>
          <p:spPr bwMode="auto">
            <a:xfrm rot="5400000" flipH="1">
              <a:off x="1974951" y="3116962"/>
              <a:ext cx="128016" cy="197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" name="Straight Connector 14"/>
            <p:cNvCxnSpPr/>
            <p:nvPr/>
          </p:nvCxnSpPr>
          <p:spPr bwMode="auto">
            <a:xfrm rot="5400000" flipH="1">
              <a:off x="2525487" y="3115971"/>
              <a:ext cx="128016" cy="197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Straight Connector 15"/>
            <p:cNvCxnSpPr/>
            <p:nvPr/>
          </p:nvCxnSpPr>
          <p:spPr bwMode="auto">
            <a:xfrm rot="5400000" flipH="1">
              <a:off x="839233" y="3115970"/>
              <a:ext cx="128016" cy="197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17" name="Straight Connector 16"/>
          <p:cNvCxnSpPr/>
          <p:nvPr/>
        </p:nvCxnSpPr>
        <p:spPr bwMode="auto">
          <a:xfrm flipH="1">
            <a:off x="3806107" y="3968189"/>
            <a:ext cx="536387" cy="197"/>
          </a:xfrm>
          <a:prstGeom prst="line">
            <a:avLst/>
          </a:prstGeom>
          <a:solidFill>
            <a:srgbClr val="0183B7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17"/>
          <p:cNvCxnSpPr/>
          <p:nvPr/>
        </p:nvCxnSpPr>
        <p:spPr bwMode="auto">
          <a:xfrm flipH="1">
            <a:off x="5516883" y="3963354"/>
            <a:ext cx="536387" cy="197"/>
          </a:xfrm>
          <a:prstGeom prst="line">
            <a:avLst/>
          </a:prstGeom>
          <a:solidFill>
            <a:srgbClr val="0183B7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Straight Connector 18"/>
          <p:cNvCxnSpPr/>
          <p:nvPr/>
        </p:nvCxnSpPr>
        <p:spPr bwMode="auto">
          <a:xfrm rot="5400000" flipH="1">
            <a:off x="4183349" y="3642548"/>
            <a:ext cx="536387" cy="197"/>
          </a:xfrm>
          <a:prstGeom prst="line">
            <a:avLst/>
          </a:prstGeom>
          <a:solidFill>
            <a:srgbClr val="0183B7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9"/>
          <p:cNvCxnSpPr/>
          <p:nvPr/>
        </p:nvCxnSpPr>
        <p:spPr bwMode="auto">
          <a:xfrm rot="5400000" flipH="1">
            <a:off x="5133461" y="3687352"/>
            <a:ext cx="536387" cy="197"/>
          </a:xfrm>
          <a:prstGeom prst="line">
            <a:avLst/>
          </a:prstGeom>
          <a:solidFill>
            <a:srgbClr val="0183B7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Bent Arrow 20"/>
          <p:cNvSpPr/>
          <p:nvPr/>
        </p:nvSpPr>
        <p:spPr bwMode="auto">
          <a:xfrm rot="5400000">
            <a:off x="6971302" y="2416820"/>
            <a:ext cx="998929" cy="1229990"/>
          </a:xfrm>
          <a:prstGeom prst="bentArrow">
            <a:avLst>
              <a:gd name="adj1" fmla="val 1013"/>
              <a:gd name="adj2" fmla="val 15229"/>
              <a:gd name="adj3" fmla="val 0"/>
              <a:gd name="adj4" fmla="val 5290"/>
            </a:avLst>
          </a:prstGeom>
          <a:solidFill>
            <a:schemeClr val="bg1">
              <a:lumMod val="75000"/>
            </a:schemeClr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91440" tIns="45720" rIns="91440" bIns="45720" rtlCol="0" anchor="ctr"/>
          <a:lstStyle/>
          <a:p>
            <a:pPr algn="ctr" defTabSz="514350"/>
            <a:endParaRPr lang="en-US" sz="1400" dirty="0" err="1" smtClean="0">
              <a:solidFill>
                <a:srgbClr val="FFFFFF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4" name="Freeform 23"/>
          <p:cNvSpPr/>
          <p:nvPr/>
        </p:nvSpPr>
        <p:spPr bwMode="auto">
          <a:xfrm>
            <a:off x="511298" y="1181526"/>
            <a:ext cx="3420455" cy="2548658"/>
          </a:xfrm>
          <a:custGeom>
            <a:avLst/>
            <a:gdLst>
              <a:gd name="connsiteX0" fmla="*/ 132362 w 3420455"/>
              <a:gd name="connsiteY0" fmla="*/ 0 h 2681762"/>
              <a:gd name="connsiteX1" fmla="*/ 231076 w 3420455"/>
              <a:gd name="connsiteY1" fmla="*/ 0 h 2681762"/>
              <a:gd name="connsiteX2" fmla="*/ 2304351 w 3420455"/>
              <a:gd name="connsiteY2" fmla="*/ 0 h 2681762"/>
              <a:gd name="connsiteX3" fmla="*/ 3335625 w 3420455"/>
              <a:gd name="connsiteY3" fmla="*/ 0 h 2681762"/>
              <a:gd name="connsiteX4" fmla="*/ 3420455 w 3420455"/>
              <a:gd name="connsiteY4" fmla="*/ 84830 h 2681762"/>
              <a:gd name="connsiteX5" fmla="*/ 3420455 w 3420455"/>
              <a:gd name="connsiteY5" fmla="*/ 1476843 h 2681762"/>
              <a:gd name="connsiteX6" fmla="*/ 3335625 w 3420455"/>
              <a:gd name="connsiteY6" fmla="*/ 1561673 h 2681762"/>
              <a:gd name="connsiteX7" fmla="*/ 2436713 w 3420455"/>
              <a:gd name="connsiteY7" fmla="*/ 1561673 h 2681762"/>
              <a:gd name="connsiteX8" fmla="*/ 2436713 w 3420455"/>
              <a:gd name="connsiteY8" fmla="*/ 2549400 h 2681762"/>
              <a:gd name="connsiteX9" fmla="*/ 2304351 w 3420455"/>
              <a:gd name="connsiteY9" fmla="*/ 2681762 h 2681762"/>
              <a:gd name="connsiteX10" fmla="*/ 132362 w 3420455"/>
              <a:gd name="connsiteY10" fmla="*/ 2681762 h 2681762"/>
              <a:gd name="connsiteX11" fmla="*/ 0 w 3420455"/>
              <a:gd name="connsiteY11" fmla="*/ 2549400 h 2681762"/>
              <a:gd name="connsiteX12" fmla="*/ 0 w 3420455"/>
              <a:gd name="connsiteY12" fmla="*/ 132362 h 2681762"/>
              <a:gd name="connsiteX13" fmla="*/ 132362 w 3420455"/>
              <a:gd name="connsiteY13" fmla="*/ 0 h 2681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420455" h="2681762">
                <a:moveTo>
                  <a:pt x="132362" y="0"/>
                </a:moveTo>
                <a:lnTo>
                  <a:pt x="231076" y="0"/>
                </a:lnTo>
                <a:lnTo>
                  <a:pt x="2304351" y="0"/>
                </a:lnTo>
                <a:lnTo>
                  <a:pt x="3335625" y="0"/>
                </a:lnTo>
                <a:cubicBezTo>
                  <a:pt x="3382475" y="0"/>
                  <a:pt x="3420455" y="37980"/>
                  <a:pt x="3420455" y="84830"/>
                </a:cubicBezTo>
                <a:lnTo>
                  <a:pt x="3420455" y="1476843"/>
                </a:lnTo>
                <a:cubicBezTo>
                  <a:pt x="3420455" y="1523693"/>
                  <a:pt x="3382475" y="1561673"/>
                  <a:pt x="3335625" y="1561673"/>
                </a:cubicBezTo>
                <a:lnTo>
                  <a:pt x="2436713" y="1561673"/>
                </a:lnTo>
                <a:lnTo>
                  <a:pt x="2436713" y="2549400"/>
                </a:lnTo>
                <a:cubicBezTo>
                  <a:pt x="2436713" y="2622502"/>
                  <a:pt x="2377453" y="2681762"/>
                  <a:pt x="2304351" y="2681762"/>
                </a:cubicBezTo>
                <a:lnTo>
                  <a:pt x="132362" y="2681762"/>
                </a:lnTo>
                <a:cubicBezTo>
                  <a:pt x="59260" y="2681762"/>
                  <a:pt x="0" y="2622502"/>
                  <a:pt x="0" y="2549400"/>
                </a:cubicBezTo>
                <a:lnTo>
                  <a:pt x="0" y="132362"/>
                </a:lnTo>
                <a:cubicBezTo>
                  <a:pt x="0" y="59260"/>
                  <a:pt x="59260" y="0"/>
                  <a:pt x="132362" y="0"/>
                </a:cubicBezTo>
                <a:close/>
              </a:path>
            </a:pathLst>
          </a:custGeom>
          <a:noFill/>
          <a:ln w="19050" cap="rnd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txBody>
          <a:bodyPr wrap="square" lIns="91440" tIns="45720" rIns="91440" bIns="45720" rtlCol="0" anchor="ctr">
            <a:noAutofit/>
          </a:bodyPr>
          <a:lstStyle/>
          <a:p>
            <a:pPr algn="ctr" defTabSz="514350"/>
            <a:endParaRPr lang="en-US" sz="1400" dirty="0" err="1">
              <a:solidFill>
                <a:srgbClr val="FFFFFF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5" name="Rounded Rectangle 24"/>
          <p:cNvSpPr/>
          <p:nvPr/>
        </p:nvSpPr>
        <p:spPr bwMode="auto">
          <a:xfrm>
            <a:off x="6756587" y="1181527"/>
            <a:ext cx="1929800" cy="902411"/>
          </a:xfrm>
          <a:prstGeom prst="roundRect">
            <a:avLst>
              <a:gd name="adj" fmla="val 5432"/>
            </a:avLst>
          </a:prstGeom>
          <a:noFill/>
          <a:ln w="19050" cap="rnd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txBody>
          <a:bodyPr lIns="91440" tIns="45720" rIns="91440" bIns="45720" rtlCol="0" anchor="ctr"/>
          <a:lstStyle/>
          <a:p>
            <a:pPr algn="ctr" defTabSz="514350"/>
            <a:endParaRPr lang="en-US" sz="1400" dirty="0" err="1" smtClean="0">
              <a:solidFill>
                <a:srgbClr val="FFFFFF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6" name="Rounded Rectangle 25"/>
          <p:cNvSpPr/>
          <p:nvPr/>
        </p:nvSpPr>
        <p:spPr bwMode="auto">
          <a:xfrm>
            <a:off x="3092519" y="2934655"/>
            <a:ext cx="3637052" cy="1737358"/>
          </a:xfrm>
          <a:prstGeom prst="roundRect">
            <a:avLst>
              <a:gd name="adj" fmla="val 5432"/>
            </a:avLst>
          </a:prstGeom>
          <a:noFill/>
          <a:ln w="19050" cap="rnd">
            <a:solidFill>
              <a:schemeClr val="bg1">
                <a:lumMod val="50000"/>
              </a:schemeClr>
            </a:solidFill>
            <a:prstDash val="sysDot"/>
            <a:miter lim="800000"/>
            <a:headEnd type="none" w="med" len="med"/>
            <a:tailEnd type="none" w="med" len="med"/>
          </a:ln>
        </p:spPr>
        <p:txBody>
          <a:bodyPr lIns="91440" tIns="45720" rIns="91440" bIns="45720" rtlCol="0" anchor="ctr"/>
          <a:lstStyle/>
          <a:p>
            <a:pPr algn="ctr" defTabSz="514350"/>
            <a:endParaRPr lang="en-US" sz="1400" dirty="0" err="1" smtClean="0">
              <a:solidFill>
                <a:srgbClr val="FFFFFF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7" name="Freeform 26"/>
          <p:cNvSpPr>
            <a:spLocks noChangeAspect="1"/>
          </p:cNvSpPr>
          <p:nvPr/>
        </p:nvSpPr>
        <p:spPr bwMode="auto">
          <a:xfrm>
            <a:off x="2874759" y="2001644"/>
            <a:ext cx="1371600" cy="816364"/>
          </a:xfrm>
          <a:custGeom>
            <a:avLst/>
            <a:gdLst>
              <a:gd name="T0" fmla="*/ 699 w 799"/>
              <a:gd name="T1" fmla="*/ 264 h 464"/>
              <a:gd name="T2" fmla="*/ 698 w 799"/>
              <a:gd name="T3" fmla="*/ 264 h 464"/>
              <a:gd name="T4" fmla="*/ 699 w 799"/>
              <a:gd name="T5" fmla="*/ 253 h 464"/>
              <a:gd name="T6" fmla="*/ 635 w 799"/>
              <a:gd name="T7" fmla="*/ 190 h 464"/>
              <a:gd name="T8" fmla="*/ 623 w 799"/>
              <a:gd name="T9" fmla="*/ 191 h 464"/>
              <a:gd name="T10" fmla="*/ 629 w 799"/>
              <a:gd name="T11" fmla="*/ 153 h 464"/>
              <a:gd name="T12" fmla="*/ 457 w 799"/>
              <a:gd name="T13" fmla="*/ 0 h 464"/>
              <a:gd name="T14" fmla="*/ 288 w 799"/>
              <a:gd name="T15" fmla="*/ 124 h 464"/>
              <a:gd name="T16" fmla="*/ 229 w 799"/>
              <a:gd name="T17" fmla="*/ 102 h 464"/>
              <a:gd name="T18" fmla="*/ 138 w 799"/>
              <a:gd name="T19" fmla="*/ 194 h 464"/>
              <a:gd name="T20" fmla="*/ 138 w 799"/>
              <a:gd name="T21" fmla="*/ 199 h 464"/>
              <a:gd name="T22" fmla="*/ 133 w 799"/>
              <a:gd name="T23" fmla="*/ 198 h 464"/>
              <a:gd name="T24" fmla="*/ 0 w 799"/>
              <a:gd name="T25" fmla="*/ 331 h 464"/>
              <a:gd name="T26" fmla="*/ 133 w 799"/>
              <a:gd name="T27" fmla="*/ 464 h 464"/>
              <a:gd name="T28" fmla="*/ 699 w 799"/>
              <a:gd name="T29" fmla="*/ 464 h 464"/>
              <a:gd name="T30" fmla="*/ 799 w 799"/>
              <a:gd name="T31" fmla="*/ 364 h 464"/>
              <a:gd name="T32" fmla="*/ 699 w 799"/>
              <a:gd name="T33" fmla="*/ 2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99" h="464">
                <a:moveTo>
                  <a:pt x="699" y="264"/>
                </a:moveTo>
                <a:cubicBezTo>
                  <a:pt x="698" y="264"/>
                  <a:pt x="698" y="264"/>
                  <a:pt x="698" y="264"/>
                </a:cubicBezTo>
                <a:cubicBezTo>
                  <a:pt x="698" y="260"/>
                  <a:pt x="699" y="257"/>
                  <a:pt x="699" y="253"/>
                </a:cubicBezTo>
                <a:cubicBezTo>
                  <a:pt x="699" y="218"/>
                  <a:pt x="670" y="190"/>
                  <a:pt x="635" y="190"/>
                </a:cubicBezTo>
                <a:cubicBezTo>
                  <a:pt x="631" y="190"/>
                  <a:pt x="627" y="190"/>
                  <a:pt x="623" y="191"/>
                </a:cubicBezTo>
                <a:cubicBezTo>
                  <a:pt x="627" y="179"/>
                  <a:pt x="629" y="166"/>
                  <a:pt x="629" y="153"/>
                </a:cubicBezTo>
                <a:cubicBezTo>
                  <a:pt x="629" y="69"/>
                  <a:pt x="552" y="0"/>
                  <a:pt x="457" y="0"/>
                </a:cubicBezTo>
                <a:cubicBezTo>
                  <a:pt x="373" y="0"/>
                  <a:pt x="304" y="53"/>
                  <a:pt x="288" y="124"/>
                </a:cubicBezTo>
                <a:cubicBezTo>
                  <a:pt x="272" y="110"/>
                  <a:pt x="252" y="102"/>
                  <a:pt x="229" y="102"/>
                </a:cubicBezTo>
                <a:cubicBezTo>
                  <a:pt x="179" y="102"/>
                  <a:pt x="138" y="143"/>
                  <a:pt x="138" y="194"/>
                </a:cubicBezTo>
                <a:cubicBezTo>
                  <a:pt x="138" y="195"/>
                  <a:pt x="138" y="197"/>
                  <a:pt x="138" y="199"/>
                </a:cubicBezTo>
                <a:cubicBezTo>
                  <a:pt x="133" y="198"/>
                  <a:pt x="133" y="198"/>
                  <a:pt x="133" y="198"/>
                </a:cubicBezTo>
                <a:cubicBezTo>
                  <a:pt x="59" y="198"/>
                  <a:pt x="0" y="257"/>
                  <a:pt x="0" y="331"/>
                </a:cubicBezTo>
                <a:cubicBezTo>
                  <a:pt x="0" y="404"/>
                  <a:pt x="59" y="464"/>
                  <a:pt x="133" y="464"/>
                </a:cubicBezTo>
                <a:cubicBezTo>
                  <a:pt x="699" y="464"/>
                  <a:pt x="699" y="464"/>
                  <a:pt x="699" y="464"/>
                </a:cubicBezTo>
                <a:cubicBezTo>
                  <a:pt x="754" y="464"/>
                  <a:pt x="799" y="419"/>
                  <a:pt x="799" y="364"/>
                </a:cubicBezTo>
                <a:cubicBezTo>
                  <a:pt x="799" y="309"/>
                  <a:pt x="754" y="264"/>
                  <a:pt x="699" y="264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28575" cap="flat" cmpd="sng" algn="ctr">
            <a:solidFill>
              <a:schemeClr val="accent1"/>
            </a:solidFill>
            <a:prstDash val="solid"/>
          </a:ln>
          <a:effectLst/>
        </p:spPr>
        <p:txBody>
          <a:bodyPr lIns="91420" tIns="45710" rIns="91420" bIns="45710" rtlCol="0" anchor="ctr"/>
          <a:lstStyle/>
          <a:p>
            <a:pPr algn="ctr" defTabSz="456706"/>
            <a:endParaRPr lang="en-US" sz="1400" kern="0" dirty="0">
              <a:solidFill>
                <a:sysClr val="windowText" lastClr="000000"/>
              </a:solidFill>
              <a:latin typeface="Arial"/>
            </a:endParaRPr>
          </a:p>
          <a:p>
            <a:pPr algn="ctr" defTabSz="456706"/>
            <a:r>
              <a:rPr lang="en-US" sz="1100" kern="0" dirty="0">
                <a:solidFill>
                  <a:srgbClr val="214794">
                    <a:lumMod val="75000"/>
                  </a:srgbClr>
                </a:solidFill>
                <a:latin typeface="Arial"/>
              </a:rPr>
              <a:t>Data Center</a:t>
            </a:r>
          </a:p>
          <a:p>
            <a:pPr algn="ctr" defTabSz="456706"/>
            <a:r>
              <a:rPr lang="en-US" sz="1100" kern="0" dirty="0">
                <a:solidFill>
                  <a:srgbClr val="214794">
                    <a:lumMod val="75000"/>
                  </a:srgbClr>
                </a:solidFill>
                <a:latin typeface="Arial"/>
              </a:rPr>
              <a:t>Network</a:t>
            </a:r>
          </a:p>
        </p:txBody>
      </p:sp>
      <p:sp>
        <p:nvSpPr>
          <p:cNvPr id="28" name="Freeform 27"/>
          <p:cNvSpPr>
            <a:spLocks noChangeAspect="1"/>
          </p:cNvSpPr>
          <p:nvPr/>
        </p:nvSpPr>
        <p:spPr bwMode="auto">
          <a:xfrm>
            <a:off x="3998090" y="1985439"/>
            <a:ext cx="1828800" cy="1088485"/>
          </a:xfrm>
          <a:custGeom>
            <a:avLst/>
            <a:gdLst>
              <a:gd name="T0" fmla="*/ 699 w 799"/>
              <a:gd name="T1" fmla="*/ 264 h 464"/>
              <a:gd name="T2" fmla="*/ 698 w 799"/>
              <a:gd name="T3" fmla="*/ 264 h 464"/>
              <a:gd name="T4" fmla="*/ 699 w 799"/>
              <a:gd name="T5" fmla="*/ 253 h 464"/>
              <a:gd name="T6" fmla="*/ 635 w 799"/>
              <a:gd name="T7" fmla="*/ 190 h 464"/>
              <a:gd name="T8" fmla="*/ 623 w 799"/>
              <a:gd name="T9" fmla="*/ 191 h 464"/>
              <a:gd name="T10" fmla="*/ 629 w 799"/>
              <a:gd name="T11" fmla="*/ 153 h 464"/>
              <a:gd name="T12" fmla="*/ 457 w 799"/>
              <a:gd name="T13" fmla="*/ 0 h 464"/>
              <a:gd name="T14" fmla="*/ 288 w 799"/>
              <a:gd name="T15" fmla="*/ 124 h 464"/>
              <a:gd name="T16" fmla="*/ 229 w 799"/>
              <a:gd name="T17" fmla="*/ 102 h 464"/>
              <a:gd name="T18" fmla="*/ 138 w 799"/>
              <a:gd name="T19" fmla="*/ 194 h 464"/>
              <a:gd name="T20" fmla="*/ 138 w 799"/>
              <a:gd name="T21" fmla="*/ 199 h 464"/>
              <a:gd name="T22" fmla="*/ 133 w 799"/>
              <a:gd name="T23" fmla="*/ 198 h 464"/>
              <a:gd name="T24" fmla="*/ 0 w 799"/>
              <a:gd name="T25" fmla="*/ 331 h 464"/>
              <a:gd name="T26" fmla="*/ 133 w 799"/>
              <a:gd name="T27" fmla="*/ 464 h 464"/>
              <a:gd name="T28" fmla="*/ 699 w 799"/>
              <a:gd name="T29" fmla="*/ 464 h 464"/>
              <a:gd name="T30" fmla="*/ 799 w 799"/>
              <a:gd name="T31" fmla="*/ 364 h 464"/>
              <a:gd name="T32" fmla="*/ 699 w 799"/>
              <a:gd name="T33" fmla="*/ 2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99" h="464">
                <a:moveTo>
                  <a:pt x="699" y="264"/>
                </a:moveTo>
                <a:cubicBezTo>
                  <a:pt x="698" y="264"/>
                  <a:pt x="698" y="264"/>
                  <a:pt x="698" y="264"/>
                </a:cubicBezTo>
                <a:cubicBezTo>
                  <a:pt x="698" y="260"/>
                  <a:pt x="699" y="257"/>
                  <a:pt x="699" y="253"/>
                </a:cubicBezTo>
                <a:cubicBezTo>
                  <a:pt x="699" y="218"/>
                  <a:pt x="670" y="190"/>
                  <a:pt x="635" y="190"/>
                </a:cubicBezTo>
                <a:cubicBezTo>
                  <a:pt x="631" y="190"/>
                  <a:pt x="627" y="190"/>
                  <a:pt x="623" y="191"/>
                </a:cubicBezTo>
                <a:cubicBezTo>
                  <a:pt x="627" y="179"/>
                  <a:pt x="629" y="166"/>
                  <a:pt x="629" y="153"/>
                </a:cubicBezTo>
                <a:cubicBezTo>
                  <a:pt x="629" y="69"/>
                  <a:pt x="552" y="0"/>
                  <a:pt x="457" y="0"/>
                </a:cubicBezTo>
                <a:cubicBezTo>
                  <a:pt x="373" y="0"/>
                  <a:pt x="304" y="53"/>
                  <a:pt x="288" y="124"/>
                </a:cubicBezTo>
                <a:cubicBezTo>
                  <a:pt x="272" y="110"/>
                  <a:pt x="252" y="102"/>
                  <a:pt x="229" y="102"/>
                </a:cubicBezTo>
                <a:cubicBezTo>
                  <a:pt x="179" y="102"/>
                  <a:pt x="138" y="143"/>
                  <a:pt x="138" y="194"/>
                </a:cubicBezTo>
                <a:cubicBezTo>
                  <a:pt x="138" y="195"/>
                  <a:pt x="138" y="197"/>
                  <a:pt x="138" y="199"/>
                </a:cubicBezTo>
                <a:cubicBezTo>
                  <a:pt x="133" y="198"/>
                  <a:pt x="133" y="198"/>
                  <a:pt x="133" y="198"/>
                </a:cubicBezTo>
                <a:cubicBezTo>
                  <a:pt x="59" y="198"/>
                  <a:pt x="0" y="257"/>
                  <a:pt x="0" y="331"/>
                </a:cubicBezTo>
                <a:cubicBezTo>
                  <a:pt x="0" y="404"/>
                  <a:pt x="59" y="464"/>
                  <a:pt x="133" y="464"/>
                </a:cubicBezTo>
                <a:cubicBezTo>
                  <a:pt x="699" y="464"/>
                  <a:pt x="699" y="464"/>
                  <a:pt x="699" y="464"/>
                </a:cubicBezTo>
                <a:cubicBezTo>
                  <a:pt x="754" y="464"/>
                  <a:pt x="799" y="419"/>
                  <a:pt x="799" y="364"/>
                </a:cubicBezTo>
                <a:cubicBezTo>
                  <a:pt x="799" y="309"/>
                  <a:pt x="754" y="264"/>
                  <a:pt x="699" y="264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28575" cap="flat" cmpd="sng" algn="ctr">
            <a:solidFill>
              <a:schemeClr val="accent1"/>
            </a:solidFill>
            <a:prstDash val="solid"/>
          </a:ln>
          <a:effectLst/>
        </p:spPr>
        <p:txBody>
          <a:bodyPr lIns="91420" tIns="45710" rIns="91420" bIns="45710" rtlCol="0" anchor="ctr"/>
          <a:lstStyle/>
          <a:p>
            <a:pPr algn="ctr" defTabSz="456706"/>
            <a:endParaRPr lang="en-US" sz="1400" kern="0" dirty="0" smtClean="0">
              <a:solidFill>
                <a:sysClr val="windowText" lastClr="000000"/>
              </a:solidFill>
              <a:latin typeface="Arial"/>
            </a:endParaRPr>
          </a:p>
          <a:p>
            <a:pPr algn="ctr" defTabSz="456706"/>
            <a:r>
              <a:rPr lang="en-US" sz="1400" kern="0" dirty="0" smtClean="0">
                <a:solidFill>
                  <a:srgbClr val="214794">
                    <a:lumMod val="75000"/>
                  </a:srgbClr>
                </a:solidFill>
                <a:latin typeface="Arial"/>
              </a:rPr>
              <a:t>Campus</a:t>
            </a:r>
          </a:p>
          <a:p>
            <a:pPr algn="ctr" defTabSz="456706"/>
            <a:r>
              <a:rPr lang="en-US" sz="1400" kern="0" dirty="0" smtClean="0">
                <a:solidFill>
                  <a:srgbClr val="214794">
                    <a:lumMod val="75000"/>
                  </a:srgbClr>
                </a:solidFill>
                <a:latin typeface="Arial"/>
              </a:rPr>
              <a:t>Network</a:t>
            </a:r>
            <a:endParaRPr lang="en-US" sz="1400" kern="0" dirty="0">
              <a:solidFill>
                <a:srgbClr val="214794">
                  <a:lumMod val="75000"/>
                </a:srgbClr>
              </a:solidFill>
              <a:latin typeface="Arial"/>
            </a:endParaRPr>
          </a:p>
        </p:txBody>
      </p:sp>
      <p:sp>
        <p:nvSpPr>
          <p:cNvPr id="29" name="Rectangle 27"/>
          <p:cNvSpPr>
            <a:spLocks noChangeAspect="1"/>
          </p:cNvSpPr>
          <p:nvPr/>
        </p:nvSpPr>
        <p:spPr>
          <a:xfrm>
            <a:off x="8370654" y="1665161"/>
            <a:ext cx="274320" cy="373484"/>
          </a:xfrm>
          <a:custGeom>
            <a:avLst/>
            <a:gdLst>
              <a:gd name="connsiteX0" fmla="*/ 1511300 w 1511300"/>
              <a:gd name="connsiteY0" fmla="*/ 1237501 h 1250809"/>
              <a:gd name="connsiteX1" fmla="*/ 1511300 w 1511300"/>
              <a:gd name="connsiteY1" fmla="*/ 1250809 h 1250809"/>
              <a:gd name="connsiteX2" fmla="*/ 1487557 w 1511300"/>
              <a:gd name="connsiteY2" fmla="*/ 1250809 h 1250809"/>
              <a:gd name="connsiteX3" fmla="*/ 1504156 w 1511300"/>
              <a:gd name="connsiteY3" fmla="*/ 1241283 h 1250809"/>
              <a:gd name="connsiteX4" fmla="*/ 1511300 w 1511300"/>
              <a:gd name="connsiteY4" fmla="*/ 1237501 h 1250809"/>
              <a:gd name="connsiteX5" fmla="*/ 1319212 w 1511300"/>
              <a:gd name="connsiteY5" fmla="*/ 1046020 h 1250809"/>
              <a:gd name="connsiteX6" fmla="*/ 1319212 w 1511300"/>
              <a:gd name="connsiteY6" fmla="*/ 1122220 h 1250809"/>
              <a:gd name="connsiteX7" fmla="*/ 1395412 w 1511300"/>
              <a:gd name="connsiteY7" fmla="*/ 1122220 h 1250809"/>
              <a:gd name="connsiteX8" fmla="*/ 1395412 w 1511300"/>
              <a:gd name="connsiteY8" fmla="*/ 1046020 h 1250809"/>
              <a:gd name="connsiteX9" fmla="*/ 1319212 w 1511300"/>
              <a:gd name="connsiteY9" fmla="*/ 1046020 h 1250809"/>
              <a:gd name="connsiteX10" fmla="*/ 1150937 w 1511300"/>
              <a:gd name="connsiteY10" fmla="*/ 1046020 h 1250809"/>
              <a:gd name="connsiteX11" fmla="*/ 1150937 w 1511300"/>
              <a:gd name="connsiteY11" fmla="*/ 1122220 h 1250809"/>
              <a:gd name="connsiteX12" fmla="*/ 1227137 w 1511300"/>
              <a:gd name="connsiteY12" fmla="*/ 1122220 h 1250809"/>
              <a:gd name="connsiteX13" fmla="*/ 1227137 w 1511300"/>
              <a:gd name="connsiteY13" fmla="*/ 1046020 h 1250809"/>
              <a:gd name="connsiteX14" fmla="*/ 1150937 w 1511300"/>
              <a:gd name="connsiteY14" fmla="*/ 1046020 h 1250809"/>
              <a:gd name="connsiteX15" fmla="*/ 984250 w 1511300"/>
              <a:gd name="connsiteY15" fmla="*/ 1046020 h 1250809"/>
              <a:gd name="connsiteX16" fmla="*/ 984250 w 1511300"/>
              <a:gd name="connsiteY16" fmla="*/ 1122220 h 1250809"/>
              <a:gd name="connsiteX17" fmla="*/ 1057275 w 1511300"/>
              <a:gd name="connsiteY17" fmla="*/ 1122220 h 1250809"/>
              <a:gd name="connsiteX18" fmla="*/ 1057275 w 1511300"/>
              <a:gd name="connsiteY18" fmla="*/ 1046020 h 1250809"/>
              <a:gd name="connsiteX19" fmla="*/ 984250 w 1511300"/>
              <a:gd name="connsiteY19" fmla="*/ 1046020 h 1250809"/>
              <a:gd name="connsiteX20" fmla="*/ 438150 w 1511300"/>
              <a:gd name="connsiteY20" fmla="*/ 1046020 h 1250809"/>
              <a:gd name="connsiteX21" fmla="*/ 438150 w 1511300"/>
              <a:gd name="connsiteY21" fmla="*/ 1122220 h 1250809"/>
              <a:gd name="connsiteX22" fmla="*/ 514350 w 1511300"/>
              <a:gd name="connsiteY22" fmla="*/ 1122220 h 1250809"/>
              <a:gd name="connsiteX23" fmla="*/ 514350 w 1511300"/>
              <a:gd name="connsiteY23" fmla="*/ 1046020 h 1250809"/>
              <a:gd name="connsiteX24" fmla="*/ 438150 w 1511300"/>
              <a:gd name="connsiteY24" fmla="*/ 1046020 h 1250809"/>
              <a:gd name="connsiteX25" fmla="*/ 277812 w 1511300"/>
              <a:gd name="connsiteY25" fmla="*/ 1046020 h 1250809"/>
              <a:gd name="connsiteX26" fmla="*/ 277812 w 1511300"/>
              <a:gd name="connsiteY26" fmla="*/ 1122220 h 1250809"/>
              <a:gd name="connsiteX27" fmla="*/ 352425 w 1511300"/>
              <a:gd name="connsiteY27" fmla="*/ 1122220 h 1250809"/>
              <a:gd name="connsiteX28" fmla="*/ 352425 w 1511300"/>
              <a:gd name="connsiteY28" fmla="*/ 1046020 h 1250809"/>
              <a:gd name="connsiteX29" fmla="*/ 277812 w 1511300"/>
              <a:gd name="connsiteY29" fmla="*/ 1046020 h 1250809"/>
              <a:gd name="connsiteX30" fmla="*/ 117475 w 1511300"/>
              <a:gd name="connsiteY30" fmla="*/ 1046020 h 1250809"/>
              <a:gd name="connsiteX31" fmla="*/ 117475 w 1511300"/>
              <a:gd name="connsiteY31" fmla="*/ 1122220 h 1250809"/>
              <a:gd name="connsiteX32" fmla="*/ 193675 w 1511300"/>
              <a:gd name="connsiteY32" fmla="*/ 1122220 h 1250809"/>
              <a:gd name="connsiteX33" fmla="*/ 193675 w 1511300"/>
              <a:gd name="connsiteY33" fmla="*/ 1046020 h 1250809"/>
              <a:gd name="connsiteX34" fmla="*/ 117475 w 1511300"/>
              <a:gd name="connsiteY34" fmla="*/ 1046020 h 1250809"/>
              <a:gd name="connsiteX35" fmla="*/ 1319212 w 1511300"/>
              <a:gd name="connsiteY35" fmla="*/ 788845 h 1250809"/>
              <a:gd name="connsiteX36" fmla="*/ 1319212 w 1511300"/>
              <a:gd name="connsiteY36" fmla="*/ 865045 h 1250809"/>
              <a:gd name="connsiteX37" fmla="*/ 1395412 w 1511300"/>
              <a:gd name="connsiteY37" fmla="*/ 865045 h 1250809"/>
              <a:gd name="connsiteX38" fmla="*/ 1395412 w 1511300"/>
              <a:gd name="connsiteY38" fmla="*/ 788845 h 1250809"/>
              <a:gd name="connsiteX39" fmla="*/ 1319212 w 1511300"/>
              <a:gd name="connsiteY39" fmla="*/ 788845 h 1250809"/>
              <a:gd name="connsiteX40" fmla="*/ 1150937 w 1511300"/>
              <a:gd name="connsiteY40" fmla="*/ 788845 h 1250809"/>
              <a:gd name="connsiteX41" fmla="*/ 1150937 w 1511300"/>
              <a:gd name="connsiteY41" fmla="*/ 865045 h 1250809"/>
              <a:gd name="connsiteX42" fmla="*/ 1227137 w 1511300"/>
              <a:gd name="connsiteY42" fmla="*/ 865045 h 1250809"/>
              <a:gd name="connsiteX43" fmla="*/ 1227137 w 1511300"/>
              <a:gd name="connsiteY43" fmla="*/ 788845 h 1250809"/>
              <a:gd name="connsiteX44" fmla="*/ 1150937 w 1511300"/>
              <a:gd name="connsiteY44" fmla="*/ 788845 h 1250809"/>
              <a:gd name="connsiteX45" fmla="*/ 989012 w 1511300"/>
              <a:gd name="connsiteY45" fmla="*/ 788845 h 1250809"/>
              <a:gd name="connsiteX46" fmla="*/ 989012 w 1511300"/>
              <a:gd name="connsiteY46" fmla="*/ 865045 h 1250809"/>
              <a:gd name="connsiteX47" fmla="*/ 1063625 w 1511300"/>
              <a:gd name="connsiteY47" fmla="*/ 865045 h 1250809"/>
              <a:gd name="connsiteX48" fmla="*/ 1063625 w 1511300"/>
              <a:gd name="connsiteY48" fmla="*/ 788845 h 1250809"/>
              <a:gd name="connsiteX49" fmla="*/ 989012 w 1511300"/>
              <a:gd name="connsiteY49" fmla="*/ 788845 h 1250809"/>
              <a:gd name="connsiteX50" fmla="*/ 820737 w 1511300"/>
              <a:gd name="connsiteY50" fmla="*/ 788845 h 1250809"/>
              <a:gd name="connsiteX51" fmla="*/ 820737 w 1511300"/>
              <a:gd name="connsiteY51" fmla="*/ 865045 h 1250809"/>
              <a:gd name="connsiteX52" fmla="*/ 896937 w 1511300"/>
              <a:gd name="connsiteY52" fmla="*/ 865045 h 1250809"/>
              <a:gd name="connsiteX53" fmla="*/ 896937 w 1511300"/>
              <a:gd name="connsiteY53" fmla="*/ 788845 h 1250809"/>
              <a:gd name="connsiteX54" fmla="*/ 820737 w 1511300"/>
              <a:gd name="connsiteY54" fmla="*/ 788845 h 1250809"/>
              <a:gd name="connsiteX55" fmla="*/ 660400 w 1511300"/>
              <a:gd name="connsiteY55" fmla="*/ 788845 h 1250809"/>
              <a:gd name="connsiteX56" fmla="*/ 660400 w 1511300"/>
              <a:gd name="connsiteY56" fmla="*/ 865045 h 1250809"/>
              <a:gd name="connsiteX57" fmla="*/ 736600 w 1511300"/>
              <a:gd name="connsiteY57" fmla="*/ 865045 h 1250809"/>
              <a:gd name="connsiteX58" fmla="*/ 736600 w 1511300"/>
              <a:gd name="connsiteY58" fmla="*/ 788845 h 1250809"/>
              <a:gd name="connsiteX59" fmla="*/ 660400 w 1511300"/>
              <a:gd name="connsiteY59" fmla="*/ 788845 h 1250809"/>
              <a:gd name="connsiteX60" fmla="*/ 1319212 w 1511300"/>
              <a:gd name="connsiteY60" fmla="*/ 631683 h 1250809"/>
              <a:gd name="connsiteX61" fmla="*/ 1319212 w 1511300"/>
              <a:gd name="connsiteY61" fmla="*/ 707883 h 1250809"/>
              <a:gd name="connsiteX62" fmla="*/ 1395412 w 1511300"/>
              <a:gd name="connsiteY62" fmla="*/ 707883 h 1250809"/>
              <a:gd name="connsiteX63" fmla="*/ 1395412 w 1511300"/>
              <a:gd name="connsiteY63" fmla="*/ 631683 h 1250809"/>
              <a:gd name="connsiteX64" fmla="*/ 1319212 w 1511300"/>
              <a:gd name="connsiteY64" fmla="*/ 631683 h 1250809"/>
              <a:gd name="connsiteX65" fmla="*/ 1150937 w 1511300"/>
              <a:gd name="connsiteY65" fmla="*/ 631683 h 1250809"/>
              <a:gd name="connsiteX66" fmla="*/ 1150937 w 1511300"/>
              <a:gd name="connsiteY66" fmla="*/ 707883 h 1250809"/>
              <a:gd name="connsiteX67" fmla="*/ 1227137 w 1511300"/>
              <a:gd name="connsiteY67" fmla="*/ 707883 h 1250809"/>
              <a:gd name="connsiteX68" fmla="*/ 1227137 w 1511300"/>
              <a:gd name="connsiteY68" fmla="*/ 631683 h 1250809"/>
              <a:gd name="connsiteX69" fmla="*/ 1150937 w 1511300"/>
              <a:gd name="connsiteY69" fmla="*/ 631683 h 1250809"/>
              <a:gd name="connsiteX70" fmla="*/ 989012 w 1511300"/>
              <a:gd name="connsiteY70" fmla="*/ 631683 h 1250809"/>
              <a:gd name="connsiteX71" fmla="*/ 989012 w 1511300"/>
              <a:gd name="connsiteY71" fmla="*/ 707883 h 1250809"/>
              <a:gd name="connsiteX72" fmla="*/ 1063625 w 1511300"/>
              <a:gd name="connsiteY72" fmla="*/ 707883 h 1250809"/>
              <a:gd name="connsiteX73" fmla="*/ 1063625 w 1511300"/>
              <a:gd name="connsiteY73" fmla="*/ 631683 h 1250809"/>
              <a:gd name="connsiteX74" fmla="*/ 989012 w 1511300"/>
              <a:gd name="connsiteY74" fmla="*/ 631683 h 1250809"/>
              <a:gd name="connsiteX75" fmla="*/ 820737 w 1511300"/>
              <a:gd name="connsiteY75" fmla="*/ 631683 h 1250809"/>
              <a:gd name="connsiteX76" fmla="*/ 820737 w 1511300"/>
              <a:gd name="connsiteY76" fmla="*/ 707883 h 1250809"/>
              <a:gd name="connsiteX77" fmla="*/ 896937 w 1511300"/>
              <a:gd name="connsiteY77" fmla="*/ 707883 h 1250809"/>
              <a:gd name="connsiteX78" fmla="*/ 896937 w 1511300"/>
              <a:gd name="connsiteY78" fmla="*/ 631683 h 1250809"/>
              <a:gd name="connsiteX79" fmla="*/ 820737 w 1511300"/>
              <a:gd name="connsiteY79" fmla="*/ 631683 h 1250809"/>
              <a:gd name="connsiteX80" fmla="*/ 660400 w 1511300"/>
              <a:gd name="connsiteY80" fmla="*/ 631683 h 1250809"/>
              <a:gd name="connsiteX81" fmla="*/ 660400 w 1511300"/>
              <a:gd name="connsiteY81" fmla="*/ 707883 h 1250809"/>
              <a:gd name="connsiteX82" fmla="*/ 736600 w 1511300"/>
              <a:gd name="connsiteY82" fmla="*/ 707883 h 1250809"/>
              <a:gd name="connsiteX83" fmla="*/ 736600 w 1511300"/>
              <a:gd name="connsiteY83" fmla="*/ 631683 h 1250809"/>
              <a:gd name="connsiteX84" fmla="*/ 660400 w 1511300"/>
              <a:gd name="connsiteY84" fmla="*/ 631683 h 1250809"/>
              <a:gd name="connsiteX85" fmla="*/ 1319212 w 1511300"/>
              <a:gd name="connsiteY85" fmla="*/ 463408 h 1250809"/>
              <a:gd name="connsiteX86" fmla="*/ 1319212 w 1511300"/>
              <a:gd name="connsiteY86" fmla="*/ 539608 h 1250809"/>
              <a:gd name="connsiteX87" fmla="*/ 1395412 w 1511300"/>
              <a:gd name="connsiteY87" fmla="*/ 539608 h 1250809"/>
              <a:gd name="connsiteX88" fmla="*/ 1395412 w 1511300"/>
              <a:gd name="connsiteY88" fmla="*/ 463408 h 1250809"/>
              <a:gd name="connsiteX89" fmla="*/ 1319212 w 1511300"/>
              <a:gd name="connsiteY89" fmla="*/ 463408 h 1250809"/>
              <a:gd name="connsiteX90" fmla="*/ 1150937 w 1511300"/>
              <a:gd name="connsiteY90" fmla="*/ 463408 h 1250809"/>
              <a:gd name="connsiteX91" fmla="*/ 1150937 w 1511300"/>
              <a:gd name="connsiteY91" fmla="*/ 539608 h 1250809"/>
              <a:gd name="connsiteX92" fmla="*/ 1227137 w 1511300"/>
              <a:gd name="connsiteY92" fmla="*/ 539608 h 1250809"/>
              <a:gd name="connsiteX93" fmla="*/ 1227137 w 1511300"/>
              <a:gd name="connsiteY93" fmla="*/ 463408 h 1250809"/>
              <a:gd name="connsiteX94" fmla="*/ 1150937 w 1511300"/>
              <a:gd name="connsiteY94" fmla="*/ 463408 h 1250809"/>
              <a:gd name="connsiteX95" fmla="*/ 1319212 w 1511300"/>
              <a:gd name="connsiteY95" fmla="*/ 296720 h 1250809"/>
              <a:gd name="connsiteX96" fmla="*/ 1319212 w 1511300"/>
              <a:gd name="connsiteY96" fmla="*/ 371333 h 1250809"/>
              <a:gd name="connsiteX97" fmla="*/ 1395412 w 1511300"/>
              <a:gd name="connsiteY97" fmla="*/ 371333 h 1250809"/>
              <a:gd name="connsiteX98" fmla="*/ 1395412 w 1511300"/>
              <a:gd name="connsiteY98" fmla="*/ 296720 h 1250809"/>
              <a:gd name="connsiteX99" fmla="*/ 1319212 w 1511300"/>
              <a:gd name="connsiteY99" fmla="*/ 296720 h 1250809"/>
              <a:gd name="connsiteX100" fmla="*/ 1150937 w 1511300"/>
              <a:gd name="connsiteY100" fmla="*/ 296720 h 1250809"/>
              <a:gd name="connsiteX101" fmla="*/ 1150937 w 1511300"/>
              <a:gd name="connsiteY101" fmla="*/ 371333 h 1250809"/>
              <a:gd name="connsiteX102" fmla="*/ 1227137 w 1511300"/>
              <a:gd name="connsiteY102" fmla="*/ 371333 h 1250809"/>
              <a:gd name="connsiteX103" fmla="*/ 1227137 w 1511300"/>
              <a:gd name="connsiteY103" fmla="*/ 296720 h 1250809"/>
              <a:gd name="connsiteX104" fmla="*/ 1150937 w 1511300"/>
              <a:gd name="connsiteY104" fmla="*/ 296720 h 1250809"/>
              <a:gd name="connsiteX105" fmla="*/ 1130495 w 1511300"/>
              <a:gd name="connsiteY105" fmla="*/ 0 h 1250809"/>
              <a:gd name="connsiteX106" fmla="*/ 1401025 w 1511300"/>
              <a:gd name="connsiteY106" fmla="*/ 0 h 1250809"/>
              <a:gd name="connsiteX107" fmla="*/ 1401025 w 1511300"/>
              <a:gd name="connsiteY107" fmla="*/ 146946 h 1250809"/>
              <a:gd name="connsiteX108" fmla="*/ 1511300 w 1511300"/>
              <a:gd name="connsiteY108" fmla="*/ 146946 h 1250809"/>
              <a:gd name="connsiteX109" fmla="*/ 1511300 w 1511300"/>
              <a:gd name="connsiteY109" fmla="*/ 1234123 h 1250809"/>
              <a:gd name="connsiteX110" fmla="*/ 877888 w 1511300"/>
              <a:gd name="connsiteY110" fmla="*/ 1232551 h 1250809"/>
              <a:gd name="connsiteX111" fmla="*/ 877888 w 1511300"/>
              <a:gd name="connsiteY111" fmla="*/ 1023795 h 1250809"/>
              <a:gd name="connsiteX112" fmla="*/ 785019 w 1511300"/>
              <a:gd name="connsiteY112" fmla="*/ 1023795 h 1250809"/>
              <a:gd name="connsiteX113" fmla="*/ 785019 w 1511300"/>
              <a:gd name="connsiteY113" fmla="*/ 1233345 h 1250809"/>
              <a:gd name="connsiteX114" fmla="*/ 729456 w 1511300"/>
              <a:gd name="connsiteY114" fmla="*/ 1233345 h 1250809"/>
              <a:gd name="connsiteX115" fmla="*/ 729456 w 1511300"/>
              <a:gd name="connsiteY115" fmla="*/ 1023795 h 1250809"/>
              <a:gd name="connsiteX116" fmla="*/ 637381 w 1511300"/>
              <a:gd name="connsiteY116" fmla="*/ 1023795 h 1250809"/>
              <a:gd name="connsiteX117" fmla="*/ 637381 w 1511300"/>
              <a:gd name="connsiteY117" fmla="*/ 1232551 h 1250809"/>
              <a:gd name="connsiteX118" fmla="*/ 0 w 1511300"/>
              <a:gd name="connsiteY118" fmla="*/ 1229376 h 1250809"/>
              <a:gd name="connsiteX119" fmla="*/ 0 w 1511300"/>
              <a:gd name="connsiteY119" fmla="*/ 935740 h 1250809"/>
              <a:gd name="connsiteX120" fmla="*/ 531521 w 1511300"/>
              <a:gd name="connsiteY120" fmla="*/ 936483 h 1250809"/>
              <a:gd name="connsiteX121" fmla="*/ 531521 w 1511300"/>
              <a:gd name="connsiteY121" fmla="*/ 506765 h 1250809"/>
              <a:gd name="connsiteX122" fmla="*/ 1017840 w 1511300"/>
              <a:gd name="connsiteY122" fmla="*/ 506765 h 1250809"/>
              <a:gd name="connsiteX123" fmla="*/ 1017840 w 1511300"/>
              <a:gd name="connsiteY123" fmla="*/ 146946 h 1250809"/>
              <a:gd name="connsiteX124" fmla="*/ 1130495 w 1511300"/>
              <a:gd name="connsiteY124" fmla="*/ 146946 h 1250809"/>
              <a:gd name="connsiteX125" fmla="*/ 1130495 w 1511300"/>
              <a:gd name="connsiteY125" fmla="*/ 0 h 1250809"/>
              <a:gd name="connsiteX0" fmla="*/ 1511300 w 1511300"/>
              <a:gd name="connsiteY0" fmla="*/ 1237501 h 1250809"/>
              <a:gd name="connsiteX1" fmla="*/ 1511300 w 1511300"/>
              <a:gd name="connsiteY1" fmla="*/ 1250809 h 1250809"/>
              <a:gd name="connsiteX2" fmla="*/ 1504156 w 1511300"/>
              <a:gd name="connsiteY2" fmla="*/ 1241283 h 1250809"/>
              <a:gd name="connsiteX3" fmla="*/ 1511300 w 1511300"/>
              <a:gd name="connsiteY3" fmla="*/ 1237501 h 1250809"/>
              <a:gd name="connsiteX4" fmla="*/ 1319212 w 1511300"/>
              <a:gd name="connsiteY4" fmla="*/ 1046020 h 1250809"/>
              <a:gd name="connsiteX5" fmla="*/ 1319212 w 1511300"/>
              <a:gd name="connsiteY5" fmla="*/ 1122220 h 1250809"/>
              <a:gd name="connsiteX6" fmla="*/ 1395412 w 1511300"/>
              <a:gd name="connsiteY6" fmla="*/ 1122220 h 1250809"/>
              <a:gd name="connsiteX7" fmla="*/ 1395412 w 1511300"/>
              <a:gd name="connsiteY7" fmla="*/ 1046020 h 1250809"/>
              <a:gd name="connsiteX8" fmla="*/ 1319212 w 1511300"/>
              <a:gd name="connsiteY8" fmla="*/ 1046020 h 1250809"/>
              <a:gd name="connsiteX9" fmla="*/ 1150937 w 1511300"/>
              <a:gd name="connsiteY9" fmla="*/ 1046020 h 1250809"/>
              <a:gd name="connsiteX10" fmla="*/ 1150937 w 1511300"/>
              <a:gd name="connsiteY10" fmla="*/ 1122220 h 1250809"/>
              <a:gd name="connsiteX11" fmla="*/ 1227137 w 1511300"/>
              <a:gd name="connsiteY11" fmla="*/ 1122220 h 1250809"/>
              <a:gd name="connsiteX12" fmla="*/ 1227137 w 1511300"/>
              <a:gd name="connsiteY12" fmla="*/ 1046020 h 1250809"/>
              <a:gd name="connsiteX13" fmla="*/ 1150937 w 1511300"/>
              <a:gd name="connsiteY13" fmla="*/ 1046020 h 1250809"/>
              <a:gd name="connsiteX14" fmla="*/ 984250 w 1511300"/>
              <a:gd name="connsiteY14" fmla="*/ 1046020 h 1250809"/>
              <a:gd name="connsiteX15" fmla="*/ 984250 w 1511300"/>
              <a:gd name="connsiteY15" fmla="*/ 1122220 h 1250809"/>
              <a:gd name="connsiteX16" fmla="*/ 1057275 w 1511300"/>
              <a:gd name="connsiteY16" fmla="*/ 1122220 h 1250809"/>
              <a:gd name="connsiteX17" fmla="*/ 1057275 w 1511300"/>
              <a:gd name="connsiteY17" fmla="*/ 1046020 h 1250809"/>
              <a:gd name="connsiteX18" fmla="*/ 984250 w 1511300"/>
              <a:gd name="connsiteY18" fmla="*/ 1046020 h 1250809"/>
              <a:gd name="connsiteX19" fmla="*/ 438150 w 1511300"/>
              <a:gd name="connsiteY19" fmla="*/ 1046020 h 1250809"/>
              <a:gd name="connsiteX20" fmla="*/ 438150 w 1511300"/>
              <a:gd name="connsiteY20" fmla="*/ 1122220 h 1250809"/>
              <a:gd name="connsiteX21" fmla="*/ 514350 w 1511300"/>
              <a:gd name="connsiteY21" fmla="*/ 1122220 h 1250809"/>
              <a:gd name="connsiteX22" fmla="*/ 514350 w 1511300"/>
              <a:gd name="connsiteY22" fmla="*/ 1046020 h 1250809"/>
              <a:gd name="connsiteX23" fmla="*/ 438150 w 1511300"/>
              <a:gd name="connsiteY23" fmla="*/ 1046020 h 1250809"/>
              <a:gd name="connsiteX24" fmla="*/ 277812 w 1511300"/>
              <a:gd name="connsiteY24" fmla="*/ 1046020 h 1250809"/>
              <a:gd name="connsiteX25" fmla="*/ 277812 w 1511300"/>
              <a:gd name="connsiteY25" fmla="*/ 1122220 h 1250809"/>
              <a:gd name="connsiteX26" fmla="*/ 352425 w 1511300"/>
              <a:gd name="connsiteY26" fmla="*/ 1122220 h 1250809"/>
              <a:gd name="connsiteX27" fmla="*/ 352425 w 1511300"/>
              <a:gd name="connsiteY27" fmla="*/ 1046020 h 1250809"/>
              <a:gd name="connsiteX28" fmla="*/ 277812 w 1511300"/>
              <a:gd name="connsiteY28" fmla="*/ 1046020 h 1250809"/>
              <a:gd name="connsiteX29" fmla="*/ 117475 w 1511300"/>
              <a:gd name="connsiteY29" fmla="*/ 1046020 h 1250809"/>
              <a:gd name="connsiteX30" fmla="*/ 117475 w 1511300"/>
              <a:gd name="connsiteY30" fmla="*/ 1122220 h 1250809"/>
              <a:gd name="connsiteX31" fmla="*/ 193675 w 1511300"/>
              <a:gd name="connsiteY31" fmla="*/ 1122220 h 1250809"/>
              <a:gd name="connsiteX32" fmla="*/ 193675 w 1511300"/>
              <a:gd name="connsiteY32" fmla="*/ 1046020 h 1250809"/>
              <a:gd name="connsiteX33" fmla="*/ 117475 w 1511300"/>
              <a:gd name="connsiteY33" fmla="*/ 1046020 h 1250809"/>
              <a:gd name="connsiteX34" fmla="*/ 1319212 w 1511300"/>
              <a:gd name="connsiteY34" fmla="*/ 788845 h 1250809"/>
              <a:gd name="connsiteX35" fmla="*/ 1319212 w 1511300"/>
              <a:gd name="connsiteY35" fmla="*/ 865045 h 1250809"/>
              <a:gd name="connsiteX36" fmla="*/ 1395412 w 1511300"/>
              <a:gd name="connsiteY36" fmla="*/ 865045 h 1250809"/>
              <a:gd name="connsiteX37" fmla="*/ 1395412 w 1511300"/>
              <a:gd name="connsiteY37" fmla="*/ 788845 h 1250809"/>
              <a:gd name="connsiteX38" fmla="*/ 1319212 w 1511300"/>
              <a:gd name="connsiteY38" fmla="*/ 788845 h 1250809"/>
              <a:gd name="connsiteX39" fmla="*/ 1150937 w 1511300"/>
              <a:gd name="connsiteY39" fmla="*/ 788845 h 1250809"/>
              <a:gd name="connsiteX40" fmla="*/ 1150937 w 1511300"/>
              <a:gd name="connsiteY40" fmla="*/ 865045 h 1250809"/>
              <a:gd name="connsiteX41" fmla="*/ 1227137 w 1511300"/>
              <a:gd name="connsiteY41" fmla="*/ 865045 h 1250809"/>
              <a:gd name="connsiteX42" fmla="*/ 1227137 w 1511300"/>
              <a:gd name="connsiteY42" fmla="*/ 788845 h 1250809"/>
              <a:gd name="connsiteX43" fmla="*/ 1150937 w 1511300"/>
              <a:gd name="connsiteY43" fmla="*/ 788845 h 1250809"/>
              <a:gd name="connsiteX44" fmla="*/ 989012 w 1511300"/>
              <a:gd name="connsiteY44" fmla="*/ 788845 h 1250809"/>
              <a:gd name="connsiteX45" fmla="*/ 989012 w 1511300"/>
              <a:gd name="connsiteY45" fmla="*/ 865045 h 1250809"/>
              <a:gd name="connsiteX46" fmla="*/ 1063625 w 1511300"/>
              <a:gd name="connsiteY46" fmla="*/ 865045 h 1250809"/>
              <a:gd name="connsiteX47" fmla="*/ 1063625 w 1511300"/>
              <a:gd name="connsiteY47" fmla="*/ 788845 h 1250809"/>
              <a:gd name="connsiteX48" fmla="*/ 989012 w 1511300"/>
              <a:gd name="connsiteY48" fmla="*/ 788845 h 1250809"/>
              <a:gd name="connsiteX49" fmla="*/ 820737 w 1511300"/>
              <a:gd name="connsiteY49" fmla="*/ 788845 h 1250809"/>
              <a:gd name="connsiteX50" fmla="*/ 820737 w 1511300"/>
              <a:gd name="connsiteY50" fmla="*/ 865045 h 1250809"/>
              <a:gd name="connsiteX51" fmla="*/ 896937 w 1511300"/>
              <a:gd name="connsiteY51" fmla="*/ 865045 h 1250809"/>
              <a:gd name="connsiteX52" fmla="*/ 896937 w 1511300"/>
              <a:gd name="connsiteY52" fmla="*/ 788845 h 1250809"/>
              <a:gd name="connsiteX53" fmla="*/ 820737 w 1511300"/>
              <a:gd name="connsiteY53" fmla="*/ 788845 h 1250809"/>
              <a:gd name="connsiteX54" fmla="*/ 660400 w 1511300"/>
              <a:gd name="connsiteY54" fmla="*/ 788845 h 1250809"/>
              <a:gd name="connsiteX55" fmla="*/ 660400 w 1511300"/>
              <a:gd name="connsiteY55" fmla="*/ 865045 h 1250809"/>
              <a:gd name="connsiteX56" fmla="*/ 736600 w 1511300"/>
              <a:gd name="connsiteY56" fmla="*/ 865045 h 1250809"/>
              <a:gd name="connsiteX57" fmla="*/ 736600 w 1511300"/>
              <a:gd name="connsiteY57" fmla="*/ 788845 h 1250809"/>
              <a:gd name="connsiteX58" fmla="*/ 660400 w 1511300"/>
              <a:gd name="connsiteY58" fmla="*/ 788845 h 1250809"/>
              <a:gd name="connsiteX59" fmla="*/ 1319212 w 1511300"/>
              <a:gd name="connsiteY59" fmla="*/ 631683 h 1250809"/>
              <a:gd name="connsiteX60" fmla="*/ 1319212 w 1511300"/>
              <a:gd name="connsiteY60" fmla="*/ 707883 h 1250809"/>
              <a:gd name="connsiteX61" fmla="*/ 1395412 w 1511300"/>
              <a:gd name="connsiteY61" fmla="*/ 707883 h 1250809"/>
              <a:gd name="connsiteX62" fmla="*/ 1395412 w 1511300"/>
              <a:gd name="connsiteY62" fmla="*/ 631683 h 1250809"/>
              <a:gd name="connsiteX63" fmla="*/ 1319212 w 1511300"/>
              <a:gd name="connsiteY63" fmla="*/ 631683 h 1250809"/>
              <a:gd name="connsiteX64" fmla="*/ 1150937 w 1511300"/>
              <a:gd name="connsiteY64" fmla="*/ 631683 h 1250809"/>
              <a:gd name="connsiteX65" fmla="*/ 1150937 w 1511300"/>
              <a:gd name="connsiteY65" fmla="*/ 707883 h 1250809"/>
              <a:gd name="connsiteX66" fmla="*/ 1227137 w 1511300"/>
              <a:gd name="connsiteY66" fmla="*/ 707883 h 1250809"/>
              <a:gd name="connsiteX67" fmla="*/ 1227137 w 1511300"/>
              <a:gd name="connsiteY67" fmla="*/ 631683 h 1250809"/>
              <a:gd name="connsiteX68" fmla="*/ 1150937 w 1511300"/>
              <a:gd name="connsiteY68" fmla="*/ 631683 h 1250809"/>
              <a:gd name="connsiteX69" fmla="*/ 989012 w 1511300"/>
              <a:gd name="connsiteY69" fmla="*/ 631683 h 1250809"/>
              <a:gd name="connsiteX70" fmla="*/ 989012 w 1511300"/>
              <a:gd name="connsiteY70" fmla="*/ 707883 h 1250809"/>
              <a:gd name="connsiteX71" fmla="*/ 1063625 w 1511300"/>
              <a:gd name="connsiteY71" fmla="*/ 707883 h 1250809"/>
              <a:gd name="connsiteX72" fmla="*/ 1063625 w 1511300"/>
              <a:gd name="connsiteY72" fmla="*/ 631683 h 1250809"/>
              <a:gd name="connsiteX73" fmla="*/ 989012 w 1511300"/>
              <a:gd name="connsiteY73" fmla="*/ 631683 h 1250809"/>
              <a:gd name="connsiteX74" fmla="*/ 820737 w 1511300"/>
              <a:gd name="connsiteY74" fmla="*/ 631683 h 1250809"/>
              <a:gd name="connsiteX75" fmla="*/ 820737 w 1511300"/>
              <a:gd name="connsiteY75" fmla="*/ 707883 h 1250809"/>
              <a:gd name="connsiteX76" fmla="*/ 896937 w 1511300"/>
              <a:gd name="connsiteY76" fmla="*/ 707883 h 1250809"/>
              <a:gd name="connsiteX77" fmla="*/ 896937 w 1511300"/>
              <a:gd name="connsiteY77" fmla="*/ 631683 h 1250809"/>
              <a:gd name="connsiteX78" fmla="*/ 820737 w 1511300"/>
              <a:gd name="connsiteY78" fmla="*/ 631683 h 1250809"/>
              <a:gd name="connsiteX79" fmla="*/ 660400 w 1511300"/>
              <a:gd name="connsiteY79" fmla="*/ 631683 h 1250809"/>
              <a:gd name="connsiteX80" fmla="*/ 660400 w 1511300"/>
              <a:gd name="connsiteY80" fmla="*/ 707883 h 1250809"/>
              <a:gd name="connsiteX81" fmla="*/ 736600 w 1511300"/>
              <a:gd name="connsiteY81" fmla="*/ 707883 h 1250809"/>
              <a:gd name="connsiteX82" fmla="*/ 736600 w 1511300"/>
              <a:gd name="connsiteY82" fmla="*/ 631683 h 1250809"/>
              <a:gd name="connsiteX83" fmla="*/ 660400 w 1511300"/>
              <a:gd name="connsiteY83" fmla="*/ 631683 h 1250809"/>
              <a:gd name="connsiteX84" fmla="*/ 1319212 w 1511300"/>
              <a:gd name="connsiteY84" fmla="*/ 463408 h 1250809"/>
              <a:gd name="connsiteX85" fmla="*/ 1319212 w 1511300"/>
              <a:gd name="connsiteY85" fmla="*/ 539608 h 1250809"/>
              <a:gd name="connsiteX86" fmla="*/ 1395412 w 1511300"/>
              <a:gd name="connsiteY86" fmla="*/ 539608 h 1250809"/>
              <a:gd name="connsiteX87" fmla="*/ 1395412 w 1511300"/>
              <a:gd name="connsiteY87" fmla="*/ 463408 h 1250809"/>
              <a:gd name="connsiteX88" fmla="*/ 1319212 w 1511300"/>
              <a:gd name="connsiteY88" fmla="*/ 463408 h 1250809"/>
              <a:gd name="connsiteX89" fmla="*/ 1150937 w 1511300"/>
              <a:gd name="connsiteY89" fmla="*/ 463408 h 1250809"/>
              <a:gd name="connsiteX90" fmla="*/ 1150937 w 1511300"/>
              <a:gd name="connsiteY90" fmla="*/ 539608 h 1250809"/>
              <a:gd name="connsiteX91" fmla="*/ 1227137 w 1511300"/>
              <a:gd name="connsiteY91" fmla="*/ 539608 h 1250809"/>
              <a:gd name="connsiteX92" fmla="*/ 1227137 w 1511300"/>
              <a:gd name="connsiteY92" fmla="*/ 463408 h 1250809"/>
              <a:gd name="connsiteX93" fmla="*/ 1150937 w 1511300"/>
              <a:gd name="connsiteY93" fmla="*/ 463408 h 1250809"/>
              <a:gd name="connsiteX94" fmla="*/ 1319212 w 1511300"/>
              <a:gd name="connsiteY94" fmla="*/ 296720 h 1250809"/>
              <a:gd name="connsiteX95" fmla="*/ 1319212 w 1511300"/>
              <a:gd name="connsiteY95" fmla="*/ 371333 h 1250809"/>
              <a:gd name="connsiteX96" fmla="*/ 1395412 w 1511300"/>
              <a:gd name="connsiteY96" fmla="*/ 371333 h 1250809"/>
              <a:gd name="connsiteX97" fmla="*/ 1395412 w 1511300"/>
              <a:gd name="connsiteY97" fmla="*/ 296720 h 1250809"/>
              <a:gd name="connsiteX98" fmla="*/ 1319212 w 1511300"/>
              <a:gd name="connsiteY98" fmla="*/ 296720 h 1250809"/>
              <a:gd name="connsiteX99" fmla="*/ 1150937 w 1511300"/>
              <a:gd name="connsiteY99" fmla="*/ 296720 h 1250809"/>
              <a:gd name="connsiteX100" fmla="*/ 1150937 w 1511300"/>
              <a:gd name="connsiteY100" fmla="*/ 371333 h 1250809"/>
              <a:gd name="connsiteX101" fmla="*/ 1227137 w 1511300"/>
              <a:gd name="connsiteY101" fmla="*/ 371333 h 1250809"/>
              <a:gd name="connsiteX102" fmla="*/ 1227137 w 1511300"/>
              <a:gd name="connsiteY102" fmla="*/ 296720 h 1250809"/>
              <a:gd name="connsiteX103" fmla="*/ 1150937 w 1511300"/>
              <a:gd name="connsiteY103" fmla="*/ 296720 h 1250809"/>
              <a:gd name="connsiteX104" fmla="*/ 1130495 w 1511300"/>
              <a:gd name="connsiteY104" fmla="*/ 0 h 1250809"/>
              <a:gd name="connsiteX105" fmla="*/ 1401025 w 1511300"/>
              <a:gd name="connsiteY105" fmla="*/ 0 h 1250809"/>
              <a:gd name="connsiteX106" fmla="*/ 1401025 w 1511300"/>
              <a:gd name="connsiteY106" fmla="*/ 146946 h 1250809"/>
              <a:gd name="connsiteX107" fmla="*/ 1511300 w 1511300"/>
              <a:gd name="connsiteY107" fmla="*/ 146946 h 1250809"/>
              <a:gd name="connsiteX108" fmla="*/ 1511300 w 1511300"/>
              <a:gd name="connsiteY108" fmla="*/ 1234123 h 1250809"/>
              <a:gd name="connsiteX109" fmla="*/ 877888 w 1511300"/>
              <a:gd name="connsiteY109" fmla="*/ 1232551 h 1250809"/>
              <a:gd name="connsiteX110" fmla="*/ 877888 w 1511300"/>
              <a:gd name="connsiteY110" fmla="*/ 1023795 h 1250809"/>
              <a:gd name="connsiteX111" fmla="*/ 785019 w 1511300"/>
              <a:gd name="connsiteY111" fmla="*/ 1023795 h 1250809"/>
              <a:gd name="connsiteX112" fmla="*/ 785019 w 1511300"/>
              <a:gd name="connsiteY112" fmla="*/ 1233345 h 1250809"/>
              <a:gd name="connsiteX113" fmla="*/ 729456 w 1511300"/>
              <a:gd name="connsiteY113" fmla="*/ 1233345 h 1250809"/>
              <a:gd name="connsiteX114" fmla="*/ 729456 w 1511300"/>
              <a:gd name="connsiteY114" fmla="*/ 1023795 h 1250809"/>
              <a:gd name="connsiteX115" fmla="*/ 637381 w 1511300"/>
              <a:gd name="connsiteY115" fmla="*/ 1023795 h 1250809"/>
              <a:gd name="connsiteX116" fmla="*/ 637381 w 1511300"/>
              <a:gd name="connsiteY116" fmla="*/ 1232551 h 1250809"/>
              <a:gd name="connsiteX117" fmla="*/ 0 w 1511300"/>
              <a:gd name="connsiteY117" fmla="*/ 1229376 h 1250809"/>
              <a:gd name="connsiteX118" fmla="*/ 0 w 1511300"/>
              <a:gd name="connsiteY118" fmla="*/ 935740 h 1250809"/>
              <a:gd name="connsiteX119" fmla="*/ 531521 w 1511300"/>
              <a:gd name="connsiteY119" fmla="*/ 936483 h 1250809"/>
              <a:gd name="connsiteX120" fmla="*/ 531521 w 1511300"/>
              <a:gd name="connsiteY120" fmla="*/ 506765 h 1250809"/>
              <a:gd name="connsiteX121" fmla="*/ 1017840 w 1511300"/>
              <a:gd name="connsiteY121" fmla="*/ 506765 h 1250809"/>
              <a:gd name="connsiteX122" fmla="*/ 1017840 w 1511300"/>
              <a:gd name="connsiteY122" fmla="*/ 146946 h 1250809"/>
              <a:gd name="connsiteX123" fmla="*/ 1130495 w 1511300"/>
              <a:gd name="connsiteY123" fmla="*/ 146946 h 1250809"/>
              <a:gd name="connsiteX124" fmla="*/ 1130495 w 1511300"/>
              <a:gd name="connsiteY124" fmla="*/ 0 h 1250809"/>
              <a:gd name="connsiteX0" fmla="*/ 1511300 w 1511300"/>
              <a:gd name="connsiteY0" fmla="*/ 1237501 h 1241283"/>
              <a:gd name="connsiteX1" fmla="*/ 1504156 w 1511300"/>
              <a:gd name="connsiteY1" fmla="*/ 1241283 h 1241283"/>
              <a:gd name="connsiteX2" fmla="*/ 1511300 w 1511300"/>
              <a:gd name="connsiteY2" fmla="*/ 1237501 h 1241283"/>
              <a:gd name="connsiteX3" fmla="*/ 1319212 w 1511300"/>
              <a:gd name="connsiteY3" fmla="*/ 1046020 h 1241283"/>
              <a:gd name="connsiteX4" fmla="*/ 1319212 w 1511300"/>
              <a:gd name="connsiteY4" fmla="*/ 1122220 h 1241283"/>
              <a:gd name="connsiteX5" fmla="*/ 1395412 w 1511300"/>
              <a:gd name="connsiteY5" fmla="*/ 1122220 h 1241283"/>
              <a:gd name="connsiteX6" fmla="*/ 1395412 w 1511300"/>
              <a:gd name="connsiteY6" fmla="*/ 1046020 h 1241283"/>
              <a:gd name="connsiteX7" fmla="*/ 1319212 w 1511300"/>
              <a:gd name="connsiteY7" fmla="*/ 1046020 h 1241283"/>
              <a:gd name="connsiteX8" fmla="*/ 1150937 w 1511300"/>
              <a:gd name="connsiteY8" fmla="*/ 1046020 h 1241283"/>
              <a:gd name="connsiteX9" fmla="*/ 1150937 w 1511300"/>
              <a:gd name="connsiteY9" fmla="*/ 1122220 h 1241283"/>
              <a:gd name="connsiteX10" fmla="*/ 1227137 w 1511300"/>
              <a:gd name="connsiteY10" fmla="*/ 1122220 h 1241283"/>
              <a:gd name="connsiteX11" fmla="*/ 1227137 w 1511300"/>
              <a:gd name="connsiteY11" fmla="*/ 1046020 h 1241283"/>
              <a:gd name="connsiteX12" fmla="*/ 1150937 w 1511300"/>
              <a:gd name="connsiteY12" fmla="*/ 1046020 h 1241283"/>
              <a:gd name="connsiteX13" fmla="*/ 984250 w 1511300"/>
              <a:gd name="connsiteY13" fmla="*/ 1046020 h 1241283"/>
              <a:gd name="connsiteX14" fmla="*/ 984250 w 1511300"/>
              <a:gd name="connsiteY14" fmla="*/ 1122220 h 1241283"/>
              <a:gd name="connsiteX15" fmla="*/ 1057275 w 1511300"/>
              <a:gd name="connsiteY15" fmla="*/ 1122220 h 1241283"/>
              <a:gd name="connsiteX16" fmla="*/ 1057275 w 1511300"/>
              <a:gd name="connsiteY16" fmla="*/ 1046020 h 1241283"/>
              <a:gd name="connsiteX17" fmla="*/ 984250 w 1511300"/>
              <a:gd name="connsiteY17" fmla="*/ 1046020 h 1241283"/>
              <a:gd name="connsiteX18" fmla="*/ 438150 w 1511300"/>
              <a:gd name="connsiteY18" fmla="*/ 1046020 h 1241283"/>
              <a:gd name="connsiteX19" fmla="*/ 438150 w 1511300"/>
              <a:gd name="connsiteY19" fmla="*/ 1122220 h 1241283"/>
              <a:gd name="connsiteX20" fmla="*/ 514350 w 1511300"/>
              <a:gd name="connsiteY20" fmla="*/ 1122220 h 1241283"/>
              <a:gd name="connsiteX21" fmla="*/ 514350 w 1511300"/>
              <a:gd name="connsiteY21" fmla="*/ 1046020 h 1241283"/>
              <a:gd name="connsiteX22" fmla="*/ 438150 w 1511300"/>
              <a:gd name="connsiteY22" fmla="*/ 1046020 h 1241283"/>
              <a:gd name="connsiteX23" fmla="*/ 277812 w 1511300"/>
              <a:gd name="connsiteY23" fmla="*/ 1046020 h 1241283"/>
              <a:gd name="connsiteX24" fmla="*/ 277812 w 1511300"/>
              <a:gd name="connsiteY24" fmla="*/ 1122220 h 1241283"/>
              <a:gd name="connsiteX25" fmla="*/ 352425 w 1511300"/>
              <a:gd name="connsiteY25" fmla="*/ 1122220 h 1241283"/>
              <a:gd name="connsiteX26" fmla="*/ 352425 w 1511300"/>
              <a:gd name="connsiteY26" fmla="*/ 1046020 h 1241283"/>
              <a:gd name="connsiteX27" fmla="*/ 277812 w 1511300"/>
              <a:gd name="connsiteY27" fmla="*/ 1046020 h 1241283"/>
              <a:gd name="connsiteX28" fmla="*/ 117475 w 1511300"/>
              <a:gd name="connsiteY28" fmla="*/ 1046020 h 1241283"/>
              <a:gd name="connsiteX29" fmla="*/ 117475 w 1511300"/>
              <a:gd name="connsiteY29" fmla="*/ 1122220 h 1241283"/>
              <a:gd name="connsiteX30" fmla="*/ 193675 w 1511300"/>
              <a:gd name="connsiteY30" fmla="*/ 1122220 h 1241283"/>
              <a:gd name="connsiteX31" fmla="*/ 193675 w 1511300"/>
              <a:gd name="connsiteY31" fmla="*/ 1046020 h 1241283"/>
              <a:gd name="connsiteX32" fmla="*/ 117475 w 1511300"/>
              <a:gd name="connsiteY32" fmla="*/ 1046020 h 1241283"/>
              <a:gd name="connsiteX33" fmla="*/ 1319212 w 1511300"/>
              <a:gd name="connsiteY33" fmla="*/ 788845 h 1241283"/>
              <a:gd name="connsiteX34" fmla="*/ 1319212 w 1511300"/>
              <a:gd name="connsiteY34" fmla="*/ 865045 h 1241283"/>
              <a:gd name="connsiteX35" fmla="*/ 1395412 w 1511300"/>
              <a:gd name="connsiteY35" fmla="*/ 865045 h 1241283"/>
              <a:gd name="connsiteX36" fmla="*/ 1395412 w 1511300"/>
              <a:gd name="connsiteY36" fmla="*/ 788845 h 1241283"/>
              <a:gd name="connsiteX37" fmla="*/ 1319212 w 1511300"/>
              <a:gd name="connsiteY37" fmla="*/ 788845 h 1241283"/>
              <a:gd name="connsiteX38" fmla="*/ 1150937 w 1511300"/>
              <a:gd name="connsiteY38" fmla="*/ 788845 h 1241283"/>
              <a:gd name="connsiteX39" fmla="*/ 1150937 w 1511300"/>
              <a:gd name="connsiteY39" fmla="*/ 865045 h 1241283"/>
              <a:gd name="connsiteX40" fmla="*/ 1227137 w 1511300"/>
              <a:gd name="connsiteY40" fmla="*/ 865045 h 1241283"/>
              <a:gd name="connsiteX41" fmla="*/ 1227137 w 1511300"/>
              <a:gd name="connsiteY41" fmla="*/ 788845 h 1241283"/>
              <a:gd name="connsiteX42" fmla="*/ 1150937 w 1511300"/>
              <a:gd name="connsiteY42" fmla="*/ 788845 h 1241283"/>
              <a:gd name="connsiteX43" fmla="*/ 989012 w 1511300"/>
              <a:gd name="connsiteY43" fmla="*/ 788845 h 1241283"/>
              <a:gd name="connsiteX44" fmla="*/ 989012 w 1511300"/>
              <a:gd name="connsiteY44" fmla="*/ 865045 h 1241283"/>
              <a:gd name="connsiteX45" fmla="*/ 1063625 w 1511300"/>
              <a:gd name="connsiteY45" fmla="*/ 865045 h 1241283"/>
              <a:gd name="connsiteX46" fmla="*/ 1063625 w 1511300"/>
              <a:gd name="connsiteY46" fmla="*/ 788845 h 1241283"/>
              <a:gd name="connsiteX47" fmla="*/ 989012 w 1511300"/>
              <a:gd name="connsiteY47" fmla="*/ 788845 h 1241283"/>
              <a:gd name="connsiteX48" fmla="*/ 820737 w 1511300"/>
              <a:gd name="connsiteY48" fmla="*/ 788845 h 1241283"/>
              <a:gd name="connsiteX49" fmla="*/ 820737 w 1511300"/>
              <a:gd name="connsiteY49" fmla="*/ 865045 h 1241283"/>
              <a:gd name="connsiteX50" fmla="*/ 896937 w 1511300"/>
              <a:gd name="connsiteY50" fmla="*/ 865045 h 1241283"/>
              <a:gd name="connsiteX51" fmla="*/ 896937 w 1511300"/>
              <a:gd name="connsiteY51" fmla="*/ 788845 h 1241283"/>
              <a:gd name="connsiteX52" fmla="*/ 820737 w 1511300"/>
              <a:gd name="connsiteY52" fmla="*/ 788845 h 1241283"/>
              <a:gd name="connsiteX53" fmla="*/ 660400 w 1511300"/>
              <a:gd name="connsiteY53" fmla="*/ 788845 h 1241283"/>
              <a:gd name="connsiteX54" fmla="*/ 660400 w 1511300"/>
              <a:gd name="connsiteY54" fmla="*/ 865045 h 1241283"/>
              <a:gd name="connsiteX55" fmla="*/ 736600 w 1511300"/>
              <a:gd name="connsiteY55" fmla="*/ 865045 h 1241283"/>
              <a:gd name="connsiteX56" fmla="*/ 736600 w 1511300"/>
              <a:gd name="connsiteY56" fmla="*/ 788845 h 1241283"/>
              <a:gd name="connsiteX57" fmla="*/ 660400 w 1511300"/>
              <a:gd name="connsiteY57" fmla="*/ 788845 h 1241283"/>
              <a:gd name="connsiteX58" fmla="*/ 1319212 w 1511300"/>
              <a:gd name="connsiteY58" fmla="*/ 631683 h 1241283"/>
              <a:gd name="connsiteX59" fmla="*/ 1319212 w 1511300"/>
              <a:gd name="connsiteY59" fmla="*/ 707883 h 1241283"/>
              <a:gd name="connsiteX60" fmla="*/ 1395412 w 1511300"/>
              <a:gd name="connsiteY60" fmla="*/ 707883 h 1241283"/>
              <a:gd name="connsiteX61" fmla="*/ 1395412 w 1511300"/>
              <a:gd name="connsiteY61" fmla="*/ 631683 h 1241283"/>
              <a:gd name="connsiteX62" fmla="*/ 1319212 w 1511300"/>
              <a:gd name="connsiteY62" fmla="*/ 631683 h 1241283"/>
              <a:gd name="connsiteX63" fmla="*/ 1150937 w 1511300"/>
              <a:gd name="connsiteY63" fmla="*/ 631683 h 1241283"/>
              <a:gd name="connsiteX64" fmla="*/ 1150937 w 1511300"/>
              <a:gd name="connsiteY64" fmla="*/ 707883 h 1241283"/>
              <a:gd name="connsiteX65" fmla="*/ 1227137 w 1511300"/>
              <a:gd name="connsiteY65" fmla="*/ 707883 h 1241283"/>
              <a:gd name="connsiteX66" fmla="*/ 1227137 w 1511300"/>
              <a:gd name="connsiteY66" fmla="*/ 631683 h 1241283"/>
              <a:gd name="connsiteX67" fmla="*/ 1150937 w 1511300"/>
              <a:gd name="connsiteY67" fmla="*/ 631683 h 1241283"/>
              <a:gd name="connsiteX68" fmla="*/ 989012 w 1511300"/>
              <a:gd name="connsiteY68" fmla="*/ 631683 h 1241283"/>
              <a:gd name="connsiteX69" fmla="*/ 989012 w 1511300"/>
              <a:gd name="connsiteY69" fmla="*/ 707883 h 1241283"/>
              <a:gd name="connsiteX70" fmla="*/ 1063625 w 1511300"/>
              <a:gd name="connsiteY70" fmla="*/ 707883 h 1241283"/>
              <a:gd name="connsiteX71" fmla="*/ 1063625 w 1511300"/>
              <a:gd name="connsiteY71" fmla="*/ 631683 h 1241283"/>
              <a:gd name="connsiteX72" fmla="*/ 989012 w 1511300"/>
              <a:gd name="connsiteY72" fmla="*/ 631683 h 1241283"/>
              <a:gd name="connsiteX73" fmla="*/ 820737 w 1511300"/>
              <a:gd name="connsiteY73" fmla="*/ 631683 h 1241283"/>
              <a:gd name="connsiteX74" fmla="*/ 820737 w 1511300"/>
              <a:gd name="connsiteY74" fmla="*/ 707883 h 1241283"/>
              <a:gd name="connsiteX75" fmla="*/ 896937 w 1511300"/>
              <a:gd name="connsiteY75" fmla="*/ 707883 h 1241283"/>
              <a:gd name="connsiteX76" fmla="*/ 896937 w 1511300"/>
              <a:gd name="connsiteY76" fmla="*/ 631683 h 1241283"/>
              <a:gd name="connsiteX77" fmla="*/ 820737 w 1511300"/>
              <a:gd name="connsiteY77" fmla="*/ 631683 h 1241283"/>
              <a:gd name="connsiteX78" fmla="*/ 660400 w 1511300"/>
              <a:gd name="connsiteY78" fmla="*/ 631683 h 1241283"/>
              <a:gd name="connsiteX79" fmla="*/ 660400 w 1511300"/>
              <a:gd name="connsiteY79" fmla="*/ 707883 h 1241283"/>
              <a:gd name="connsiteX80" fmla="*/ 736600 w 1511300"/>
              <a:gd name="connsiteY80" fmla="*/ 707883 h 1241283"/>
              <a:gd name="connsiteX81" fmla="*/ 736600 w 1511300"/>
              <a:gd name="connsiteY81" fmla="*/ 631683 h 1241283"/>
              <a:gd name="connsiteX82" fmla="*/ 660400 w 1511300"/>
              <a:gd name="connsiteY82" fmla="*/ 631683 h 1241283"/>
              <a:gd name="connsiteX83" fmla="*/ 1319212 w 1511300"/>
              <a:gd name="connsiteY83" fmla="*/ 463408 h 1241283"/>
              <a:gd name="connsiteX84" fmla="*/ 1319212 w 1511300"/>
              <a:gd name="connsiteY84" fmla="*/ 539608 h 1241283"/>
              <a:gd name="connsiteX85" fmla="*/ 1395412 w 1511300"/>
              <a:gd name="connsiteY85" fmla="*/ 539608 h 1241283"/>
              <a:gd name="connsiteX86" fmla="*/ 1395412 w 1511300"/>
              <a:gd name="connsiteY86" fmla="*/ 463408 h 1241283"/>
              <a:gd name="connsiteX87" fmla="*/ 1319212 w 1511300"/>
              <a:gd name="connsiteY87" fmla="*/ 463408 h 1241283"/>
              <a:gd name="connsiteX88" fmla="*/ 1150937 w 1511300"/>
              <a:gd name="connsiteY88" fmla="*/ 463408 h 1241283"/>
              <a:gd name="connsiteX89" fmla="*/ 1150937 w 1511300"/>
              <a:gd name="connsiteY89" fmla="*/ 539608 h 1241283"/>
              <a:gd name="connsiteX90" fmla="*/ 1227137 w 1511300"/>
              <a:gd name="connsiteY90" fmla="*/ 539608 h 1241283"/>
              <a:gd name="connsiteX91" fmla="*/ 1227137 w 1511300"/>
              <a:gd name="connsiteY91" fmla="*/ 463408 h 1241283"/>
              <a:gd name="connsiteX92" fmla="*/ 1150937 w 1511300"/>
              <a:gd name="connsiteY92" fmla="*/ 463408 h 1241283"/>
              <a:gd name="connsiteX93" fmla="*/ 1319212 w 1511300"/>
              <a:gd name="connsiteY93" fmla="*/ 296720 h 1241283"/>
              <a:gd name="connsiteX94" fmla="*/ 1319212 w 1511300"/>
              <a:gd name="connsiteY94" fmla="*/ 371333 h 1241283"/>
              <a:gd name="connsiteX95" fmla="*/ 1395412 w 1511300"/>
              <a:gd name="connsiteY95" fmla="*/ 371333 h 1241283"/>
              <a:gd name="connsiteX96" fmla="*/ 1395412 w 1511300"/>
              <a:gd name="connsiteY96" fmla="*/ 296720 h 1241283"/>
              <a:gd name="connsiteX97" fmla="*/ 1319212 w 1511300"/>
              <a:gd name="connsiteY97" fmla="*/ 296720 h 1241283"/>
              <a:gd name="connsiteX98" fmla="*/ 1150937 w 1511300"/>
              <a:gd name="connsiteY98" fmla="*/ 296720 h 1241283"/>
              <a:gd name="connsiteX99" fmla="*/ 1150937 w 1511300"/>
              <a:gd name="connsiteY99" fmla="*/ 371333 h 1241283"/>
              <a:gd name="connsiteX100" fmla="*/ 1227137 w 1511300"/>
              <a:gd name="connsiteY100" fmla="*/ 371333 h 1241283"/>
              <a:gd name="connsiteX101" fmla="*/ 1227137 w 1511300"/>
              <a:gd name="connsiteY101" fmla="*/ 296720 h 1241283"/>
              <a:gd name="connsiteX102" fmla="*/ 1150937 w 1511300"/>
              <a:gd name="connsiteY102" fmla="*/ 296720 h 1241283"/>
              <a:gd name="connsiteX103" fmla="*/ 1130495 w 1511300"/>
              <a:gd name="connsiteY103" fmla="*/ 0 h 1241283"/>
              <a:gd name="connsiteX104" fmla="*/ 1401025 w 1511300"/>
              <a:gd name="connsiteY104" fmla="*/ 0 h 1241283"/>
              <a:gd name="connsiteX105" fmla="*/ 1401025 w 1511300"/>
              <a:gd name="connsiteY105" fmla="*/ 146946 h 1241283"/>
              <a:gd name="connsiteX106" fmla="*/ 1511300 w 1511300"/>
              <a:gd name="connsiteY106" fmla="*/ 146946 h 1241283"/>
              <a:gd name="connsiteX107" fmla="*/ 1511300 w 1511300"/>
              <a:gd name="connsiteY107" fmla="*/ 1234123 h 1241283"/>
              <a:gd name="connsiteX108" fmla="*/ 877888 w 1511300"/>
              <a:gd name="connsiteY108" fmla="*/ 1232551 h 1241283"/>
              <a:gd name="connsiteX109" fmla="*/ 877888 w 1511300"/>
              <a:gd name="connsiteY109" fmla="*/ 1023795 h 1241283"/>
              <a:gd name="connsiteX110" fmla="*/ 785019 w 1511300"/>
              <a:gd name="connsiteY110" fmla="*/ 1023795 h 1241283"/>
              <a:gd name="connsiteX111" fmla="*/ 785019 w 1511300"/>
              <a:gd name="connsiteY111" fmla="*/ 1233345 h 1241283"/>
              <a:gd name="connsiteX112" fmla="*/ 729456 w 1511300"/>
              <a:gd name="connsiteY112" fmla="*/ 1233345 h 1241283"/>
              <a:gd name="connsiteX113" fmla="*/ 729456 w 1511300"/>
              <a:gd name="connsiteY113" fmla="*/ 1023795 h 1241283"/>
              <a:gd name="connsiteX114" fmla="*/ 637381 w 1511300"/>
              <a:gd name="connsiteY114" fmla="*/ 1023795 h 1241283"/>
              <a:gd name="connsiteX115" fmla="*/ 637381 w 1511300"/>
              <a:gd name="connsiteY115" fmla="*/ 1232551 h 1241283"/>
              <a:gd name="connsiteX116" fmla="*/ 0 w 1511300"/>
              <a:gd name="connsiteY116" fmla="*/ 1229376 h 1241283"/>
              <a:gd name="connsiteX117" fmla="*/ 0 w 1511300"/>
              <a:gd name="connsiteY117" fmla="*/ 935740 h 1241283"/>
              <a:gd name="connsiteX118" fmla="*/ 531521 w 1511300"/>
              <a:gd name="connsiteY118" fmla="*/ 936483 h 1241283"/>
              <a:gd name="connsiteX119" fmla="*/ 531521 w 1511300"/>
              <a:gd name="connsiteY119" fmla="*/ 506765 h 1241283"/>
              <a:gd name="connsiteX120" fmla="*/ 1017840 w 1511300"/>
              <a:gd name="connsiteY120" fmla="*/ 506765 h 1241283"/>
              <a:gd name="connsiteX121" fmla="*/ 1017840 w 1511300"/>
              <a:gd name="connsiteY121" fmla="*/ 146946 h 1241283"/>
              <a:gd name="connsiteX122" fmla="*/ 1130495 w 1511300"/>
              <a:gd name="connsiteY122" fmla="*/ 146946 h 1241283"/>
              <a:gd name="connsiteX123" fmla="*/ 1130495 w 1511300"/>
              <a:gd name="connsiteY123" fmla="*/ 0 h 1241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511300" h="1241283">
                <a:moveTo>
                  <a:pt x="1511300" y="1237501"/>
                </a:moveTo>
                <a:lnTo>
                  <a:pt x="1504156" y="1241283"/>
                </a:lnTo>
                <a:lnTo>
                  <a:pt x="1511300" y="1237501"/>
                </a:lnTo>
                <a:close/>
                <a:moveTo>
                  <a:pt x="1319212" y="1046020"/>
                </a:moveTo>
                <a:lnTo>
                  <a:pt x="1319212" y="1122220"/>
                </a:lnTo>
                <a:lnTo>
                  <a:pt x="1395412" y="1122220"/>
                </a:lnTo>
                <a:lnTo>
                  <a:pt x="1395412" y="1046020"/>
                </a:lnTo>
                <a:lnTo>
                  <a:pt x="1319212" y="1046020"/>
                </a:lnTo>
                <a:close/>
                <a:moveTo>
                  <a:pt x="1150937" y="1046020"/>
                </a:moveTo>
                <a:lnTo>
                  <a:pt x="1150937" y="1122220"/>
                </a:lnTo>
                <a:lnTo>
                  <a:pt x="1227137" y="1122220"/>
                </a:lnTo>
                <a:lnTo>
                  <a:pt x="1227137" y="1046020"/>
                </a:lnTo>
                <a:lnTo>
                  <a:pt x="1150937" y="1046020"/>
                </a:lnTo>
                <a:close/>
                <a:moveTo>
                  <a:pt x="984250" y="1046020"/>
                </a:moveTo>
                <a:lnTo>
                  <a:pt x="984250" y="1122220"/>
                </a:lnTo>
                <a:lnTo>
                  <a:pt x="1057275" y="1122220"/>
                </a:lnTo>
                <a:lnTo>
                  <a:pt x="1057275" y="1046020"/>
                </a:lnTo>
                <a:lnTo>
                  <a:pt x="984250" y="1046020"/>
                </a:lnTo>
                <a:close/>
                <a:moveTo>
                  <a:pt x="438150" y="1046020"/>
                </a:moveTo>
                <a:lnTo>
                  <a:pt x="438150" y="1122220"/>
                </a:lnTo>
                <a:lnTo>
                  <a:pt x="514350" y="1122220"/>
                </a:lnTo>
                <a:lnTo>
                  <a:pt x="514350" y="1046020"/>
                </a:lnTo>
                <a:lnTo>
                  <a:pt x="438150" y="1046020"/>
                </a:lnTo>
                <a:close/>
                <a:moveTo>
                  <a:pt x="277812" y="1046020"/>
                </a:moveTo>
                <a:lnTo>
                  <a:pt x="277812" y="1122220"/>
                </a:lnTo>
                <a:lnTo>
                  <a:pt x="352425" y="1122220"/>
                </a:lnTo>
                <a:lnTo>
                  <a:pt x="352425" y="1046020"/>
                </a:lnTo>
                <a:lnTo>
                  <a:pt x="277812" y="1046020"/>
                </a:lnTo>
                <a:close/>
                <a:moveTo>
                  <a:pt x="117475" y="1046020"/>
                </a:moveTo>
                <a:lnTo>
                  <a:pt x="117475" y="1122220"/>
                </a:lnTo>
                <a:lnTo>
                  <a:pt x="193675" y="1122220"/>
                </a:lnTo>
                <a:lnTo>
                  <a:pt x="193675" y="1046020"/>
                </a:lnTo>
                <a:lnTo>
                  <a:pt x="117475" y="1046020"/>
                </a:lnTo>
                <a:close/>
                <a:moveTo>
                  <a:pt x="1319212" y="788845"/>
                </a:moveTo>
                <a:lnTo>
                  <a:pt x="1319212" y="865045"/>
                </a:lnTo>
                <a:lnTo>
                  <a:pt x="1395412" y="865045"/>
                </a:lnTo>
                <a:lnTo>
                  <a:pt x="1395412" y="788845"/>
                </a:lnTo>
                <a:lnTo>
                  <a:pt x="1319212" y="788845"/>
                </a:lnTo>
                <a:close/>
                <a:moveTo>
                  <a:pt x="1150937" y="788845"/>
                </a:moveTo>
                <a:lnTo>
                  <a:pt x="1150937" y="865045"/>
                </a:lnTo>
                <a:lnTo>
                  <a:pt x="1227137" y="865045"/>
                </a:lnTo>
                <a:lnTo>
                  <a:pt x="1227137" y="788845"/>
                </a:lnTo>
                <a:lnTo>
                  <a:pt x="1150937" y="788845"/>
                </a:lnTo>
                <a:close/>
                <a:moveTo>
                  <a:pt x="989012" y="788845"/>
                </a:moveTo>
                <a:lnTo>
                  <a:pt x="989012" y="865045"/>
                </a:lnTo>
                <a:lnTo>
                  <a:pt x="1063625" y="865045"/>
                </a:lnTo>
                <a:lnTo>
                  <a:pt x="1063625" y="788845"/>
                </a:lnTo>
                <a:lnTo>
                  <a:pt x="989012" y="788845"/>
                </a:lnTo>
                <a:close/>
                <a:moveTo>
                  <a:pt x="820737" y="788845"/>
                </a:moveTo>
                <a:lnTo>
                  <a:pt x="820737" y="865045"/>
                </a:lnTo>
                <a:lnTo>
                  <a:pt x="896937" y="865045"/>
                </a:lnTo>
                <a:lnTo>
                  <a:pt x="896937" y="788845"/>
                </a:lnTo>
                <a:lnTo>
                  <a:pt x="820737" y="788845"/>
                </a:lnTo>
                <a:close/>
                <a:moveTo>
                  <a:pt x="660400" y="788845"/>
                </a:moveTo>
                <a:lnTo>
                  <a:pt x="660400" y="865045"/>
                </a:lnTo>
                <a:lnTo>
                  <a:pt x="736600" y="865045"/>
                </a:lnTo>
                <a:lnTo>
                  <a:pt x="736600" y="788845"/>
                </a:lnTo>
                <a:lnTo>
                  <a:pt x="660400" y="788845"/>
                </a:lnTo>
                <a:close/>
                <a:moveTo>
                  <a:pt x="1319212" y="631683"/>
                </a:moveTo>
                <a:lnTo>
                  <a:pt x="1319212" y="707883"/>
                </a:lnTo>
                <a:lnTo>
                  <a:pt x="1395412" y="707883"/>
                </a:lnTo>
                <a:lnTo>
                  <a:pt x="1395412" y="631683"/>
                </a:lnTo>
                <a:lnTo>
                  <a:pt x="1319212" y="631683"/>
                </a:lnTo>
                <a:close/>
                <a:moveTo>
                  <a:pt x="1150937" y="631683"/>
                </a:moveTo>
                <a:lnTo>
                  <a:pt x="1150937" y="707883"/>
                </a:lnTo>
                <a:lnTo>
                  <a:pt x="1227137" y="707883"/>
                </a:lnTo>
                <a:lnTo>
                  <a:pt x="1227137" y="631683"/>
                </a:lnTo>
                <a:lnTo>
                  <a:pt x="1150937" y="631683"/>
                </a:lnTo>
                <a:close/>
                <a:moveTo>
                  <a:pt x="989012" y="631683"/>
                </a:moveTo>
                <a:lnTo>
                  <a:pt x="989012" y="707883"/>
                </a:lnTo>
                <a:lnTo>
                  <a:pt x="1063625" y="707883"/>
                </a:lnTo>
                <a:lnTo>
                  <a:pt x="1063625" y="631683"/>
                </a:lnTo>
                <a:lnTo>
                  <a:pt x="989012" y="631683"/>
                </a:lnTo>
                <a:close/>
                <a:moveTo>
                  <a:pt x="820737" y="631683"/>
                </a:moveTo>
                <a:lnTo>
                  <a:pt x="820737" y="707883"/>
                </a:lnTo>
                <a:lnTo>
                  <a:pt x="896937" y="707883"/>
                </a:lnTo>
                <a:lnTo>
                  <a:pt x="896937" y="631683"/>
                </a:lnTo>
                <a:lnTo>
                  <a:pt x="820737" y="631683"/>
                </a:lnTo>
                <a:close/>
                <a:moveTo>
                  <a:pt x="660400" y="631683"/>
                </a:moveTo>
                <a:lnTo>
                  <a:pt x="660400" y="707883"/>
                </a:lnTo>
                <a:lnTo>
                  <a:pt x="736600" y="707883"/>
                </a:lnTo>
                <a:lnTo>
                  <a:pt x="736600" y="631683"/>
                </a:lnTo>
                <a:lnTo>
                  <a:pt x="660400" y="631683"/>
                </a:lnTo>
                <a:close/>
                <a:moveTo>
                  <a:pt x="1319212" y="463408"/>
                </a:moveTo>
                <a:lnTo>
                  <a:pt x="1319212" y="539608"/>
                </a:lnTo>
                <a:lnTo>
                  <a:pt x="1395412" y="539608"/>
                </a:lnTo>
                <a:lnTo>
                  <a:pt x="1395412" y="463408"/>
                </a:lnTo>
                <a:lnTo>
                  <a:pt x="1319212" y="463408"/>
                </a:lnTo>
                <a:close/>
                <a:moveTo>
                  <a:pt x="1150937" y="463408"/>
                </a:moveTo>
                <a:lnTo>
                  <a:pt x="1150937" y="539608"/>
                </a:lnTo>
                <a:lnTo>
                  <a:pt x="1227137" y="539608"/>
                </a:lnTo>
                <a:lnTo>
                  <a:pt x="1227137" y="463408"/>
                </a:lnTo>
                <a:lnTo>
                  <a:pt x="1150937" y="463408"/>
                </a:lnTo>
                <a:close/>
                <a:moveTo>
                  <a:pt x="1319212" y="296720"/>
                </a:moveTo>
                <a:lnTo>
                  <a:pt x="1319212" y="371333"/>
                </a:lnTo>
                <a:lnTo>
                  <a:pt x="1395412" y="371333"/>
                </a:lnTo>
                <a:lnTo>
                  <a:pt x="1395412" y="296720"/>
                </a:lnTo>
                <a:lnTo>
                  <a:pt x="1319212" y="296720"/>
                </a:lnTo>
                <a:close/>
                <a:moveTo>
                  <a:pt x="1150937" y="296720"/>
                </a:moveTo>
                <a:lnTo>
                  <a:pt x="1150937" y="371333"/>
                </a:lnTo>
                <a:lnTo>
                  <a:pt x="1227137" y="371333"/>
                </a:lnTo>
                <a:lnTo>
                  <a:pt x="1227137" y="296720"/>
                </a:lnTo>
                <a:lnTo>
                  <a:pt x="1150937" y="296720"/>
                </a:lnTo>
                <a:close/>
                <a:moveTo>
                  <a:pt x="1130495" y="0"/>
                </a:moveTo>
                <a:lnTo>
                  <a:pt x="1401025" y="0"/>
                </a:lnTo>
                <a:lnTo>
                  <a:pt x="1401025" y="146946"/>
                </a:lnTo>
                <a:lnTo>
                  <a:pt x="1511300" y="146946"/>
                </a:lnTo>
                <a:lnTo>
                  <a:pt x="1511300" y="1234123"/>
                </a:lnTo>
                <a:lnTo>
                  <a:pt x="877888" y="1232551"/>
                </a:lnTo>
                <a:lnTo>
                  <a:pt x="877888" y="1023795"/>
                </a:lnTo>
                <a:lnTo>
                  <a:pt x="785019" y="1023795"/>
                </a:lnTo>
                <a:lnTo>
                  <a:pt x="785019" y="1233345"/>
                </a:lnTo>
                <a:lnTo>
                  <a:pt x="729456" y="1233345"/>
                </a:lnTo>
                <a:lnTo>
                  <a:pt x="729456" y="1023795"/>
                </a:lnTo>
                <a:lnTo>
                  <a:pt x="637381" y="1023795"/>
                </a:lnTo>
                <a:lnTo>
                  <a:pt x="637381" y="1232551"/>
                </a:lnTo>
                <a:lnTo>
                  <a:pt x="0" y="1229376"/>
                </a:lnTo>
                <a:lnTo>
                  <a:pt x="0" y="935740"/>
                </a:lnTo>
                <a:lnTo>
                  <a:pt x="531521" y="936483"/>
                </a:lnTo>
                <a:lnTo>
                  <a:pt x="531521" y="506765"/>
                </a:lnTo>
                <a:lnTo>
                  <a:pt x="1017840" y="506765"/>
                </a:lnTo>
                <a:lnTo>
                  <a:pt x="1017840" y="146946"/>
                </a:lnTo>
                <a:lnTo>
                  <a:pt x="1130495" y="146946"/>
                </a:lnTo>
                <a:lnTo>
                  <a:pt x="1130495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28575" cap="flat" cmpd="sng" algn="ctr">
            <a:noFill/>
            <a:prstDash val="solid"/>
          </a:ln>
          <a:effectLst/>
        </p:spPr>
        <p:txBody>
          <a:bodyPr lIns="91420" tIns="45710" rIns="91420" bIns="45710" rtlCol="0" anchor="ctr"/>
          <a:lstStyle/>
          <a:p>
            <a:pPr algn="ctr" defTabSz="456706"/>
            <a:endParaRPr lang="en-US" sz="1400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1" name="Freeform 30"/>
          <p:cNvSpPr>
            <a:spLocks noChangeAspect="1"/>
          </p:cNvSpPr>
          <p:nvPr/>
        </p:nvSpPr>
        <p:spPr bwMode="auto">
          <a:xfrm>
            <a:off x="7450515" y="3400648"/>
            <a:ext cx="844619" cy="502710"/>
          </a:xfrm>
          <a:custGeom>
            <a:avLst/>
            <a:gdLst>
              <a:gd name="T0" fmla="*/ 699 w 799"/>
              <a:gd name="T1" fmla="*/ 264 h 464"/>
              <a:gd name="T2" fmla="*/ 698 w 799"/>
              <a:gd name="T3" fmla="*/ 264 h 464"/>
              <a:gd name="T4" fmla="*/ 699 w 799"/>
              <a:gd name="T5" fmla="*/ 253 h 464"/>
              <a:gd name="T6" fmla="*/ 635 w 799"/>
              <a:gd name="T7" fmla="*/ 190 h 464"/>
              <a:gd name="T8" fmla="*/ 623 w 799"/>
              <a:gd name="T9" fmla="*/ 191 h 464"/>
              <a:gd name="T10" fmla="*/ 629 w 799"/>
              <a:gd name="T11" fmla="*/ 153 h 464"/>
              <a:gd name="T12" fmla="*/ 457 w 799"/>
              <a:gd name="T13" fmla="*/ 0 h 464"/>
              <a:gd name="T14" fmla="*/ 288 w 799"/>
              <a:gd name="T15" fmla="*/ 124 h 464"/>
              <a:gd name="T16" fmla="*/ 229 w 799"/>
              <a:gd name="T17" fmla="*/ 102 h 464"/>
              <a:gd name="T18" fmla="*/ 138 w 799"/>
              <a:gd name="T19" fmla="*/ 194 h 464"/>
              <a:gd name="T20" fmla="*/ 138 w 799"/>
              <a:gd name="T21" fmla="*/ 199 h 464"/>
              <a:gd name="T22" fmla="*/ 133 w 799"/>
              <a:gd name="T23" fmla="*/ 198 h 464"/>
              <a:gd name="T24" fmla="*/ 0 w 799"/>
              <a:gd name="T25" fmla="*/ 331 h 464"/>
              <a:gd name="T26" fmla="*/ 133 w 799"/>
              <a:gd name="T27" fmla="*/ 464 h 464"/>
              <a:gd name="T28" fmla="*/ 699 w 799"/>
              <a:gd name="T29" fmla="*/ 464 h 464"/>
              <a:gd name="T30" fmla="*/ 799 w 799"/>
              <a:gd name="T31" fmla="*/ 364 h 464"/>
              <a:gd name="T32" fmla="*/ 699 w 799"/>
              <a:gd name="T33" fmla="*/ 2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99" h="464">
                <a:moveTo>
                  <a:pt x="699" y="264"/>
                </a:moveTo>
                <a:cubicBezTo>
                  <a:pt x="698" y="264"/>
                  <a:pt x="698" y="264"/>
                  <a:pt x="698" y="264"/>
                </a:cubicBezTo>
                <a:cubicBezTo>
                  <a:pt x="698" y="260"/>
                  <a:pt x="699" y="257"/>
                  <a:pt x="699" y="253"/>
                </a:cubicBezTo>
                <a:cubicBezTo>
                  <a:pt x="699" y="218"/>
                  <a:pt x="670" y="190"/>
                  <a:pt x="635" y="190"/>
                </a:cubicBezTo>
                <a:cubicBezTo>
                  <a:pt x="631" y="190"/>
                  <a:pt x="627" y="190"/>
                  <a:pt x="623" y="191"/>
                </a:cubicBezTo>
                <a:cubicBezTo>
                  <a:pt x="627" y="179"/>
                  <a:pt x="629" y="166"/>
                  <a:pt x="629" y="153"/>
                </a:cubicBezTo>
                <a:cubicBezTo>
                  <a:pt x="629" y="69"/>
                  <a:pt x="552" y="0"/>
                  <a:pt x="457" y="0"/>
                </a:cubicBezTo>
                <a:cubicBezTo>
                  <a:pt x="373" y="0"/>
                  <a:pt x="304" y="53"/>
                  <a:pt x="288" y="124"/>
                </a:cubicBezTo>
                <a:cubicBezTo>
                  <a:pt x="272" y="110"/>
                  <a:pt x="252" y="102"/>
                  <a:pt x="229" y="102"/>
                </a:cubicBezTo>
                <a:cubicBezTo>
                  <a:pt x="179" y="102"/>
                  <a:pt x="138" y="143"/>
                  <a:pt x="138" y="194"/>
                </a:cubicBezTo>
                <a:cubicBezTo>
                  <a:pt x="138" y="195"/>
                  <a:pt x="138" y="197"/>
                  <a:pt x="138" y="199"/>
                </a:cubicBezTo>
                <a:cubicBezTo>
                  <a:pt x="133" y="198"/>
                  <a:pt x="133" y="198"/>
                  <a:pt x="133" y="198"/>
                </a:cubicBezTo>
                <a:cubicBezTo>
                  <a:pt x="59" y="198"/>
                  <a:pt x="0" y="257"/>
                  <a:pt x="0" y="331"/>
                </a:cubicBezTo>
                <a:cubicBezTo>
                  <a:pt x="0" y="404"/>
                  <a:pt x="59" y="464"/>
                  <a:pt x="133" y="464"/>
                </a:cubicBezTo>
                <a:cubicBezTo>
                  <a:pt x="699" y="464"/>
                  <a:pt x="699" y="464"/>
                  <a:pt x="699" y="464"/>
                </a:cubicBezTo>
                <a:cubicBezTo>
                  <a:pt x="754" y="464"/>
                  <a:pt x="799" y="419"/>
                  <a:pt x="799" y="364"/>
                </a:cubicBezTo>
                <a:cubicBezTo>
                  <a:pt x="799" y="309"/>
                  <a:pt x="754" y="264"/>
                  <a:pt x="699" y="264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28575" cap="flat" cmpd="sng" algn="ctr">
            <a:solidFill>
              <a:schemeClr val="accent1"/>
            </a:solidFill>
            <a:prstDash val="solid"/>
          </a:ln>
          <a:effectLst/>
        </p:spPr>
        <p:txBody>
          <a:bodyPr lIns="91420" tIns="45710" rIns="91420" bIns="45710" rtlCol="0" anchor="ctr"/>
          <a:lstStyle/>
          <a:p>
            <a:pPr algn="ctr" defTabSz="456706"/>
            <a:endParaRPr lang="en-US" sz="1000" kern="0" dirty="0">
              <a:solidFill>
                <a:srgbClr val="214794">
                  <a:lumMod val="75000"/>
                </a:srgbClr>
              </a:solidFill>
              <a:latin typeface="Arial"/>
            </a:endParaRPr>
          </a:p>
          <a:p>
            <a:pPr algn="ctr" defTabSz="456706"/>
            <a:r>
              <a:rPr lang="en-US" sz="1000" kern="0" dirty="0">
                <a:solidFill>
                  <a:srgbClr val="214794">
                    <a:lumMod val="75000"/>
                  </a:srgbClr>
                </a:solidFill>
                <a:latin typeface="Arial"/>
              </a:rPr>
              <a:t>Public Cloud</a:t>
            </a:r>
          </a:p>
        </p:txBody>
      </p:sp>
      <p:grpSp>
        <p:nvGrpSpPr>
          <p:cNvPr id="32" name="Group 31"/>
          <p:cNvGrpSpPr/>
          <p:nvPr/>
        </p:nvGrpSpPr>
        <p:grpSpPr>
          <a:xfrm>
            <a:off x="6035840" y="3803334"/>
            <a:ext cx="320040" cy="320040"/>
            <a:chOff x="5452133" y="3805670"/>
            <a:chExt cx="320040" cy="320040"/>
          </a:xfrm>
        </p:grpSpPr>
        <p:sp>
          <p:nvSpPr>
            <p:cNvPr id="33" name="Oval 32"/>
            <p:cNvSpPr/>
            <p:nvPr/>
          </p:nvSpPr>
          <p:spPr bwMode="auto">
            <a:xfrm>
              <a:off x="5452133" y="3805670"/>
              <a:ext cx="320040" cy="32004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kern="0" dirty="0" err="1">
                <a:solidFill>
                  <a:srgbClr val="2968AF">
                    <a:lumMod val="50000"/>
                  </a:srgbClr>
                </a:solidFill>
                <a:latin typeface="Arial"/>
                <a:sym typeface="Arial" pitchFamily="-107" charset="0"/>
              </a:endParaRPr>
            </a:p>
          </p:txBody>
        </p:sp>
        <p:sp>
          <p:nvSpPr>
            <p:cNvPr id="34" name="Freeform 33"/>
            <p:cNvSpPr>
              <a:spLocks noChangeAspect="1"/>
            </p:cNvSpPr>
            <p:nvPr/>
          </p:nvSpPr>
          <p:spPr>
            <a:xfrm>
              <a:off x="5481009" y="3895528"/>
              <a:ext cx="269200" cy="157032"/>
            </a:xfrm>
            <a:custGeom>
              <a:avLst/>
              <a:gdLst>
                <a:gd name="connsiteX0" fmla="*/ 542060 w 1091013"/>
                <a:gd name="connsiteY0" fmla="*/ 440253 h 636419"/>
                <a:gd name="connsiteX1" fmla="*/ 751690 w 1091013"/>
                <a:gd name="connsiteY1" fmla="*/ 555523 h 636419"/>
                <a:gd name="connsiteX2" fmla="*/ 645501 w 1091013"/>
                <a:gd name="connsiteY2" fmla="*/ 636419 h 636419"/>
                <a:gd name="connsiteX3" fmla="*/ 538855 w 1091013"/>
                <a:gd name="connsiteY3" fmla="*/ 577777 h 636419"/>
                <a:gd name="connsiteX4" fmla="*/ 429602 w 1091013"/>
                <a:gd name="connsiteY4" fmla="*/ 630893 h 636419"/>
                <a:gd name="connsiteX5" fmla="*/ 327309 w 1091013"/>
                <a:gd name="connsiteY5" fmla="*/ 544661 h 636419"/>
                <a:gd name="connsiteX6" fmla="*/ 542060 w 1091013"/>
                <a:gd name="connsiteY6" fmla="*/ 440253 h 636419"/>
                <a:gd name="connsiteX7" fmla="*/ 545874 w 1091013"/>
                <a:gd name="connsiteY7" fmla="*/ 206756 h 636419"/>
                <a:gd name="connsiteX8" fmla="*/ 930030 w 1091013"/>
                <a:gd name="connsiteY8" fmla="*/ 415440 h 636419"/>
                <a:gd name="connsiteX9" fmla="*/ 811318 w 1091013"/>
                <a:gd name="connsiteY9" fmla="*/ 507146 h 636419"/>
                <a:gd name="connsiteX10" fmla="*/ 542762 w 1091013"/>
                <a:gd name="connsiteY10" fmla="*/ 361259 h 636419"/>
                <a:gd name="connsiteX11" fmla="*/ 268572 w 1091013"/>
                <a:gd name="connsiteY11" fmla="*/ 495146 h 636419"/>
                <a:gd name="connsiteX12" fmla="*/ 153658 w 1091013"/>
                <a:gd name="connsiteY12" fmla="*/ 398274 h 636419"/>
                <a:gd name="connsiteX13" fmla="*/ 545874 w 1091013"/>
                <a:gd name="connsiteY13" fmla="*/ 206756 h 636419"/>
                <a:gd name="connsiteX14" fmla="*/ 551934 w 1091013"/>
                <a:gd name="connsiteY14" fmla="*/ 206 h 636419"/>
                <a:gd name="connsiteX15" fmla="*/ 1091013 w 1091013"/>
                <a:gd name="connsiteY15" fmla="*/ 296026 h 636419"/>
                <a:gd name="connsiteX16" fmla="*/ 984427 w 1091013"/>
                <a:gd name="connsiteY16" fmla="*/ 377415 h 636419"/>
                <a:gd name="connsiteX17" fmla="*/ 548787 w 1091013"/>
                <a:gd name="connsiteY17" fmla="*/ 138357 h 636419"/>
                <a:gd name="connsiteX18" fmla="*/ 102757 w 1091013"/>
                <a:gd name="connsiteY18" fmla="*/ 355366 h 636419"/>
                <a:gd name="connsiteX19" fmla="*/ 0 w 1091013"/>
                <a:gd name="connsiteY19" fmla="*/ 268741 h 636419"/>
                <a:gd name="connsiteX20" fmla="*/ 551934 w 1091013"/>
                <a:gd name="connsiteY20" fmla="*/ 206 h 636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91013" h="636419">
                  <a:moveTo>
                    <a:pt x="542060" y="440253"/>
                  </a:moveTo>
                  <a:cubicBezTo>
                    <a:pt x="625253" y="442383"/>
                    <a:pt x="702753" y="484998"/>
                    <a:pt x="751690" y="555523"/>
                  </a:cubicBezTo>
                  <a:lnTo>
                    <a:pt x="645501" y="636419"/>
                  </a:lnTo>
                  <a:cubicBezTo>
                    <a:pt x="620604" y="600540"/>
                    <a:pt x="581178" y="578860"/>
                    <a:pt x="538855" y="577777"/>
                  </a:cubicBezTo>
                  <a:cubicBezTo>
                    <a:pt x="496531" y="576693"/>
                    <a:pt x="456141" y="596330"/>
                    <a:pt x="429602" y="630893"/>
                  </a:cubicBezTo>
                  <a:lnTo>
                    <a:pt x="327309" y="544661"/>
                  </a:lnTo>
                  <a:cubicBezTo>
                    <a:pt x="379475" y="476723"/>
                    <a:pt x="458866" y="438124"/>
                    <a:pt x="542060" y="440253"/>
                  </a:cubicBezTo>
                  <a:close/>
                  <a:moveTo>
                    <a:pt x="545874" y="206756"/>
                  </a:moveTo>
                  <a:cubicBezTo>
                    <a:pt x="697886" y="210117"/>
                    <a:pt x="839802" y="287209"/>
                    <a:pt x="930030" y="415440"/>
                  </a:cubicBezTo>
                  <a:lnTo>
                    <a:pt x="811318" y="507146"/>
                  </a:lnTo>
                  <a:cubicBezTo>
                    <a:pt x="748242" y="417503"/>
                    <a:pt x="649032" y="363609"/>
                    <a:pt x="542762" y="361259"/>
                  </a:cubicBezTo>
                  <a:cubicBezTo>
                    <a:pt x="436493" y="358909"/>
                    <a:pt x="335201" y="408371"/>
                    <a:pt x="268572" y="495146"/>
                  </a:cubicBezTo>
                  <a:lnTo>
                    <a:pt x="153658" y="398274"/>
                  </a:lnTo>
                  <a:cubicBezTo>
                    <a:pt x="248968" y="274145"/>
                    <a:pt x="393861" y="203395"/>
                    <a:pt x="545874" y="206756"/>
                  </a:cubicBezTo>
                  <a:close/>
                  <a:moveTo>
                    <a:pt x="551934" y="206"/>
                  </a:moveTo>
                  <a:cubicBezTo>
                    <a:pt x="765767" y="5553"/>
                    <a:pt x="965038" y="114903"/>
                    <a:pt x="1091013" y="296026"/>
                  </a:cubicBezTo>
                  <a:lnTo>
                    <a:pt x="984427" y="377415"/>
                  </a:lnTo>
                  <a:cubicBezTo>
                    <a:pt x="882624" y="231046"/>
                    <a:pt x="721590" y="142678"/>
                    <a:pt x="548787" y="138357"/>
                  </a:cubicBezTo>
                  <a:cubicBezTo>
                    <a:pt x="375984" y="134036"/>
                    <a:pt x="211110" y="214253"/>
                    <a:pt x="102757" y="355366"/>
                  </a:cubicBezTo>
                  <a:lnTo>
                    <a:pt x="0" y="268741"/>
                  </a:lnTo>
                  <a:cubicBezTo>
                    <a:pt x="134080" y="94121"/>
                    <a:pt x="338101" y="-5143"/>
                    <a:pt x="551934" y="206"/>
                  </a:cubicBezTo>
                  <a:close/>
                </a:path>
              </a:pathLst>
            </a:cu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3500567" y="3803334"/>
            <a:ext cx="320040" cy="320040"/>
            <a:chOff x="5452133" y="3805670"/>
            <a:chExt cx="320040" cy="320040"/>
          </a:xfrm>
        </p:grpSpPr>
        <p:sp>
          <p:nvSpPr>
            <p:cNvPr id="36" name="Oval 35"/>
            <p:cNvSpPr/>
            <p:nvPr/>
          </p:nvSpPr>
          <p:spPr bwMode="auto">
            <a:xfrm>
              <a:off x="5452133" y="3805670"/>
              <a:ext cx="320040" cy="32004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kern="0" dirty="0" err="1">
                <a:solidFill>
                  <a:srgbClr val="2968AF">
                    <a:lumMod val="50000"/>
                  </a:srgbClr>
                </a:solidFill>
                <a:latin typeface="Arial"/>
                <a:sym typeface="Arial" pitchFamily="-107" charset="0"/>
              </a:endParaRPr>
            </a:p>
          </p:txBody>
        </p:sp>
        <p:sp>
          <p:nvSpPr>
            <p:cNvPr id="37" name="Freeform 36"/>
            <p:cNvSpPr>
              <a:spLocks noChangeAspect="1"/>
            </p:cNvSpPr>
            <p:nvPr/>
          </p:nvSpPr>
          <p:spPr>
            <a:xfrm>
              <a:off x="5481009" y="3895528"/>
              <a:ext cx="269200" cy="157032"/>
            </a:xfrm>
            <a:custGeom>
              <a:avLst/>
              <a:gdLst>
                <a:gd name="connsiteX0" fmla="*/ 542060 w 1091013"/>
                <a:gd name="connsiteY0" fmla="*/ 440253 h 636419"/>
                <a:gd name="connsiteX1" fmla="*/ 751690 w 1091013"/>
                <a:gd name="connsiteY1" fmla="*/ 555523 h 636419"/>
                <a:gd name="connsiteX2" fmla="*/ 645501 w 1091013"/>
                <a:gd name="connsiteY2" fmla="*/ 636419 h 636419"/>
                <a:gd name="connsiteX3" fmla="*/ 538855 w 1091013"/>
                <a:gd name="connsiteY3" fmla="*/ 577777 h 636419"/>
                <a:gd name="connsiteX4" fmla="*/ 429602 w 1091013"/>
                <a:gd name="connsiteY4" fmla="*/ 630893 h 636419"/>
                <a:gd name="connsiteX5" fmla="*/ 327309 w 1091013"/>
                <a:gd name="connsiteY5" fmla="*/ 544661 h 636419"/>
                <a:gd name="connsiteX6" fmla="*/ 542060 w 1091013"/>
                <a:gd name="connsiteY6" fmla="*/ 440253 h 636419"/>
                <a:gd name="connsiteX7" fmla="*/ 545874 w 1091013"/>
                <a:gd name="connsiteY7" fmla="*/ 206756 h 636419"/>
                <a:gd name="connsiteX8" fmla="*/ 930030 w 1091013"/>
                <a:gd name="connsiteY8" fmla="*/ 415440 h 636419"/>
                <a:gd name="connsiteX9" fmla="*/ 811318 w 1091013"/>
                <a:gd name="connsiteY9" fmla="*/ 507146 h 636419"/>
                <a:gd name="connsiteX10" fmla="*/ 542762 w 1091013"/>
                <a:gd name="connsiteY10" fmla="*/ 361259 h 636419"/>
                <a:gd name="connsiteX11" fmla="*/ 268572 w 1091013"/>
                <a:gd name="connsiteY11" fmla="*/ 495146 h 636419"/>
                <a:gd name="connsiteX12" fmla="*/ 153658 w 1091013"/>
                <a:gd name="connsiteY12" fmla="*/ 398274 h 636419"/>
                <a:gd name="connsiteX13" fmla="*/ 545874 w 1091013"/>
                <a:gd name="connsiteY13" fmla="*/ 206756 h 636419"/>
                <a:gd name="connsiteX14" fmla="*/ 551934 w 1091013"/>
                <a:gd name="connsiteY14" fmla="*/ 206 h 636419"/>
                <a:gd name="connsiteX15" fmla="*/ 1091013 w 1091013"/>
                <a:gd name="connsiteY15" fmla="*/ 296026 h 636419"/>
                <a:gd name="connsiteX16" fmla="*/ 984427 w 1091013"/>
                <a:gd name="connsiteY16" fmla="*/ 377415 h 636419"/>
                <a:gd name="connsiteX17" fmla="*/ 548787 w 1091013"/>
                <a:gd name="connsiteY17" fmla="*/ 138357 h 636419"/>
                <a:gd name="connsiteX18" fmla="*/ 102757 w 1091013"/>
                <a:gd name="connsiteY18" fmla="*/ 355366 h 636419"/>
                <a:gd name="connsiteX19" fmla="*/ 0 w 1091013"/>
                <a:gd name="connsiteY19" fmla="*/ 268741 h 636419"/>
                <a:gd name="connsiteX20" fmla="*/ 551934 w 1091013"/>
                <a:gd name="connsiteY20" fmla="*/ 206 h 636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91013" h="636419">
                  <a:moveTo>
                    <a:pt x="542060" y="440253"/>
                  </a:moveTo>
                  <a:cubicBezTo>
                    <a:pt x="625253" y="442383"/>
                    <a:pt x="702753" y="484998"/>
                    <a:pt x="751690" y="555523"/>
                  </a:cubicBezTo>
                  <a:lnTo>
                    <a:pt x="645501" y="636419"/>
                  </a:lnTo>
                  <a:cubicBezTo>
                    <a:pt x="620604" y="600540"/>
                    <a:pt x="581178" y="578860"/>
                    <a:pt x="538855" y="577777"/>
                  </a:cubicBezTo>
                  <a:cubicBezTo>
                    <a:pt x="496531" y="576693"/>
                    <a:pt x="456141" y="596330"/>
                    <a:pt x="429602" y="630893"/>
                  </a:cubicBezTo>
                  <a:lnTo>
                    <a:pt x="327309" y="544661"/>
                  </a:lnTo>
                  <a:cubicBezTo>
                    <a:pt x="379475" y="476723"/>
                    <a:pt x="458866" y="438124"/>
                    <a:pt x="542060" y="440253"/>
                  </a:cubicBezTo>
                  <a:close/>
                  <a:moveTo>
                    <a:pt x="545874" y="206756"/>
                  </a:moveTo>
                  <a:cubicBezTo>
                    <a:pt x="697886" y="210117"/>
                    <a:pt x="839802" y="287209"/>
                    <a:pt x="930030" y="415440"/>
                  </a:cubicBezTo>
                  <a:lnTo>
                    <a:pt x="811318" y="507146"/>
                  </a:lnTo>
                  <a:cubicBezTo>
                    <a:pt x="748242" y="417503"/>
                    <a:pt x="649032" y="363609"/>
                    <a:pt x="542762" y="361259"/>
                  </a:cubicBezTo>
                  <a:cubicBezTo>
                    <a:pt x="436493" y="358909"/>
                    <a:pt x="335201" y="408371"/>
                    <a:pt x="268572" y="495146"/>
                  </a:cubicBezTo>
                  <a:lnTo>
                    <a:pt x="153658" y="398274"/>
                  </a:lnTo>
                  <a:cubicBezTo>
                    <a:pt x="248968" y="274145"/>
                    <a:pt x="393861" y="203395"/>
                    <a:pt x="545874" y="206756"/>
                  </a:cubicBezTo>
                  <a:close/>
                  <a:moveTo>
                    <a:pt x="551934" y="206"/>
                  </a:moveTo>
                  <a:cubicBezTo>
                    <a:pt x="765767" y="5553"/>
                    <a:pt x="965038" y="114903"/>
                    <a:pt x="1091013" y="296026"/>
                  </a:cubicBezTo>
                  <a:lnTo>
                    <a:pt x="984427" y="377415"/>
                  </a:lnTo>
                  <a:cubicBezTo>
                    <a:pt x="882624" y="231046"/>
                    <a:pt x="721590" y="142678"/>
                    <a:pt x="548787" y="138357"/>
                  </a:cubicBezTo>
                  <a:cubicBezTo>
                    <a:pt x="375984" y="134036"/>
                    <a:pt x="211110" y="214253"/>
                    <a:pt x="102757" y="355366"/>
                  </a:cubicBezTo>
                  <a:lnTo>
                    <a:pt x="0" y="268741"/>
                  </a:lnTo>
                  <a:cubicBezTo>
                    <a:pt x="134080" y="94121"/>
                    <a:pt x="338101" y="-5143"/>
                    <a:pt x="551934" y="206"/>
                  </a:cubicBezTo>
                  <a:close/>
                </a:path>
              </a:pathLst>
            </a:cu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2387175" y="1366864"/>
            <a:ext cx="335075" cy="329184"/>
            <a:chOff x="3344438" y="3274790"/>
            <a:chExt cx="335075" cy="329184"/>
          </a:xfrm>
        </p:grpSpPr>
        <p:sp>
          <p:nvSpPr>
            <p:cNvPr id="39" name="Rounded Rectangle 38"/>
            <p:cNvSpPr/>
            <p:nvPr/>
          </p:nvSpPr>
          <p:spPr bwMode="auto">
            <a:xfrm>
              <a:off x="3346457" y="3274790"/>
              <a:ext cx="331223" cy="329184"/>
            </a:xfrm>
            <a:prstGeom prst="roundRect">
              <a:avLst>
                <a:gd name="adj" fmla="val 4802"/>
              </a:avLst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kern="0" dirty="0" err="1">
                <a:solidFill>
                  <a:srgbClr val="2968AF">
                    <a:lumMod val="50000"/>
                  </a:srgbClr>
                </a:solidFill>
                <a:latin typeface="Arial"/>
                <a:sym typeface="Arial" pitchFamily="-107" charset="0"/>
              </a:endParaRPr>
            </a:p>
          </p:txBody>
        </p:sp>
        <p:sp>
          <p:nvSpPr>
            <p:cNvPr id="40" name="Freeform 39"/>
            <p:cNvSpPr>
              <a:spLocks noChangeAspect="1"/>
            </p:cNvSpPr>
            <p:nvPr/>
          </p:nvSpPr>
          <p:spPr>
            <a:xfrm>
              <a:off x="3344438" y="3294314"/>
              <a:ext cx="335075" cy="289590"/>
            </a:xfrm>
            <a:custGeom>
              <a:avLst/>
              <a:gdLst>
                <a:gd name="connsiteX0" fmla="*/ 2340295 w 2834640"/>
                <a:gd name="connsiteY0" fmla="*/ 1923290 h 2449839"/>
                <a:gd name="connsiteX1" fmla="*/ 2188350 w 2834640"/>
                <a:gd name="connsiteY1" fmla="*/ 2074556 h 2449839"/>
                <a:gd name="connsiteX2" fmla="*/ 2182510 w 2834640"/>
                <a:gd name="connsiteY2" fmla="*/ 2117999 h 2449839"/>
                <a:gd name="connsiteX3" fmla="*/ 2186803 w 2834640"/>
                <a:gd name="connsiteY3" fmla="*/ 2150613 h 2449839"/>
                <a:gd name="connsiteX4" fmla="*/ 2185071 w 2834640"/>
                <a:gd name="connsiteY4" fmla="*/ 2150613 h 2449839"/>
                <a:gd name="connsiteX5" fmla="*/ 2197305 w 2834640"/>
                <a:gd name="connsiteY5" fmla="*/ 2248868 h 2449839"/>
                <a:gd name="connsiteX6" fmla="*/ 2351819 w 2834640"/>
                <a:gd name="connsiteY6" fmla="*/ 2414945 h 2449839"/>
                <a:gd name="connsiteX7" fmla="*/ 2385616 w 2834640"/>
                <a:gd name="connsiteY7" fmla="*/ 2409421 h 2449839"/>
                <a:gd name="connsiteX8" fmla="*/ 2509337 w 2834640"/>
                <a:gd name="connsiteY8" fmla="*/ 2236520 h 2449839"/>
                <a:gd name="connsiteX9" fmla="*/ 2516900 w 2834640"/>
                <a:gd name="connsiteY9" fmla="*/ 2167029 h 2449839"/>
                <a:gd name="connsiteX10" fmla="*/ 2504671 w 2834640"/>
                <a:gd name="connsiteY10" fmla="*/ 2167029 h 2449839"/>
                <a:gd name="connsiteX11" fmla="*/ 2492241 w 2834640"/>
                <a:gd name="connsiteY11" fmla="*/ 2074556 h 2449839"/>
                <a:gd name="connsiteX12" fmla="*/ 2340295 w 2834640"/>
                <a:gd name="connsiteY12" fmla="*/ 1923290 h 2449839"/>
                <a:gd name="connsiteX13" fmla="*/ 1579067 w 2834640"/>
                <a:gd name="connsiteY13" fmla="*/ 1923290 h 2449839"/>
                <a:gd name="connsiteX14" fmla="*/ 1427122 w 2834640"/>
                <a:gd name="connsiteY14" fmla="*/ 2074556 h 2449839"/>
                <a:gd name="connsiteX15" fmla="*/ 1418958 w 2834640"/>
                <a:gd name="connsiteY15" fmla="*/ 2135285 h 2449839"/>
                <a:gd name="connsiteX16" fmla="*/ 1420977 w 2834640"/>
                <a:gd name="connsiteY16" fmla="*/ 2150613 h 2449839"/>
                <a:gd name="connsiteX17" fmla="*/ 1419244 w 2834640"/>
                <a:gd name="connsiteY17" fmla="*/ 2150613 h 2449839"/>
                <a:gd name="connsiteX18" fmla="*/ 1431478 w 2834640"/>
                <a:gd name="connsiteY18" fmla="*/ 2248868 h 2449839"/>
                <a:gd name="connsiteX19" fmla="*/ 1585992 w 2834640"/>
                <a:gd name="connsiteY19" fmla="*/ 2414945 h 2449839"/>
                <a:gd name="connsiteX20" fmla="*/ 1619788 w 2834640"/>
                <a:gd name="connsiteY20" fmla="*/ 2409421 h 2449839"/>
                <a:gd name="connsiteX21" fmla="*/ 1743509 w 2834640"/>
                <a:gd name="connsiteY21" fmla="*/ 2236520 h 2449839"/>
                <a:gd name="connsiteX22" fmla="*/ 1749106 w 2834640"/>
                <a:gd name="connsiteY22" fmla="*/ 2185090 h 2449839"/>
                <a:gd name="connsiteX23" fmla="*/ 1747833 w 2834640"/>
                <a:gd name="connsiteY23" fmla="*/ 2167029 h 2449839"/>
                <a:gd name="connsiteX24" fmla="*/ 1743444 w 2834640"/>
                <a:gd name="connsiteY24" fmla="*/ 2167029 h 2449839"/>
                <a:gd name="connsiteX25" fmla="*/ 1731013 w 2834640"/>
                <a:gd name="connsiteY25" fmla="*/ 2074556 h 2449839"/>
                <a:gd name="connsiteX26" fmla="*/ 1579067 w 2834640"/>
                <a:gd name="connsiteY26" fmla="*/ 1923290 h 2449839"/>
                <a:gd name="connsiteX27" fmla="*/ 817840 w 2834640"/>
                <a:gd name="connsiteY27" fmla="*/ 1923290 h 2449839"/>
                <a:gd name="connsiteX28" fmla="*/ 665895 w 2834640"/>
                <a:gd name="connsiteY28" fmla="*/ 2074556 h 2449839"/>
                <a:gd name="connsiteX29" fmla="*/ 654500 w 2834640"/>
                <a:gd name="connsiteY29" fmla="*/ 2159318 h 2449839"/>
                <a:gd name="connsiteX30" fmla="*/ 665651 w 2834640"/>
                <a:gd name="connsiteY30" fmla="*/ 2248868 h 2449839"/>
                <a:gd name="connsiteX31" fmla="*/ 820164 w 2834640"/>
                <a:gd name="connsiteY31" fmla="*/ 2414945 h 2449839"/>
                <a:gd name="connsiteX32" fmla="*/ 853961 w 2834640"/>
                <a:gd name="connsiteY32" fmla="*/ 2409421 h 2449839"/>
                <a:gd name="connsiteX33" fmla="*/ 977683 w 2834640"/>
                <a:gd name="connsiteY33" fmla="*/ 2236520 h 2449839"/>
                <a:gd name="connsiteX34" fmla="*/ 984931 w 2834640"/>
                <a:gd name="connsiteY34" fmla="*/ 2169918 h 2449839"/>
                <a:gd name="connsiteX35" fmla="*/ 984728 w 2834640"/>
                <a:gd name="connsiteY35" fmla="*/ 2167029 h 2449839"/>
                <a:gd name="connsiteX36" fmla="*/ 982217 w 2834640"/>
                <a:gd name="connsiteY36" fmla="*/ 2167029 h 2449839"/>
                <a:gd name="connsiteX37" fmla="*/ 969785 w 2834640"/>
                <a:gd name="connsiteY37" fmla="*/ 2074556 h 2449839"/>
                <a:gd name="connsiteX38" fmla="*/ 817840 w 2834640"/>
                <a:gd name="connsiteY38" fmla="*/ 1923290 h 2449839"/>
                <a:gd name="connsiteX39" fmla="*/ 1968906 w 2834640"/>
                <a:gd name="connsiteY39" fmla="*/ 1883661 h 2449839"/>
                <a:gd name="connsiteX40" fmla="*/ 1814391 w 2834640"/>
                <a:gd name="connsiteY40" fmla="*/ 2049738 h 2449839"/>
                <a:gd name="connsiteX41" fmla="*/ 1803468 w 2834640"/>
                <a:gd name="connsiteY41" fmla="*/ 2137463 h 2449839"/>
                <a:gd name="connsiteX42" fmla="*/ 1803964 w 2834640"/>
                <a:gd name="connsiteY42" fmla="*/ 2144098 h 2449839"/>
                <a:gd name="connsiteX43" fmla="*/ 1807634 w 2834640"/>
                <a:gd name="connsiteY43" fmla="*/ 2144098 h 2449839"/>
                <a:gd name="connsiteX44" fmla="*/ 1819361 w 2834640"/>
                <a:gd name="connsiteY44" fmla="*/ 2236571 h 2449839"/>
                <a:gd name="connsiteX45" fmla="*/ 1962696 w 2834640"/>
                <a:gd name="connsiteY45" fmla="*/ 2387837 h 2449839"/>
                <a:gd name="connsiteX46" fmla="*/ 2106030 w 2834640"/>
                <a:gd name="connsiteY46" fmla="*/ 2236571 h 2449839"/>
                <a:gd name="connsiteX47" fmla="*/ 2114849 w 2834640"/>
                <a:gd name="connsiteY47" fmla="*/ 2167029 h 2449839"/>
                <a:gd name="connsiteX48" fmla="*/ 2110809 w 2834640"/>
                <a:gd name="connsiteY48" fmla="*/ 2167029 h 2449839"/>
                <a:gd name="connsiteX49" fmla="*/ 2115313 w 2834640"/>
                <a:gd name="connsiteY49" fmla="*/ 2106816 h 2449839"/>
                <a:gd name="connsiteX50" fmla="*/ 2126946 w 2834640"/>
                <a:gd name="connsiteY50" fmla="*/ 2066887 h 2449839"/>
                <a:gd name="connsiteX51" fmla="*/ 2126423 w 2834640"/>
                <a:gd name="connsiteY51" fmla="*/ 2062086 h 2449839"/>
                <a:gd name="connsiteX52" fmla="*/ 2002702 w 2834640"/>
                <a:gd name="connsiteY52" fmla="*/ 1889185 h 2449839"/>
                <a:gd name="connsiteX53" fmla="*/ 1968906 w 2834640"/>
                <a:gd name="connsiteY53" fmla="*/ 1883661 h 2449839"/>
                <a:gd name="connsiteX54" fmla="*/ 1203078 w 2834640"/>
                <a:gd name="connsiteY54" fmla="*/ 1883661 h 2449839"/>
                <a:gd name="connsiteX55" fmla="*/ 1048565 w 2834640"/>
                <a:gd name="connsiteY55" fmla="*/ 2049738 h 2449839"/>
                <a:gd name="connsiteX56" fmla="*/ 1040515 w 2834640"/>
                <a:gd name="connsiteY56" fmla="*/ 2114389 h 2449839"/>
                <a:gd name="connsiteX57" fmla="*/ 1042737 w 2834640"/>
                <a:gd name="connsiteY57" fmla="*/ 2144098 h 2449839"/>
                <a:gd name="connsiteX58" fmla="*/ 1044529 w 2834640"/>
                <a:gd name="connsiteY58" fmla="*/ 2144098 h 2449839"/>
                <a:gd name="connsiteX59" fmla="*/ 1056257 w 2834640"/>
                <a:gd name="connsiteY59" fmla="*/ 2236571 h 2449839"/>
                <a:gd name="connsiteX60" fmla="*/ 1199591 w 2834640"/>
                <a:gd name="connsiteY60" fmla="*/ 2387837 h 2449839"/>
                <a:gd name="connsiteX61" fmla="*/ 1342925 w 2834640"/>
                <a:gd name="connsiteY61" fmla="*/ 2236571 h 2449839"/>
                <a:gd name="connsiteX62" fmla="*/ 1351744 w 2834640"/>
                <a:gd name="connsiteY62" fmla="*/ 2167029 h 2449839"/>
                <a:gd name="connsiteX63" fmla="*/ 1349582 w 2834640"/>
                <a:gd name="connsiteY63" fmla="*/ 2167029 h 2449839"/>
                <a:gd name="connsiteX64" fmla="*/ 1354085 w 2834640"/>
                <a:gd name="connsiteY64" fmla="*/ 2106816 h 2449839"/>
                <a:gd name="connsiteX65" fmla="*/ 1362370 w 2834640"/>
                <a:gd name="connsiteY65" fmla="*/ 2078381 h 2449839"/>
                <a:gd name="connsiteX66" fmla="*/ 1360597 w 2834640"/>
                <a:gd name="connsiteY66" fmla="*/ 2062086 h 2449839"/>
                <a:gd name="connsiteX67" fmla="*/ 1236875 w 2834640"/>
                <a:gd name="connsiteY67" fmla="*/ 1889185 h 2449839"/>
                <a:gd name="connsiteX68" fmla="*/ 1203078 w 2834640"/>
                <a:gd name="connsiteY68" fmla="*/ 1883661 h 2449839"/>
                <a:gd name="connsiteX69" fmla="*/ 437252 w 2834640"/>
                <a:gd name="connsiteY69" fmla="*/ 1883661 h 2449839"/>
                <a:gd name="connsiteX70" fmla="*/ 282737 w 2834640"/>
                <a:gd name="connsiteY70" fmla="*/ 2049738 h 2449839"/>
                <a:gd name="connsiteX71" fmla="*/ 270988 w 2834640"/>
                <a:gd name="connsiteY71" fmla="*/ 2144098 h 2449839"/>
                <a:gd name="connsiteX72" fmla="*/ 280945 w 2834640"/>
                <a:gd name="connsiteY72" fmla="*/ 2144098 h 2449839"/>
                <a:gd name="connsiteX73" fmla="*/ 292688 w 2834640"/>
                <a:gd name="connsiteY73" fmla="*/ 2236571 h 2449839"/>
                <a:gd name="connsiteX74" fmla="*/ 436208 w 2834640"/>
                <a:gd name="connsiteY74" fmla="*/ 2387837 h 2449839"/>
                <a:gd name="connsiteX75" fmla="*/ 579729 w 2834640"/>
                <a:gd name="connsiteY75" fmla="*/ 2236571 h 2449839"/>
                <a:gd name="connsiteX76" fmla="*/ 588559 w 2834640"/>
                <a:gd name="connsiteY76" fmla="*/ 2167029 h 2449839"/>
                <a:gd name="connsiteX77" fmla="*/ 588355 w 2834640"/>
                <a:gd name="connsiteY77" fmla="*/ 2167029 h 2449839"/>
                <a:gd name="connsiteX78" fmla="*/ 592858 w 2834640"/>
                <a:gd name="connsiteY78" fmla="*/ 2106816 h 2449839"/>
                <a:gd name="connsiteX79" fmla="*/ 597793 w 2834640"/>
                <a:gd name="connsiteY79" fmla="*/ 2089876 h 2449839"/>
                <a:gd name="connsiteX80" fmla="*/ 594769 w 2834640"/>
                <a:gd name="connsiteY80" fmla="*/ 2062086 h 2449839"/>
                <a:gd name="connsiteX81" fmla="*/ 471048 w 2834640"/>
                <a:gd name="connsiteY81" fmla="*/ 1889185 h 2449839"/>
                <a:gd name="connsiteX82" fmla="*/ 437252 w 2834640"/>
                <a:gd name="connsiteY82" fmla="*/ 1883661 h 2449839"/>
                <a:gd name="connsiteX83" fmla="*/ 816403 w 2834640"/>
                <a:gd name="connsiteY83" fmla="*/ 1861288 h 2449839"/>
                <a:gd name="connsiteX84" fmla="*/ 1011549 w 2834640"/>
                <a:gd name="connsiteY84" fmla="*/ 2009338 h 2449839"/>
                <a:gd name="connsiteX85" fmla="*/ 1013400 w 2834640"/>
                <a:gd name="connsiteY85" fmla="*/ 2015690 h 2449839"/>
                <a:gd name="connsiteX86" fmla="*/ 1034433 w 2834640"/>
                <a:gd name="connsiteY86" fmla="*/ 1969218 h 2449839"/>
                <a:gd name="connsiteX87" fmla="*/ 1203078 w 2834640"/>
                <a:gd name="connsiteY87" fmla="*/ 1862599 h 2449839"/>
                <a:gd name="connsiteX88" fmla="*/ 1247124 w 2834640"/>
                <a:gd name="connsiteY88" fmla="*/ 1868551 h 2449839"/>
                <a:gd name="connsiteX89" fmla="*/ 1382820 w 2834640"/>
                <a:gd name="connsiteY89" fmla="*/ 1988863 h 2449839"/>
                <a:gd name="connsiteX90" fmla="*/ 1387301 w 2834640"/>
                <a:gd name="connsiteY90" fmla="*/ 2000436 h 2449839"/>
                <a:gd name="connsiteX91" fmla="*/ 1405092 w 2834640"/>
                <a:gd name="connsiteY91" fmla="*/ 1967552 h 2449839"/>
                <a:gd name="connsiteX92" fmla="*/ 1577630 w 2834640"/>
                <a:gd name="connsiteY92" fmla="*/ 1861288 h 2449839"/>
                <a:gd name="connsiteX93" fmla="*/ 1772776 w 2834640"/>
                <a:gd name="connsiteY93" fmla="*/ 2009338 h 2449839"/>
                <a:gd name="connsiteX94" fmla="*/ 1776428 w 2834640"/>
                <a:gd name="connsiteY94" fmla="*/ 2021872 h 2449839"/>
                <a:gd name="connsiteX95" fmla="*/ 1800259 w 2834640"/>
                <a:gd name="connsiteY95" fmla="*/ 1969218 h 2449839"/>
                <a:gd name="connsiteX96" fmla="*/ 1968905 w 2834640"/>
                <a:gd name="connsiteY96" fmla="*/ 1862599 h 2449839"/>
                <a:gd name="connsiteX97" fmla="*/ 2012950 w 2834640"/>
                <a:gd name="connsiteY97" fmla="*/ 1868551 h 2449839"/>
                <a:gd name="connsiteX98" fmla="*/ 2148647 w 2834640"/>
                <a:gd name="connsiteY98" fmla="*/ 1988863 h 2449839"/>
                <a:gd name="connsiteX99" fmla="*/ 2151210 w 2834640"/>
                <a:gd name="connsiteY99" fmla="*/ 1995480 h 2449839"/>
                <a:gd name="connsiteX100" fmla="*/ 2166320 w 2834640"/>
                <a:gd name="connsiteY100" fmla="*/ 1967552 h 2449839"/>
                <a:gd name="connsiteX101" fmla="*/ 2338858 w 2834640"/>
                <a:gd name="connsiteY101" fmla="*/ 1861288 h 2449839"/>
                <a:gd name="connsiteX102" fmla="*/ 2534004 w 2834640"/>
                <a:gd name="connsiteY102" fmla="*/ 2009338 h 2449839"/>
                <a:gd name="connsiteX103" fmla="*/ 2540818 w 2834640"/>
                <a:gd name="connsiteY103" fmla="*/ 2032726 h 2449839"/>
                <a:gd name="connsiteX104" fmla="*/ 2543702 w 2834640"/>
                <a:gd name="connsiteY104" fmla="*/ 2026353 h 2449839"/>
                <a:gd name="connsiteX105" fmla="*/ 2566907 w 2834640"/>
                <a:gd name="connsiteY105" fmla="*/ 2104142 h 2449839"/>
                <a:gd name="connsiteX106" fmla="*/ 2566907 w 2834640"/>
                <a:gd name="connsiteY106" fmla="*/ 2169332 h 2449839"/>
                <a:gd name="connsiteX107" fmla="*/ 2557110 w 2834640"/>
                <a:gd name="connsiteY107" fmla="*/ 2243761 h 2449839"/>
                <a:gd name="connsiteX108" fmla="*/ 2395864 w 2834640"/>
                <a:gd name="connsiteY108" fmla="*/ 2430055 h 2449839"/>
                <a:gd name="connsiteX109" fmla="*/ 2351818 w 2834640"/>
                <a:gd name="connsiteY109" fmla="*/ 2436007 h 2449839"/>
                <a:gd name="connsiteX110" fmla="*/ 2183173 w 2834640"/>
                <a:gd name="connsiteY110" fmla="*/ 2329389 h 2449839"/>
                <a:gd name="connsiteX111" fmla="*/ 2154969 w 2834640"/>
                <a:gd name="connsiteY111" fmla="*/ 2267071 h 2449839"/>
                <a:gd name="connsiteX112" fmla="*/ 2145427 w 2834640"/>
                <a:gd name="connsiteY112" fmla="*/ 2301789 h 2449839"/>
                <a:gd name="connsiteX113" fmla="*/ 1961339 w 2834640"/>
                <a:gd name="connsiteY113" fmla="*/ 2449839 h 2449839"/>
                <a:gd name="connsiteX114" fmla="*/ 1777253 w 2834640"/>
                <a:gd name="connsiteY114" fmla="*/ 2301789 h 2449839"/>
                <a:gd name="connsiteX115" fmla="*/ 1773749 w 2834640"/>
                <a:gd name="connsiteY115" fmla="*/ 2289042 h 2449839"/>
                <a:gd name="connsiteX116" fmla="*/ 1765733 w 2834640"/>
                <a:gd name="connsiteY116" fmla="*/ 2309743 h 2449839"/>
                <a:gd name="connsiteX117" fmla="*/ 1630036 w 2834640"/>
                <a:gd name="connsiteY117" fmla="*/ 2430055 h 2449839"/>
                <a:gd name="connsiteX118" fmla="*/ 1585991 w 2834640"/>
                <a:gd name="connsiteY118" fmla="*/ 2436007 h 2449839"/>
                <a:gd name="connsiteX119" fmla="*/ 1417345 w 2834640"/>
                <a:gd name="connsiteY119" fmla="*/ 2329389 h 2449839"/>
                <a:gd name="connsiteX120" fmla="*/ 1390835 w 2834640"/>
                <a:gd name="connsiteY120" fmla="*/ 2270814 h 2449839"/>
                <a:gd name="connsiteX121" fmla="*/ 1382322 w 2834640"/>
                <a:gd name="connsiteY121" fmla="*/ 2301789 h 2449839"/>
                <a:gd name="connsiteX122" fmla="*/ 1198235 w 2834640"/>
                <a:gd name="connsiteY122" fmla="*/ 2449839 h 2449839"/>
                <a:gd name="connsiteX123" fmla="*/ 1014148 w 2834640"/>
                <a:gd name="connsiteY123" fmla="*/ 2301789 h 2449839"/>
                <a:gd name="connsiteX124" fmla="*/ 1009514 w 2834640"/>
                <a:gd name="connsiteY124" fmla="*/ 2284929 h 2449839"/>
                <a:gd name="connsiteX125" fmla="*/ 999905 w 2834640"/>
                <a:gd name="connsiteY125" fmla="*/ 2309743 h 2449839"/>
                <a:gd name="connsiteX126" fmla="*/ 864210 w 2834640"/>
                <a:gd name="connsiteY126" fmla="*/ 2430055 h 2449839"/>
                <a:gd name="connsiteX127" fmla="*/ 820163 w 2834640"/>
                <a:gd name="connsiteY127" fmla="*/ 2436007 h 2449839"/>
                <a:gd name="connsiteX128" fmla="*/ 651519 w 2834640"/>
                <a:gd name="connsiteY128" fmla="*/ 2329389 h 2449839"/>
                <a:gd name="connsiteX129" fmla="*/ 626683 w 2834640"/>
                <a:gd name="connsiteY129" fmla="*/ 2274514 h 2449839"/>
                <a:gd name="connsiteX130" fmla="*/ 619177 w 2834640"/>
                <a:gd name="connsiteY130" fmla="*/ 2301789 h 2449839"/>
                <a:gd name="connsiteX131" fmla="*/ 434851 w 2834640"/>
                <a:gd name="connsiteY131" fmla="*/ 2449839 h 2449839"/>
                <a:gd name="connsiteX132" fmla="*/ 223700 w 2834640"/>
                <a:gd name="connsiteY132" fmla="*/ 2204311 h 2449839"/>
                <a:gd name="connsiteX133" fmla="*/ 219906 w 2834640"/>
                <a:gd name="connsiteY133" fmla="*/ 2150613 h 2449839"/>
                <a:gd name="connsiteX134" fmla="*/ 219446 w 2834640"/>
                <a:gd name="connsiteY134" fmla="*/ 2150613 h 2449839"/>
                <a:gd name="connsiteX135" fmla="*/ 219759 w 2834640"/>
                <a:gd name="connsiteY135" fmla="*/ 2148533 h 2449839"/>
                <a:gd name="connsiteX136" fmla="*/ 219446 w 2834640"/>
                <a:gd name="connsiteY136" fmla="*/ 2144098 h 2449839"/>
                <a:gd name="connsiteX137" fmla="*/ 220427 w 2834640"/>
                <a:gd name="connsiteY137" fmla="*/ 2144098 h 2449839"/>
                <a:gd name="connsiteX138" fmla="*/ 235873 w 2834640"/>
                <a:gd name="connsiteY138" fmla="*/ 2041540 h 2449839"/>
                <a:gd name="connsiteX139" fmla="*/ 437251 w 2834640"/>
                <a:gd name="connsiteY139" fmla="*/ 1862599 h 2449839"/>
                <a:gd name="connsiteX140" fmla="*/ 481296 w 2834640"/>
                <a:gd name="connsiteY140" fmla="*/ 1868551 h 2449839"/>
                <a:gd name="connsiteX141" fmla="*/ 616993 w 2834640"/>
                <a:gd name="connsiteY141" fmla="*/ 1988863 h 2449839"/>
                <a:gd name="connsiteX142" fmla="*/ 623393 w 2834640"/>
                <a:gd name="connsiteY142" fmla="*/ 2005391 h 2449839"/>
                <a:gd name="connsiteX143" fmla="*/ 643865 w 2834640"/>
                <a:gd name="connsiteY143" fmla="*/ 1967552 h 2449839"/>
                <a:gd name="connsiteX144" fmla="*/ 816403 w 2834640"/>
                <a:gd name="connsiteY144" fmla="*/ 1861288 h 2449839"/>
                <a:gd name="connsiteX145" fmla="*/ 0 w 2834640"/>
                <a:gd name="connsiteY145" fmla="*/ 1561618 h 2449839"/>
                <a:gd name="connsiteX146" fmla="*/ 2834640 w 2834640"/>
                <a:gd name="connsiteY146" fmla="*/ 1561618 h 2449839"/>
                <a:gd name="connsiteX147" fmla="*/ 2834640 w 2834640"/>
                <a:gd name="connsiteY147" fmla="*/ 1625074 h 2449839"/>
                <a:gd name="connsiteX148" fmla="*/ 0 w 2834640"/>
                <a:gd name="connsiteY148" fmla="*/ 1625074 h 2449839"/>
                <a:gd name="connsiteX149" fmla="*/ 1434499 w 2834640"/>
                <a:gd name="connsiteY149" fmla="*/ 862613 h 2449839"/>
                <a:gd name="connsiteX150" fmla="*/ 1462809 w 2834640"/>
                <a:gd name="connsiteY150" fmla="*/ 877238 h 2449839"/>
                <a:gd name="connsiteX151" fmla="*/ 1587546 w 2834640"/>
                <a:gd name="connsiteY151" fmla="*/ 999002 h 2449839"/>
                <a:gd name="connsiteX152" fmla="*/ 1603974 w 2834640"/>
                <a:gd name="connsiteY152" fmla="*/ 1037347 h 2449839"/>
                <a:gd name="connsiteX153" fmla="*/ 1588477 w 2834640"/>
                <a:gd name="connsiteY153" fmla="*/ 1076078 h 2449839"/>
                <a:gd name="connsiteX154" fmla="*/ 1511401 w 2834640"/>
                <a:gd name="connsiteY154" fmla="*/ 1077008 h 2449839"/>
                <a:gd name="connsiteX155" fmla="*/ 1476488 w 2834640"/>
                <a:gd name="connsiteY155" fmla="*/ 1042927 h 2449839"/>
                <a:gd name="connsiteX156" fmla="*/ 1476488 w 2834640"/>
                <a:gd name="connsiteY156" fmla="*/ 1378429 h 2449839"/>
                <a:gd name="connsiteX157" fmla="*/ 1421984 w 2834640"/>
                <a:gd name="connsiteY157" fmla="*/ 1432934 h 2449839"/>
                <a:gd name="connsiteX158" fmla="*/ 1421984 w 2834640"/>
                <a:gd name="connsiteY158" fmla="*/ 1432935 h 2449839"/>
                <a:gd name="connsiteX159" fmla="*/ 1367480 w 2834640"/>
                <a:gd name="connsiteY159" fmla="*/ 1378430 h 2449839"/>
                <a:gd name="connsiteX160" fmla="*/ 1367479 w 2834640"/>
                <a:gd name="connsiteY160" fmla="*/ 1046154 h 2449839"/>
                <a:gd name="connsiteX161" fmla="*/ 1330796 w 2834640"/>
                <a:gd name="connsiteY161" fmla="*/ 1081962 h 2449839"/>
                <a:gd name="connsiteX162" fmla="*/ 1253720 w 2834640"/>
                <a:gd name="connsiteY162" fmla="*/ 1081032 h 2449839"/>
                <a:gd name="connsiteX163" fmla="*/ 1253720 w 2834640"/>
                <a:gd name="connsiteY163" fmla="*/ 1081034 h 2449839"/>
                <a:gd name="connsiteX164" fmla="*/ 1254650 w 2834640"/>
                <a:gd name="connsiteY164" fmla="*/ 1003958 h 2449839"/>
                <a:gd name="connsiteX165" fmla="*/ 1379388 w 2834640"/>
                <a:gd name="connsiteY165" fmla="*/ 882193 h 2449839"/>
                <a:gd name="connsiteX166" fmla="*/ 1388021 w 2834640"/>
                <a:gd name="connsiteY166" fmla="*/ 876609 h 2449839"/>
                <a:gd name="connsiteX167" fmla="*/ 1403617 w 2834640"/>
                <a:gd name="connsiteY167" fmla="*/ 865979 h 2449839"/>
                <a:gd name="connsiteX168" fmla="*/ 1434499 w 2834640"/>
                <a:gd name="connsiteY168" fmla="*/ 862613 h 2449839"/>
                <a:gd name="connsiteX169" fmla="*/ 890424 w 2834640"/>
                <a:gd name="connsiteY169" fmla="*/ 727342 h 2449839"/>
                <a:gd name="connsiteX170" fmla="*/ 911700 w 2834640"/>
                <a:gd name="connsiteY170" fmla="*/ 731320 h 2449839"/>
                <a:gd name="connsiteX171" fmla="*/ 1073318 w 2834640"/>
                <a:gd name="connsiteY171" fmla="*/ 796630 h 2449839"/>
                <a:gd name="connsiteX172" fmla="*/ 1107410 w 2834640"/>
                <a:gd name="connsiteY172" fmla="*/ 846310 h 2449839"/>
                <a:gd name="connsiteX173" fmla="*/ 1103941 w 2834640"/>
                <a:gd name="connsiteY173" fmla="*/ 864863 h 2449839"/>
                <a:gd name="connsiteX174" fmla="*/ 1102296 w 2834640"/>
                <a:gd name="connsiteY174" fmla="*/ 875012 h 2449839"/>
                <a:gd name="connsiteX175" fmla="*/ 1040903 w 2834640"/>
                <a:gd name="connsiteY175" fmla="*/ 1038160 h 2449839"/>
                <a:gd name="connsiteX176" fmla="*/ 970695 w 2834640"/>
                <a:gd name="connsiteY176" fmla="*/ 1069977 h 2449839"/>
                <a:gd name="connsiteX177" fmla="*/ 970696 w 2834640"/>
                <a:gd name="connsiteY177" fmla="*/ 1069977 h 2449839"/>
                <a:gd name="connsiteX178" fmla="*/ 938879 w 2834640"/>
                <a:gd name="connsiteY178" fmla="*/ 999768 h 2449839"/>
                <a:gd name="connsiteX179" fmla="*/ 956933 w 2834640"/>
                <a:gd name="connsiteY179" fmla="*/ 951790 h 2449839"/>
                <a:gd name="connsiteX180" fmla="*/ 652651 w 2834640"/>
                <a:gd name="connsiteY180" fmla="*/ 1085281 h 2449839"/>
                <a:gd name="connsiteX181" fmla="*/ 580841 w 2834640"/>
                <a:gd name="connsiteY181" fmla="*/ 1057266 h 2449839"/>
                <a:gd name="connsiteX182" fmla="*/ 580842 w 2834640"/>
                <a:gd name="connsiteY182" fmla="*/ 1057267 h 2449839"/>
                <a:gd name="connsiteX183" fmla="*/ 608858 w 2834640"/>
                <a:gd name="connsiteY183" fmla="*/ 985457 h 2449839"/>
                <a:gd name="connsiteX184" fmla="*/ 916093 w 2834640"/>
                <a:gd name="connsiteY184" fmla="*/ 850668 h 2449839"/>
                <a:gd name="connsiteX185" fmla="*/ 870858 w 2834640"/>
                <a:gd name="connsiteY185" fmla="*/ 832389 h 2449839"/>
                <a:gd name="connsiteX186" fmla="*/ 840744 w 2834640"/>
                <a:gd name="connsiteY186" fmla="*/ 761433 h 2449839"/>
                <a:gd name="connsiteX187" fmla="*/ 869985 w 2834640"/>
                <a:gd name="connsiteY187" fmla="*/ 731681 h 2449839"/>
                <a:gd name="connsiteX188" fmla="*/ 890424 w 2834640"/>
                <a:gd name="connsiteY188" fmla="*/ 727342 h 2449839"/>
                <a:gd name="connsiteX189" fmla="*/ 1948355 w 2834640"/>
                <a:gd name="connsiteY189" fmla="*/ 721542 h 2449839"/>
                <a:gd name="connsiteX190" fmla="*/ 1968794 w 2834640"/>
                <a:gd name="connsiteY190" fmla="*/ 725881 h 2449839"/>
                <a:gd name="connsiteX191" fmla="*/ 1998035 w 2834640"/>
                <a:gd name="connsiteY191" fmla="*/ 755633 h 2449839"/>
                <a:gd name="connsiteX192" fmla="*/ 1967922 w 2834640"/>
                <a:gd name="connsiteY192" fmla="*/ 826589 h 2449839"/>
                <a:gd name="connsiteX193" fmla="*/ 1922686 w 2834640"/>
                <a:gd name="connsiteY193" fmla="*/ 844868 h 2449839"/>
                <a:gd name="connsiteX194" fmla="*/ 2229922 w 2834640"/>
                <a:gd name="connsiteY194" fmla="*/ 979657 h 2449839"/>
                <a:gd name="connsiteX195" fmla="*/ 2257937 w 2834640"/>
                <a:gd name="connsiteY195" fmla="*/ 1051467 h 2449839"/>
                <a:gd name="connsiteX196" fmla="*/ 2257938 w 2834640"/>
                <a:gd name="connsiteY196" fmla="*/ 1051466 h 2449839"/>
                <a:gd name="connsiteX197" fmla="*/ 2186128 w 2834640"/>
                <a:gd name="connsiteY197" fmla="*/ 1079481 h 2449839"/>
                <a:gd name="connsiteX198" fmla="*/ 1881846 w 2834640"/>
                <a:gd name="connsiteY198" fmla="*/ 945990 h 2449839"/>
                <a:gd name="connsiteX199" fmla="*/ 1899900 w 2834640"/>
                <a:gd name="connsiteY199" fmla="*/ 993968 h 2449839"/>
                <a:gd name="connsiteX200" fmla="*/ 1868083 w 2834640"/>
                <a:gd name="connsiteY200" fmla="*/ 1064177 h 2449839"/>
                <a:gd name="connsiteX201" fmla="*/ 1868085 w 2834640"/>
                <a:gd name="connsiteY201" fmla="*/ 1064177 h 2449839"/>
                <a:gd name="connsiteX202" fmla="*/ 1797876 w 2834640"/>
                <a:gd name="connsiteY202" fmla="*/ 1032360 h 2449839"/>
                <a:gd name="connsiteX203" fmla="*/ 1736484 w 2834640"/>
                <a:gd name="connsiteY203" fmla="*/ 869212 h 2449839"/>
                <a:gd name="connsiteX204" fmla="*/ 1734839 w 2834640"/>
                <a:gd name="connsiteY204" fmla="*/ 859063 h 2449839"/>
                <a:gd name="connsiteX205" fmla="*/ 1731370 w 2834640"/>
                <a:gd name="connsiteY205" fmla="*/ 840510 h 2449839"/>
                <a:gd name="connsiteX206" fmla="*/ 1765461 w 2834640"/>
                <a:gd name="connsiteY206" fmla="*/ 790830 h 2449839"/>
                <a:gd name="connsiteX207" fmla="*/ 1927079 w 2834640"/>
                <a:gd name="connsiteY207" fmla="*/ 725520 h 2449839"/>
                <a:gd name="connsiteX208" fmla="*/ 1948355 w 2834640"/>
                <a:gd name="connsiteY208" fmla="*/ 721542 h 2449839"/>
                <a:gd name="connsiteX209" fmla="*/ 1415068 w 2834640"/>
                <a:gd name="connsiteY209" fmla="*/ 1122 h 2449839"/>
                <a:gd name="connsiteX210" fmla="*/ 1454644 w 2834640"/>
                <a:gd name="connsiteY210" fmla="*/ 5436 h 2449839"/>
                <a:gd name="connsiteX211" fmla="*/ 1474631 w 2834640"/>
                <a:gd name="connsiteY211" fmla="*/ 19059 h 2449839"/>
                <a:gd name="connsiteX212" fmla="*/ 1485695 w 2834640"/>
                <a:gd name="connsiteY212" fmla="*/ 26215 h 2449839"/>
                <a:gd name="connsiteX213" fmla="*/ 1645552 w 2834640"/>
                <a:gd name="connsiteY213" fmla="*/ 182262 h 2449839"/>
                <a:gd name="connsiteX214" fmla="*/ 1646744 w 2834640"/>
                <a:gd name="connsiteY214" fmla="*/ 281038 h 2449839"/>
                <a:gd name="connsiteX215" fmla="*/ 1646744 w 2834640"/>
                <a:gd name="connsiteY215" fmla="*/ 281036 h 2449839"/>
                <a:gd name="connsiteX216" fmla="*/ 1547968 w 2834640"/>
                <a:gd name="connsiteY216" fmla="*/ 282228 h 2449839"/>
                <a:gd name="connsiteX217" fmla="*/ 1500957 w 2834640"/>
                <a:gd name="connsiteY217" fmla="*/ 236338 h 2449839"/>
                <a:gd name="connsiteX218" fmla="*/ 1500956 w 2834640"/>
                <a:gd name="connsiteY218" fmla="*/ 662164 h 2449839"/>
                <a:gd name="connsiteX219" fmla="*/ 1431106 w 2834640"/>
                <a:gd name="connsiteY219" fmla="*/ 732014 h 2449839"/>
                <a:gd name="connsiteX220" fmla="*/ 1431107 w 2834640"/>
                <a:gd name="connsiteY220" fmla="*/ 732013 h 2449839"/>
                <a:gd name="connsiteX221" fmla="*/ 1361257 w 2834640"/>
                <a:gd name="connsiteY221" fmla="*/ 662163 h 2449839"/>
                <a:gd name="connsiteX222" fmla="*/ 1361257 w 2834640"/>
                <a:gd name="connsiteY222" fmla="*/ 232203 h 2449839"/>
                <a:gd name="connsiteX223" fmla="*/ 1316515 w 2834640"/>
                <a:gd name="connsiteY223" fmla="*/ 275879 h 2449839"/>
                <a:gd name="connsiteX224" fmla="*/ 1217739 w 2834640"/>
                <a:gd name="connsiteY224" fmla="*/ 274687 h 2449839"/>
                <a:gd name="connsiteX225" fmla="*/ 1197878 w 2834640"/>
                <a:gd name="connsiteY225" fmla="*/ 225052 h 2449839"/>
                <a:gd name="connsiteX226" fmla="*/ 1218931 w 2834640"/>
                <a:gd name="connsiteY226" fmla="*/ 175911 h 2449839"/>
                <a:gd name="connsiteX227" fmla="*/ 1378788 w 2834640"/>
                <a:gd name="connsiteY227" fmla="*/ 19866 h 2449839"/>
                <a:gd name="connsiteX228" fmla="*/ 1415068 w 2834640"/>
                <a:gd name="connsiteY228" fmla="*/ 1122 h 2449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</a:cxnLst>
              <a:rect l="l" t="t" r="r" b="b"/>
              <a:pathLst>
                <a:path w="2834640" h="2449839">
                  <a:moveTo>
                    <a:pt x="2340295" y="1923290"/>
                  </a:moveTo>
                  <a:cubicBezTo>
                    <a:pt x="2271990" y="1923290"/>
                    <a:pt x="2213384" y="1985664"/>
                    <a:pt x="2188350" y="2074556"/>
                  </a:cubicBezTo>
                  <a:lnTo>
                    <a:pt x="2182510" y="2117999"/>
                  </a:lnTo>
                  <a:lnTo>
                    <a:pt x="2186803" y="2150613"/>
                  </a:lnTo>
                  <a:lnTo>
                    <a:pt x="2185071" y="2150613"/>
                  </a:lnTo>
                  <a:lnTo>
                    <a:pt x="2197305" y="2248868"/>
                  </a:lnTo>
                  <a:cubicBezTo>
                    <a:pt x="2222761" y="2346465"/>
                    <a:pt x="2282358" y="2414945"/>
                    <a:pt x="2351819" y="2414945"/>
                  </a:cubicBezTo>
                  <a:cubicBezTo>
                    <a:pt x="2363396" y="2414945"/>
                    <a:pt x="2374699" y="2413043"/>
                    <a:pt x="2385616" y="2409421"/>
                  </a:cubicBezTo>
                  <a:cubicBezTo>
                    <a:pt x="2442927" y="2390404"/>
                    <a:pt x="2489588" y="2323980"/>
                    <a:pt x="2509337" y="2236520"/>
                  </a:cubicBezTo>
                  <a:lnTo>
                    <a:pt x="2516900" y="2167029"/>
                  </a:lnTo>
                  <a:lnTo>
                    <a:pt x="2504671" y="2167029"/>
                  </a:lnTo>
                  <a:lnTo>
                    <a:pt x="2492241" y="2074556"/>
                  </a:lnTo>
                  <a:cubicBezTo>
                    <a:pt x="2467206" y="1985664"/>
                    <a:pt x="2408601" y="1923290"/>
                    <a:pt x="2340295" y="1923290"/>
                  </a:cubicBezTo>
                  <a:close/>
                  <a:moveTo>
                    <a:pt x="1579067" y="1923290"/>
                  </a:moveTo>
                  <a:cubicBezTo>
                    <a:pt x="1510761" y="1923290"/>
                    <a:pt x="1452156" y="1985664"/>
                    <a:pt x="1427122" y="2074556"/>
                  </a:cubicBezTo>
                  <a:lnTo>
                    <a:pt x="1418958" y="2135285"/>
                  </a:lnTo>
                  <a:lnTo>
                    <a:pt x="1420977" y="2150613"/>
                  </a:lnTo>
                  <a:lnTo>
                    <a:pt x="1419244" y="2150613"/>
                  </a:lnTo>
                  <a:lnTo>
                    <a:pt x="1431478" y="2248868"/>
                  </a:lnTo>
                  <a:cubicBezTo>
                    <a:pt x="1456934" y="2346465"/>
                    <a:pt x="1516531" y="2414945"/>
                    <a:pt x="1585992" y="2414945"/>
                  </a:cubicBezTo>
                  <a:cubicBezTo>
                    <a:pt x="1597569" y="2414945"/>
                    <a:pt x="1608872" y="2413043"/>
                    <a:pt x="1619788" y="2409421"/>
                  </a:cubicBezTo>
                  <a:cubicBezTo>
                    <a:pt x="1677100" y="2390404"/>
                    <a:pt x="1723761" y="2323980"/>
                    <a:pt x="1743509" y="2236520"/>
                  </a:cubicBezTo>
                  <a:lnTo>
                    <a:pt x="1749106" y="2185090"/>
                  </a:lnTo>
                  <a:lnTo>
                    <a:pt x="1747833" y="2167029"/>
                  </a:lnTo>
                  <a:lnTo>
                    <a:pt x="1743444" y="2167029"/>
                  </a:lnTo>
                  <a:lnTo>
                    <a:pt x="1731013" y="2074556"/>
                  </a:lnTo>
                  <a:cubicBezTo>
                    <a:pt x="1705978" y="1985664"/>
                    <a:pt x="1647373" y="1923290"/>
                    <a:pt x="1579067" y="1923290"/>
                  </a:cubicBezTo>
                  <a:close/>
                  <a:moveTo>
                    <a:pt x="817840" y="1923290"/>
                  </a:moveTo>
                  <a:cubicBezTo>
                    <a:pt x="749534" y="1923290"/>
                    <a:pt x="690928" y="1985664"/>
                    <a:pt x="665895" y="2074556"/>
                  </a:cubicBezTo>
                  <a:lnTo>
                    <a:pt x="654500" y="2159318"/>
                  </a:lnTo>
                  <a:lnTo>
                    <a:pt x="665651" y="2248868"/>
                  </a:lnTo>
                  <a:cubicBezTo>
                    <a:pt x="691107" y="2346465"/>
                    <a:pt x="750704" y="2414945"/>
                    <a:pt x="820164" y="2414945"/>
                  </a:cubicBezTo>
                  <a:cubicBezTo>
                    <a:pt x="831742" y="2414945"/>
                    <a:pt x="843044" y="2413043"/>
                    <a:pt x="853961" y="2409421"/>
                  </a:cubicBezTo>
                  <a:cubicBezTo>
                    <a:pt x="911273" y="2390404"/>
                    <a:pt x="957935" y="2323980"/>
                    <a:pt x="977683" y="2236520"/>
                  </a:cubicBezTo>
                  <a:lnTo>
                    <a:pt x="984931" y="2169918"/>
                  </a:lnTo>
                  <a:lnTo>
                    <a:pt x="984728" y="2167029"/>
                  </a:lnTo>
                  <a:lnTo>
                    <a:pt x="982217" y="2167029"/>
                  </a:lnTo>
                  <a:lnTo>
                    <a:pt x="969785" y="2074556"/>
                  </a:lnTo>
                  <a:cubicBezTo>
                    <a:pt x="944751" y="1985664"/>
                    <a:pt x="886145" y="1923290"/>
                    <a:pt x="817840" y="1923290"/>
                  </a:cubicBezTo>
                  <a:close/>
                  <a:moveTo>
                    <a:pt x="1968906" y="1883661"/>
                  </a:moveTo>
                  <a:cubicBezTo>
                    <a:pt x="1899445" y="1883661"/>
                    <a:pt x="1839847" y="1952141"/>
                    <a:pt x="1814391" y="2049738"/>
                  </a:cubicBezTo>
                  <a:lnTo>
                    <a:pt x="1803468" y="2137463"/>
                  </a:lnTo>
                  <a:lnTo>
                    <a:pt x="1803964" y="2144098"/>
                  </a:lnTo>
                  <a:lnTo>
                    <a:pt x="1807634" y="2144098"/>
                  </a:lnTo>
                  <a:lnTo>
                    <a:pt x="1819361" y="2236571"/>
                  </a:lnTo>
                  <a:cubicBezTo>
                    <a:pt x="1842976" y="2325464"/>
                    <a:pt x="1898260" y="2387837"/>
                    <a:pt x="1962696" y="2387837"/>
                  </a:cubicBezTo>
                  <a:cubicBezTo>
                    <a:pt x="2027130" y="2387837"/>
                    <a:pt x="2082414" y="2325464"/>
                    <a:pt x="2106030" y="2236571"/>
                  </a:cubicBezTo>
                  <a:lnTo>
                    <a:pt x="2114849" y="2167029"/>
                  </a:lnTo>
                  <a:lnTo>
                    <a:pt x="2110809" y="2167029"/>
                  </a:lnTo>
                  <a:lnTo>
                    <a:pt x="2115313" y="2106816"/>
                  </a:lnTo>
                  <a:lnTo>
                    <a:pt x="2126946" y="2066887"/>
                  </a:lnTo>
                  <a:lnTo>
                    <a:pt x="2126423" y="2062086"/>
                  </a:lnTo>
                  <a:cubicBezTo>
                    <a:pt x="2106675" y="1974626"/>
                    <a:pt x="2060014" y="1908202"/>
                    <a:pt x="2002702" y="1889185"/>
                  </a:cubicBezTo>
                  <a:cubicBezTo>
                    <a:pt x="1991785" y="1885563"/>
                    <a:pt x="1980482" y="1883661"/>
                    <a:pt x="1968906" y="1883661"/>
                  </a:cubicBezTo>
                  <a:close/>
                  <a:moveTo>
                    <a:pt x="1203078" y="1883661"/>
                  </a:moveTo>
                  <a:cubicBezTo>
                    <a:pt x="1133618" y="1883661"/>
                    <a:pt x="1074021" y="1952141"/>
                    <a:pt x="1048565" y="2049738"/>
                  </a:cubicBezTo>
                  <a:lnTo>
                    <a:pt x="1040515" y="2114389"/>
                  </a:lnTo>
                  <a:lnTo>
                    <a:pt x="1042737" y="2144098"/>
                  </a:lnTo>
                  <a:lnTo>
                    <a:pt x="1044529" y="2144098"/>
                  </a:lnTo>
                  <a:lnTo>
                    <a:pt x="1056257" y="2236571"/>
                  </a:lnTo>
                  <a:cubicBezTo>
                    <a:pt x="1079871" y="2325464"/>
                    <a:pt x="1135155" y="2387837"/>
                    <a:pt x="1199591" y="2387837"/>
                  </a:cubicBezTo>
                  <a:cubicBezTo>
                    <a:pt x="1264025" y="2387837"/>
                    <a:pt x="1319310" y="2325464"/>
                    <a:pt x="1342925" y="2236571"/>
                  </a:cubicBezTo>
                  <a:lnTo>
                    <a:pt x="1351744" y="2167029"/>
                  </a:lnTo>
                  <a:lnTo>
                    <a:pt x="1349582" y="2167029"/>
                  </a:lnTo>
                  <a:lnTo>
                    <a:pt x="1354085" y="2106816"/>
                  </a:lnTo>
                  <a:lnTo>
                    <a:pt x="1362370" y="2078381"/>
                  </a:lnTo>
                  <a:lnTo>
                    <a:pt x="1360597" y="2062086"/>
                  </a:lnTo>
                  <a:cubicBezTo>
                    <a:pt x="1340847" y="1974626"/>
                    <a:pt x="1294187" y="1908202"/>
                    <a:pt x="1236875" y="1889185"/>
                  </a:cubicBezTo>
                  <a:cubicBezTo>
                    <a:pt x="1225958" y="1885563"/>
                    <a:pt x="1214656" y="1883661"/>
                    <a:pt x="1203078" y="1883661"/>
                  </a:cubicBezTo>
                  <a:close/>
                  <a:moveTo>
                    <a:pt x="437252" y="1883661"/>
                  </a:moveTo>
                  <a:cubicBezTo>
                    <a:pt x="367791" y="1883661"/>
                    <a:pt x="308193" y="1952141"/>
                    <a:pt x="282737" y="2049738"/>
                  </a:cubicBezTo>
                  <a:lnTo>
                    <a:pt x="270988" y="2144098"/>
                  </a:lnTo>
                  <a:lnTo>
                    <a:pt x="280945" y="2144098"/>
                  </a:lnTo>
                  <a:lnTo>
                    <a:pt x="292688" y="2236571"/>
                  </a:lnTo>
                  <a:cubicBezTo>
                    <a:pt x="316333" y="2325464"/>
                    <a:pt x="371690" y="2387837"/>
                    <a:pt x="436208" y="2387837"/>
                  </a:cubicBezTo>
                  <a:cubicBezTo>
                    <a:pt x="500727" y="2387837"/>
                    <a:pt x="556083" y="2325464"/>
                    <a:pt x="579729" y="2236571"/>
                  </a:cubicBezTo>
                  <a:lnTo>
                    <a:pt x="588559" y="2167029"/>
                  </a:lnTo>
                  <a:lnTo>
                    <a:pt x="588355" y="2167029"/>
                  </a:lnTo>
                  <a:lnTo>
                    <a:pt x="592858" y="2106816"/>
                  </a:lnTo>
                  <a:lnTo>
                    <a:pt x="597793" y="2089876"/>
                  </a:lnTo>
                  <a:lnTo>
                    <a:pt x="594769" y="2062086"/>
                  </a:lnTo>
                  <a:cubicBezTo>
                    <a:pt x="575021" y="1974626"/>
                    <a:pt x="528360" y="1908202"/>
                    <a:pt x="471048" y="1889185"/>
                  </a:cubicBezTo>
                  <a:cubicBezTo>
                    <a:pt x="460131" y="1885563"/>
                    <a:pt x="448828" y="1883661"/>
                    <a:pt x="437252" y="1883661"/>
                  </a:cubicBezTo>
                  <a:close/>
                  <a:moveTo>
                    <a:pt x="816403" y="1861288"/>
                  </a:moveTo>
                  <a:cubicBezTo>
                    <a:pt x="899104" y="1861288"/>
                    <a:pt x="971529" y="1920579"/>
                    <a:pt x="1011549" y="2009338"/>
                  </a:cubicBezTo>
                  <a:lnTo>
                    <a:pt x="1013400" y="2015690"/>
                  </a:lnTo>
                  <a:lnTo>
                    <a:pt x="1034433" y="1969218"/>
                  </a:lnTo>
                  <a:cubicBezTo>
                    <a:pt x="1074519" y="1904103"/>
                    <a:pt x="1135183" y="1862599"/>
                    <a:pt x="1203078" y="1862599"/>
                  </a:cubicBezTo>
                  <a:cubicBezTo>
                    <a:pt x="1218166" y="1862599"/>
                    <a:pt x="1232897" y="1864649"/>
                    <a:pt x="1247124" y="1868551"/>
                  </a:cubicBezTo>
                  <a:cubicBezTo>
                    <a:pt x="1303144" y="1883919"/>
                    <a:pt x="1351356" y="1928019"/>
                    <a:pt x="1382820" y="1988863"/>
                  </a:cubicBezTo>
                  <a:lnTo>
                    <a:pt x="1387301" y="2000436"/>
                  </a:lnTo>
                  <a:lnTo>
                    <a:pt x="1405092" y="1967552"/>
                  </a:lnTo>
                  <a:cubicBezTo>
                    <a:pt x="1446931" y="1902462"/>
                    <a:pt x="1508712" y="1861288"/>
                    <a:pt x="1577630" y="1861288"/>
                  </a:cubicBezTo>
                  <a:cubicBezTo>
                    <a:pt x="1660331" y="1861288"/>
                    <a:pt x="1732756" y="1920579"/>
                    <a:pt x="1772776" y="2009338"/>
                  </a:cubicBezTo>
                  <a:lnTo>
                    <a:pt x="1776428" y="2021872"/>
                  </a:lnTo>
                  <a:lnTo>
                    <a:pt x="1800259" y="1969218"/>
                  </a:lnTo>
                  <a:cubicBezTo>
                    <a:pt x="1840345" y="1904103"/>
                    <a:pt x="1901009" y="1862599"/>
                    <a:pt x="1968905" y="1862599"/>
                  </a:cubicBezTo>
                  <a:cubicBezTo>
                    <a:pt x="1983992" y="1862599"/>
                    <a:pt x="1998723" y="1864649"/>
                    <a:pt x="2012950" y="1868551"/>
                  </a:cubicBezTo>
                  <a:cubicBezTo>
                    <a:pt x="2068970" y="1883919"/>
                    <a:pt x="2117184" y="1928019"/>
                    <a:pt x="2148647" y="1988863"/>
                  </a:cubicBezTo>
                  <a:lnTo>
                    <a:pt x="2151210" y="1995480"/>
                  </a:lnTo>
                  <a:lnTo>
                    <a:pt x="2166320" y="1967552"/>
                  </a:lnTo>
                  <a:cubicBezTo>
                    <a:pt x="2208159" y="1902462"/>
                    <a:pt x="2269940" y="1861288"/>
                    <a:pt x="2338858" y="1861288"/>
                  </a:cubicBezTo>
                  <a:cubicBezTo>
                    <a:pt x="2421559" y="1861288"/>
                    <a:pt x="2493984" y="1920579"/>
                    <a:pt x="2534004" y="2009338"/>
                  </a:cubicBezTo>
                  <a:lnTo>
                    <a:pt x="2540818" y="2032726"/>
                  </a:lnTo>
                  <a:lnTo>
                    <a:pt x="2543702" y="2026353"/>
                  </a:lnTo>
                  <a:lnTo>
                    <a:pt x="2566907" y="2104142"/>
                  </a:lnTo>
                  <a:lnTo>
                    <a:pt x="2566907" y="2169332"/>
                  </a:lnTo>
                  <a:lnTo>
                    <a:pt x="2557110" y="2243761"/>
                  </a:lnTo>
                  <a:cubicBezTo>
                    <a:pt x="2531371" y="2337996"/>
                    <a:pt x="2470558" y="2409565"/>
                    <a:pt x="2395864" y="2430055"/>
                  </a:cubicBezTo>
                  <a:cubicBezTo>
                    <a:pt x="2381637" y="2433957"/>
                    <a:pt x="2366906" y="2436007"/>
                    <a:pt x="2351818" y="2436007"/>
                  </a:cubicBezTo>
                  <a:cubicBezTo>
                    <a:pt x="2283924" y="2436007"/>
                    <a:pt x="2223259" y="2394503"/>
                    <a:pt x="2183173" y="2329389"/>
                  </a:cubicBezTo>
                  <a:lnTo>
                    <a:pt x="2154969" y="2267071"/>
                  </a:lnTo>
                  <a:lnTo>
                    <a:pt x="2145427" y="2301789"/>
                  </a:lnTo>
                  <a:cubicBezTo>
                    <a:pt x="2107674" y="2390549"/>
                    <a:pt x="2039354" y="2449839"/>
                    <a:pt x="1961339" y="2449839"/>
                  </a:cubicBezTo>
                  <a:cubicBezTo>
                    <a:pt x="1883325" y="2449839"/>
                    <a:pt x="1815004" y="2390549"/>
                    <a:pt x="1777253" y="2301789"/>
                  </a:cubicBezTo>
                  <a:lnTo>
                    <a:pt x="1773749" y="2289042"/>
                  </a:lnTo>
                  <a:lnTo>
                    <a:pt x="1765733" y="2309743"/>
                  </a:lnTo>
                  <a:cubicBezTo>
                    <a:pt x="1734269" y="2370588"/>
                    <a:pt x="1686056" y="2414688"/>
                    <a:pt x="1630036" y="2430055"/>
                  </a:cubicBezTo>
                  <a:cubicBezTo>
                    <a:pt x="1615809" y="2433957"/>
                    <a:pt x="1601078" y="2436007"/>
                    <a:pt x="1585991" y="2436007"/>
                  </a:cubicBezTo>
                  <a:cubicBezTo>
                    <a:pt x="1518097" y="2436007"/>
                    <a:pt x="1457431" y="2394503"/>
                    <a:pt x="1417345" y="2329389"/>
                  </a:cubicBezTo>
                  <a:lnTo>
                    <a:pt x="1390835" y="2270814"/>
                  </a:lnTo>
                  <a:lnTo>
                    <a:pt x="1382322" y="2301789"/>
                  </a:lnTo>
                  <a:cubicBezTo>
                    <a:pt x="1344570" y="2390549"/>
                    <a:pt x="1276249" y="2449839"/>
                    <a:pt x="1198235" y="2449839"/>
                  </a:cubicBezTo>
                  <a:cubicBezTo>
                    <a:pt x="1120220" y="2449839"/>
                    <a:pt x="1051899" y="2390549"/>
                    <a:pt x="1014148" y="2301789"/>
                  </a:cubicBezTo>
                  <a:lnTo>
                    <a:pt x="1009514" y="2284929"/>
                  </a:lnTo>
                  <a:lnTo>
                    <a:pt x="999905" y="2309743"/>
                  </a:lnTo>
                  <a:cubicBezTo>
                    <a:pt x="968442" y="2370588"/>
                    <a:pt x="920230" y="2414688"/>
                    <a:pt x="864210" y="2430055"/>
                  </a:cubicBezTo>
                  <a:cubicBezTo>
                    <a:pt x="849983" y="2433957"/>
                    <a:pt x="835251" y="2436007"/>
                    <a:pt x="820163" y="2436007"/>
                  </a:cubicBezTo>
                  <a:cubicBezTo>
                    <a:pt x="752269" y="2436007"/>
                    <a:pt x="691605" y="2394503"/>
                    <a:pt x="651519" y="2329389"/>
                  </a:cubicBezTo>
                  <a:lnTo>
                    <a:pt x="626683" y="2274514"/>
                  </a:lnTo>
                  <a:lnTo>
                    <a:pt x="619177" y="2301789"/>
                  </a:lnTo>
                  <a:cubicBezTo>
                    <a:pt x="581376" y="2390549"/>
                    <a:pt x="512967" y="2449839"/>
                    <a:pt x="434851" y="2449839"/>
                  </a:cubicBezTo>
                  <a:cubicBezTo>
                    <a:pt x="330696" y="2449839"/>
                    <a:pt x="243798" y="2344434"/>
                    <a:pt x="223700" y="2204311"/>
                  </a:cubicBezTo>
                  <a:lnTo>
                    <a:pt x="219906" y="2150613"/>
                  </a:lnTo>
                  <a:lnTo>
                    <a:pt x="219446" y="2150613"/>
                  </a:lnTo>
                  <a:lnTo>
                    <a:pt x="219759" y="2148533"/>
                  </a:lnTo>
                  <a:lnTo>
                    <a:pt x="219446" y="2144098"/>
                  </a:lnTo>
                  <a:lnTo>
                    <a:pt x="220427" y="2144098"/>
                  </a:lnTo>
                  <a:lnTo>
                    <a:pt x="235873" y="2041540"/>
                  </a:lnTo>
                  <a:cubicBezTo>
                    <a:pt x="269052" y="1936384"/>
                    <a:pt x="346724" y="1862599"/>
                    <a:pt x="437251" y="1862599"/>
                  </a:cubicBezTo>
                  <a:cubicBezTo>
                    <a:pt x="452338" y="1862599"/>
                    <a:pt x="467069" y="1864649"/>
                    <a:pt x="481296" y="1868551"/>
                  </a:cubicBezTo>
                  <a:cubicBezTo>
                    <a:pt x="537316" y="1883919"/>
                    <a:pt x="585530" y="1928019"/>
                    <a:pt x="616993" y="1988863"/>
                  </a:cubicBezTo>
                  <a:lnTo>
                    <a:pt x="623393" y="2005391"/>
                  </a:lnTo>
                  <a:lnTo>
                    <a:pt x="643865" y="1967552"/>
                  </a:lnTo>
                  <a:cubicBezTo>
                    <a:pt x="685704" y="1902462"/>
                    <a:pt x="747485" y="1861288"/>
                    <a:pt x="816403" y="1861288"/>
                  </a:cubicBezTo>
                  <a:close/>
                  <a:moveTo>
                    <a:pt x="0" y="1561618"/>
                  </a:moveTo>
                  <a:lnTo>
                    <a:pt x="2834640" y="1561618"/>
                  </a:lnTo>
                  <a:lnTo>
                    <a:pt x="2834640" y="1625074"/>
                  </a:lnTo>
                  <a:lnTo>
                    <a:pt x="0" y="1625074"/>
                  </a:lnTo>
                  <a:close/>
                  <a:moveTo>
                    <a:pt x="1434499" y="862613"/>
                  </a:moveTo>
                  <a:cubicBezTo>
                    <a:pt x="1444830" y="864484"/>
                    <a:pt x="1454731" y="869353"/>
                    <a:pt x="1462809" y="877238"/>
                  </a:cubicBezTo>
                  <a:lnTo>
                    <a:pt x="1587546" y="999002"/>
                  </a:lnTo>
                  <a:cubicBezTo>
                    <a:pt x="1598317" y="1009516"/>
                    <a:pt x="1603807" y="1023400"/>
                    <a:pt x="1603974" y="1037347"/>
                  </a:cubicBezTo>
                  <a:cubicBezTo>
                    <a:pt x="1604143" y="1051295"/>
                    <a:pt x="1598991" y="1065308"/>
                    <a:pt x="1588477" y="1076078"/>
                  </a:cubicBezTo>
                  <a:cubicBezTo>
                    <a:pt x="1567450" y="1097618"/>
                    <a:pt x="1532942" y="1098035"/>
                    <a:pt x="1511401" y="1077008"/>
                  </a:cubicBezTo>
                  <a:lnTo>
                    <a:pt x="1476488" y="1042927"/>
                  </a:lnTo>
                  <a:lnTo>
                    <a:pt x="1476488" y="1378429"/>
                  </a:lnTo>
                  <a:cubicBezTo>
                    <a:pt x="1476488" y="1408531"/>
                    <a:pt x="1452086" y="1432934"/>
                    <a:pt x="1421984" y="1432934"/>
                  </a:cubicBezTo>
                  <a:lnTo>
                    <a:pt x="1421984" y="1432935"/>
                  </a:lnTo>
                  <a:cubicBezTo>
                    <a:pt x="1391882" y="1432935"/>
                    <a:pt x="1367480" y="1408532"/>
                    <a:pt x="1367480" y="1378430"/>
                  </a:cubicBezTo>
                  <a:lnTo>
                    <a:pt x="1367479" y="1046154"/>
                  </a:lnTo>
                  <a:lnTo>
                    <a:pt x="1330796" y="1081962"/>
                  </a:lnTo>
                  <a:cubicBezTo>
                    <a:pt x="1309255" y="1102989"/>
                    <a:pt x="1274747" y="1102572"/>
                    <a:pt x="1253720" y="1081032"/>
                  </a:cubicBezTo>
                  <a:lnTo>
                    <a:pt x="1253720" y="1081034"/>
                  </a:lnTo>
                  <a:cubicBezTo>
                    <a:pt x="1232693" y="1059492"/>
                    <a:pt x="1233110" y="1024985"/>
                    <a:pt x="1254650" y="1003958"/>
                  </a:cubicBezTo>
                  <a:cubicBezTo>
                    <a:pt x="1296230" y="963369"/>
                    <a:pt x="1337808" y="922781"/>
                    <a:pt x="1379388" y="882193"/>
                  </a:cubicBezTo>
                  <a:lnTo>
                    <a:pt x="1388021" y="876609"/>
                  </a:lnTo>
                  <a:lnTo>
                    <a:pt x="1403617" y="865979"/>
                  </a:lnTo>
                  <a:cubicBezTo>
                    <a:pt x="1413410" y="861869"/>
                    <a:pt x="1424169" y="860742"/>
                    <a:pt x="1434499" y="862613"/>
                  </a:cubicBezTo>
                  <a:close/>
                  <a:moveTo>
                    <a:pt x="890424" y="727342"/>
                  </a:moveTo>
                  <a:cubicBezTo>
                    <a:pt x="897504" y="727228"/>
                    <a:pt x="904722" y="728500"/>
                    <a:pt x="911700" y="731320"/>
                  </a:cubicBezTo>
                  <a:lnTo>
                    <a:pt x="1073318" y="796630"/>
                  </a:lnTo>
                  <a:cubicBezTo>
                    <a:pt x="1094250" y="805088"/>
                    <a:pt x="1107068" y="825073"/>
                    <a:pt x="1107410" y="846310"/>
                  </a:cubicBezTo>
                  <a:lnTo>
                    <a:pt x="1103941" y="864863"/>
                  </a:lnTo>
                  <a:lnTo>
                    <a:pt x="1102296" y="875012"/>
                  </a:lnTo>
                  <a:cubicBezTo>
                    <a:pt x="1081832" y="929395"/>
                    <a:pt x="1061368" y="983777"/>
                    <a:pt x="1040903" y="1038160"/>
                  </a:cubicBezTo>
                  <a:cubicBezTo>
                    <a:pt x="1030302" y="1066333"/>
                    <a:pt x="998869" y="1080579"/>
                    <a:pt x="970695" y="1069977"/>
                  </a:cubicBezTo>
                  <a:lnTo>
                    <a:pt x="970696" y="1069977"/>
                  </a:lnTo>
                  <a:cubicBezTo>
                    <a:pt x="942523" y="1059375"/>
                    <a:pt x="928278" y="1027941"/>
                    <a:pt x="938879" y="999768"/>
                  </a:cubicBezTo>
                  <a:lnTo>
                    <a:pt x="956933" y="951790"/>
                  </a:lnTo>
                  <a:lnTo>
                    <a:pt x="652651" y="1085281"/>
                  </a:lnTo>
                  <a:cubicBezTo>
                    <a:pt x="625085" y="1097375"/>
                    <a:pt x="592935" y="1084832"/>
                    <a:pt x="580841" y="1057266"/>
                  </a:cubicBezTo>
                  <a:lnTo>
                    <a:pt x="580842" y="1057267"/>
                  </a:lnTo>
                  <a:cubicBezTo>
                    <a:pt x="568749" y="1029701"/>
                    <a:pt x="581292" y="997550"/>
                    <a:pt x="608858" y="985457"/>
                  </a:cubicBezTo>
                  <a:lnTo>
                    <a:pt x="916093" y="850668"/>
                  </a:lnTo>
                  <a:lnTo>
                    <a:pt x="870858" y="832389"/>
                  </a:lnTo>
                  <a:cubicBezTo>
                    <a:pt x="842948" y="821110"/>
                    <a:pt x="829466" y="789343"/>
                    <a:pt x="840744" y="761433"/>
                  </a:cubicBezTo>
                  <a:cubicBezTo>
                    <a:pt x="846383" y="747478"/>
                    <a:pt x="857145" y="737130"/>
                    <a:pt x="869985" y="731681"/>
                  </a:cubicBezTo>
                  <a:cubicBezTo>
                    <a:pt x="876405" y="728956"/>
                    <a:pt x="883345" y="727456"/>
                    <a:pt x="890424" y="727342"/>
                  </a:cubicBezTo>
                  <a:close/>
                  <a:moveTo>
                    <a:pt x="1948355" y="721542"/>
                  </a:moveTo>
                  <a:cubicBezTo>
                    <a:pt x="1955434" y="721656"/>
                    <a:pt x="1962374" y="723156"/>
                    <a:pt x="1968794" y="725881"/>
                  </a:cubicBezTo>
                  <a:cubicBezTo>
                    <a:pt x="1981635" y="731330"/>
                    <a:pt x="1992397" y="741678"/>
                    <a:pt x="1998035" y="755633"/>
                  </a:cubicBezTo>
                  <a:cubicBezTo>
                    <a:pt x="2009313" y="783543"/>
                    <a:pt x="1995831" y="815310"/>
                    <a:pt x="1967922" y="826589"/>
                  </a:cubicBezTo>
                  <a:lnTo>
                    <a:pt x="1922686" y="844868"/>
                  </a:lnTo>
                  <a:lnTo>
                    <a:pt x="2229922" y="979657"/>
                  </a:lnTo>
                  <a:cubicBezTo>
                    <a:pt x="2257488" y="991750"/>
                    <a:pt x="2270031" y="1023901"/>
                    <a:pt x="2257937" y="1051467"/>
                  </a:cubicBezTo>
                  <a:lnTo>
                    <a:pt x="2257938" y="1051466"/>
                  </a:lnTo>
                  <a:cubicBezTo>
                    <a:pt x="2245845" y="1079032"/>
                    <a:pt x="2213694" y="1091575"/>
                    <a:pt x="2186128" y="1079481"/>
                  </a:cubicBezTo>
                  <a:lnTo>
                    <a:pt x="1881846" y="945990"/>
                  </a:lnTo>
                  <a:lnTo>
                    <a:pt x="1899900" y="993968"/>
                  </a:lnTo>
                  <a:cubicBezTo>
                    <a:pt x="1910502" y="1022141"/>
                    <a:pt x="1896256" y="1053575"/>
                    <a:pt x="1868083" y="1064177"/>
                  </a:cubicBezTo>
                  <a:lnTo>
                    <a:pt x="1868085" y="1064177"/>
                  </a:lnTo>
                  <a:cubicBezTo>
                    <a:pt x="1839911" y="1074779"/>
                    <a:pt x="1808478" y="1060533"/>
                    <a:pt x="1797876" y="1032360"/>
                  </a:cubicBezTo>
                  <a:cubicBezTo>
                    <a:pt x="1777412" y="977977"/>
                    <a:pt x="1756948" y="923595"/>
                    <a:pt x="1736484" y="869212"/>
                  </a:cubicBezTo>
                  <a:lnTo>
                    <a:pt x="1734839" y="859063"/>
                  </a:lnTo>
                  <a:lnTo>
                    <a:pt x="1731370" y="840510"/>
                  </a:lnTo>
                  <a:cubicBezTo>
                    <a:pt x="1731712" y="819273"/>
                    <a:pt x="1744529" y="799288"/>
                    <a:pt x="1765461" y="790830"/>
                  </a:cubicBezTo>
                  <a:lnTo>
                    <a:pt x="1927079" y="725520"/>
                  </a:lnTo>
                  <a:cubicBezTo>
                    <a:pt x="1934057" y="722700"/>
                    <a:pt x="1941276" y="721428"/>
                    <a:pt x="1948355" y="721542"/>
                  </a:cubicBezTo>
                  <a:close/>
                  <a:moveTo>
                    <a:pt x="1415068" y="1122"/>
                  </a:moveTo>
                  <a:cubicBezTo>
                    <a:pt x="1428306" y="-1276"/>
                    <a:pt x="1442094" y="169"/>
                    <a:pt x="1454644" y="5436"/>
                  </a:cubicBezTo>
                  <a:lnTo>
                    <a:pt x="1474631" y="19059"/>
                  </a:lnTo>
                  <a:lnTo>
                    <a:pt x="1485695" y="26215"/>
                  </a:lnTo>
                  <a:cubicBezTo>
                    <a:pt x="1538981" y="78231"/>
                    <a:pt x="1592266" y="130246"/>
                    <a:pt x="1645552" y="182262"/>
                  </a:cubicBezTo>
                  <a:cubicBezTo>
                    <a:pt x="1673157" y="209209"/>
                    <a:pt x="1673691" y="253432"/>
                    <a:pt x="1646744" y="281038"/>
                  </a:cubicBezTo>
                  <a:lnTo>
                    <a:pt x="1646744" y="281036"/>
                  </a:lnTo>
                  <a:cubicBezTo>
                    <a:pt x="1619797" y="308641"/>
                    <a:pt x="1575573" y="309175"/>
                    <a:pt x="1547968" y="282228"/>
                  </a:cubicBezTo>
                  <a:lnTo>
                    <a:pt x="1500957" y="236338"/>
                  </a:lnTo>
                  <a:lnTo>
                    <a:pt x="1500956" y="662164"/>
                  </a:lnTo>
                  <a:cubicBezTo>
                    <a:pt x="1500956" y="700741"/>
                    <a:pt x="1469683" y="732014"/>
                    <a:pt x="1431106" y="732014"/>
                  </a:cubicBezTo>
                  <a:lnTo>
                    <a:pt x="1431107" y="732013"/>
                  </a:lnTo>
                  <a:cubicBezTo>
                    <a:pt x="1392530" y="732013"/>
                    <a:pt x="1361257" y="700740"/>
                    <a:pt x="1361257" y="662163"/>
                  </a:cubicBezTo>
                  <a:lnTo>
                    <a:pt x="1361257" y="232203"/>
                  </a:lnTo>
                  <a:lnTo>
                    <a:pt x="1316515" y="275879"/>
                  </a:lnTo>
                  <a:cubicBezTo>
                    <a:pt x="1288909" y="302826"/>
                    <a:pt x="1244686" y="302292"/>
                    <a:pt x="1217739" y="274687"/>
                  </a:cubicBezTo>
                  <a:cubicBezTo>
                    <a:pt x="1204265" y="260885"/>
                    <a:pt x="1197662" y="242927"/>
                    <a:pt x="1197878" y="225052"/>
                  </a:cubicBezTo>
                  <a:cubicBezTo>
                    <a:pt x="1198093" y="207178"/>
                    <a:pt x="1205128" y="189385"/>
                    <a:pt x="1218931" y="175911"/>
                  </a:cubicBezTo>
                  <a:lnTo>
                    <a:pt x="1378788" y="19866"/>
                  </a:lnTo>
                  <a:cubicBezTo>
                    <a:pt x="1389140" y="9761"/>
                    <a:pt x="1401829" y="3520"/>
                    <a:pt x="1415068" y="1122"/>
                  </a:cubicBezTo>
                  <a:close/>
                </a:path>
              </a:pathLst>
            </a:cu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41" name="Group 40"/>
          <p:cNvGrpSpPr>
            <a:grpSpLocks noChangeAspect="1"/>
          </p:cNvGrpSpPr>
          <p:nvPr/>
        </p:nvGrpSpPr>
        <p:grpSpPr>
          <a:xfrm>
            <a:off x="1893269" y="3171748"/>
            <a:ext cx="274320" cy="442140"/>
            <a:chOff x="9250369" y="754161"/>
            <a:chExt cx="404812" cy="652463"/>
          </a:xfrm>
          <a:solidFill>
            <a:schemeClr val="accent1"/>
          </a:solidFill>
        </p:grpSpPr>
        <p:sp>
          <p:nvSpPr>
            <p:cNvPr id="42" name="Freeform 6"/>
            <p:cNvSpPr>
              <a:spLocks noEditPoints="1"/>
            </p:cNvSpPr>
            <p:nvPr/>
          </p:nvSpPr>
          <p:spPr bwMode="auto">
            <a:xfrm>
              <a:off x="9250369" y="754161"/>
              <a:ext cx="404812" cy="652463"/>
            </a:xfrm>
            <a:custGeom>
              <a:avLst/>
              <a:gdLst>
                <a:gd name="T0" fmla="*/ 102 w 108"/>
                <a:gd name="T1" fmla="*/ 0 h 174"/>
                <a:gd name="T2" fmla="*/ 7 w 108"/>
                <a:gd name="T3" fmla="*/ 0 h 174"/>
                <a:gd name="T4" fmla="*/ 0 w 108"/>
                <a:gd name="T5" fmla="*/ 7 h 174"/>
                <a:gd name="T6" fmla="*/ 0 w 108"/>
                <a:gd name="T7" fmla="*/ 167 h 174"/>
                <a:gd name="T8" fmla="*/ 7 w 108"/>
                <a:gd name="T9" fmla="*/ 174 h 174"/>
                <a:gd name="T10" fmla="*/ 102 w 108"/>
                <a:gd name="T11" fmla="*/ 174 h 174"/>
                <a:gd name="T12" fmla="*/ 107 w 108"/>
                <a:gd name="T13" fmla="*/ 171 h 174"/>
                <a:gd name="T14" fmla="*/ 107 w 108"/>
                <a:gd name="T15" fmla="*/ 171 h 174"/>
                <a:gd name="T16" fmla="*/ 107 w 108"/>
                <a:gd name="T17" fmla="*/ 171 h 174"/>
                <a:gd name="T18" fmla="*/ 108 w 108"/>
                <a:gd name="T19" fmla="*/ 168 h 174"/>
                <a:gd name="T20" fmla="*/ 108 w 108"/>
                <a:gd name="T21" fmla="*/ 6 h 174"/>
                <a:gd name="T22" fmla="*/ 102 w 108"/>
                <a:gd name="T23" fmla="*/ 0 h 174"/>
                <a:gd name="T24" fmla="*/ 103 w 108"/>
                <a:gd name="T25" fmla="*/ 122 h 174"/>
                <a:gd name="T26" fmla="*/ 99 w 108"/>
                <a:gd name="T27" fmla="*/ 126 h 174"/>
                <a:gd name="T28" fmla="*/ 10 w 108"/>
                <a:gd name="T29" fmla="*/ 126 h 174"/>
                <a:gd name="T30" fmla="*/ 6 w 108"/>
                <a:gd name="T31" fmla="*/ 122 h 174"/>
                <a:gd name="T32" fmla="*/ 6 w 108"/>
                <a:gd name="T33" fmla="*/ 110 h 174"/>
                <a:gd name="T34" fmla="*/ 10 w 108"/>
                <a:gd name="T35" fmla="*/ 106 h 174"/>
                <a:gd name="T36" fmla="*/ 99 w 108"/>
                <a:gd name="T37" fmla="*/ 106 h 174"/>
                <a:gd name="T38" fmla="*/ 103 w 108"/>
                <a:gd name="T39" fmla="*/ 110 h 174"/>
                <a:gd name="T40" fmla="*/ 103 w 108"/>
                <a:gd name="T41" fmla="*/ 122 h 174"/>
                <a:gd name="T42" fmla="*/ 103 w 108"/>
                <a:gd name="T43" fmla="*/ 98 h 174"/>
                <a:gd name="T44" fmla="*/ 99 w 108"/>
                <a:gd name="T45" fmla="*/ 102 h 174"/>
                <a:gd name="T46" fmla="*/ 10 w 108"/>
                <a:gd name="T47" fmla="*/ 102 h 174"/>
                <a:gd name="T48" fmla="*/ 6 w 108"/>
                <a:gd name="T49" fmla="*/ 98 h 174"/>
                <a:gd name="T50" fmla="*/ 6 w 108"/>
                <a:gd name="T51" fmla="*/ 85 h 174"/>
                <a:gd name="T52" fmla="*/ 10 w 108"/>
                <a:gd name="T53" fmla="*/ 82 h 174"/>
                <a:gd name="T54" fmla="*/ 99 w 108"/>
                <a:gd name="T55" fmla="*/ 82 h 174"/>
                <a:gd name="T56" fmla="*/ 103 w 108"/>
                <a:gd name="T57" fmla="*/ 85 h 174"/>
                <a:gd name="T58" fmla="*/ 103 w 108"/>
                <a:gd name="T59" fmla="*/ 98 h 174"/>
                <a:gd name="T60" fmla="*/ 103 w 108"/>
                <a:gd name="T61" fmla="*/ 74 h 174"/>
                <a:gd name="T62" fmla="*/ 99 w 108"/>
                <a:gd name="T63" fmla="*/ 77 h 174"/>
                <a:gd name="T64" fmla="*/ 10 w 108"/>
                <a:gd name="T65" fmla="*/ 77 h 174"/>
                <a:gd name="T66" fmla="*/ 6 w 108"/>
                <a:gd name="T67" fmla="*/ 74 h 174"/>
                <a:gd name="T68" fmla="*/ 6 w 108"/>
                <a:gd name="T69" fmla="*/ 61 h 174"/>
                <a:gd name="T70" fmla="*/ 10 w 108"/>
                <a:gd name="T71" fmla="*/ 58 h 174"/>
                <a:gd name="T72" fmla="*/ 99 w 108"/>
                <a:gd name="T73" fmla="*/ 58 h 174"/>
                <a:gd name="T74" fmla="*/ 103 w 108"/>
                <a:gd name="T75" fmla="*/ 61 h 174"/>
                <a:gd name="T76" fmla="*/ 103 w 108"/>
                <a:gd name="T77" fmla="*/ 74 h 174"/>
                <a:gd name="T78" fmla="*/ 103 w 108"/>
                <a:gd name="T79" fmla="*/ 50 h 174"/>
                <a:gd name="T80" fmla="*/ 99 w 108"/>
                <a:gd name="T81" fmla="*/ 53 h 174"/>
                <a:gd name="T82" fmla="*/ 10 w 108"/>
                <a:gd name="T83" fmla="*/ 53 h 174"/>
                <a:gd name="T84" fmla="*/ 6 w 108"/>
                <a:gd name="T85" fmla="*/ 50 h 174"/>
                <a:gd name="T86" fmla="*/ 6 w 108"/>
                <a:gd name="T87" fmla="*/ 37 h 174"/>
                <a:gd name="T88" fmla="*/ 10 w 108"/>
                <a:gd name="T89" fmla="*/ 33 h 174"/>
                <a:gd name="T90" fmla="*/ 99 w 108"/>
                <a:gd name="T91" fmla="*/ 33 h 174"/>
                <a:gd name="T92" fmla="*/ 103 w 108"/>
                <a:gd name="T93" fmla="*/ 37 h 174"/>
                <a:gd name="T94" fmla="*/ 103 w 108"/>
                <a:gd name="T95" fmla="*/ 50 h 174"/>
                <a:gd name="T96" fmla="*/ 103 w 108"/>
                <a:gd name="T97" fmla="*/ 25 h 174"/>
                <a:gd name="T98" fmla="*/ 99 w 108"/>
                <a:gd name="T99" fmla="*/ 29 h 174"/>
                <a:gd name="T100" fmla="*/ 10 w 108"/>
                <a:gd name="T101" fmla="*/ 29 h 174"/>
                <a:gd name="T102" fmla="*/ 6 w 108"/>
                <a:gd name="T103" fmla="*/ 25 h 174"/>
                <a:gd name="T104" fmla="*/ 6 w 108"/>
                <a:gd name="T105" fmla="*/ 13 h 174"/>
                <a:gd name="T106" fmla="*/ 10 w 108"/>
                <a:gd name="T107" fmla="*/ 9 h 174"/>
                <a:gd name="T108" fmla="*/ 99 w 108"/>
                <a:gd name="T109" fmla="*/ 9 h 174"/>
                <a:gd name="T110" fmla="*/ 103 w 108"/>
                <a:gd name="T111" fmla="*/ 13 h 174"/>
                <a:gd name="T112" fmla="*/ 103 w 108"/>
                <a:gd name="T113" fmla="*/ 25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8" h="174">
                  <a:moveTo>
                    <a:pt x="102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1" y="3"/>
                    <a:pt x="0" y="7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1" y="171"/>
                    <a:pt x="3" y="174"/>
                    <a:pt x="7" y="174"/>
                  </a:cubicBezTo>
                  <a:cubicBezTo>
                    <a:pt x="102" y="174"/>
                    <a:pt x="102" y="174"/>
                    <a:pt x="102" y="174"/>
                  </a:cubicBezTo>
                  <a:cubicBezTo>
                    <a:pt x="104" y="174"/>
                    <a:pt x="106" y="173"/>
                    <a:pt x="107" y="171"/>
                  </a:cubicBezTo>
                  <a:cubicBezTo>
                    <a:pt x="107" y="171"/>
                    <a:pt x="107" y="171"/>
                    <a:pt x="107" y="171"/>
                  </a:cubicBezTo>
                  <a:cubicBezTo>
                    <a:pt x="107" y="171"/>
                    <a:pt x="107" y="171"/>
                    <a:pt x="107" y="171"/>
                  </a:cubicBezTo>
                  <a:cubicBezTo>
                    <a:pt x="108" y="170"/>
                    <a:pt x="108" y="169"/>
                    <a:pt x="108" y="168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8" y="3"/>
                    <a:pt x="105" y="0"/>
                    <a:pt x="102" y="0"/>
                  </a:cubicBezTo>
                  <a:close/>
                  <a:moveTo>
                    <a:pt x="103" y="122"/>
                  </a:moveTo>
                  <a:cubicBezTo>
                    <a:pt x="103" y="124"/>
                    <a:pt x="101" y="126"/>
                    <a:pt x="99" y="126"/>
                  </a:cubicBezTo>
                  <a:cubicBezTo>
                    <a:pt x="10" y="126"/>
                    <a:pt x="10" y="126"/>
                    <a:pt x="10" y="126"/>
                  </a:cubicBezTo>
                  <a:cubicBezTo>
                    <a:pt x="8" y="126"/>
                    <a:pt x="6" y="124"/>
                    <a:pt x="6" y="122"/>
                  </a:cubicBezTo>
                  <a:cubicBezTo>
                    <a:pt x="6" y="110"/>
                    <a:pt x="6" y="110"/>
                    <a:pt x="6" y="110"/>
                  </a:cubicBezTo>
                  <a:cubicBezTo>
                    <a:pt x="6" y="108"/>
                    <a:pt x="8" y="106"/>
                    <a:pt x="10" y="106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101" y="106"/>
                    <a:pt x="103" y="108"/>
                    <a:pt x="103" y="110"/>
                  </a:cubicBezTo>
                  <a:lnTo>
                    <a:pt x="103" y="122"/>
                  </a:lnTo>
                  <a:close/>
                  <a:moveTo>
                    <a:pt x="103" y="98"/>
                  </a:moveTo>
                  <a:cubicBezTo>
                    <a:pt x="103" y="100"/>
                    <a:pt x="101" y="102"/>
                    <a:pt x="99" y="102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8" y="102"/>
                    <a:pt x="6" y="100"/>
                    <a:pt x="6" y="98"/>
                  </a:cubicBezTo>
                  <a:cubicBezTo>
                    <a:pt x="6" y="85"/>
                    <a:pt x="6" y="85"/>
                    <a:pt x="6" y="85"/>
                  </a:cubicBezTo>
                  <a:cubicBezTo>
                    <a:pt x="6" y="83"/>
                    <a:pt x="8" y="82"/>
                    <a:pt x="10" y="82"/>
                  </a:cubicBezTo>
                  <a:cubicBezTo>
                    <a:pt x="99" y="82"/>
                    <a:pt x="99" y="82"/>
                    <a:pt x="99" y="82"/>
                  </a:cubicBezTo>
                  <a:cubicBezTo>
                    <a:pt x="101" y="82"/>
                    <a:pt x="103" y="83"/>
                    <a:pt x="103" y="85"/>
                  </a:cubicBezTo>
                  <a:lnTo>
                    <a:pt x="103" y="98"/>
                  </a:lnTo>
                  <a:close/>
                  <a:moveTo>
                    <a:pt x="103" y="74"/>
                  </a:moveTo>
                  <a:cubicBezTo>
                    <a:pt x="103" y="76"/>
                    <a:pt x="101" y="77"/>
                    <a:pt x="99" y="77"/>
                  </a:cubicBezTo>
                  <a:cubicBezTo>
                    <a:pt x="10" y="77"/>
                    <a:pt x="10" y="77"/>
                    <a:pt x="10" y="77"/>
                  </a:cubicBezTo>
                  <a:cubicBezTo>
                    <a:pt x="8" y="77"/>
                    <a:pt x="6" y="76"/>
                    <a:pt x="6" y="74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6" y="59"/>
                    <a:pt x="8" y="58"/>
                    <a:pt x="10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101" y="58"/>
                    <a:pt x="103" y="59"/>
                    <a:pt x="103" y="61"/>
                  </a:cubicBezTo>
                  <a:lnTo>
                    <a:pt x="103" y="74"/>
                  </a:lnTo>
                  <a:close/>
                  <a:moveTo>
                    <a:pt x="103" y="50"/>
                  </a:moveTo>
                  <a:cubicBezTo>
                    <a:pt x="103" y="52"/>
                    <a:pt x="101" y="53"/>
                    <a:pt x="99" y="53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8" y="53"/>
                    <a:pt x="6" y="52"/>
                    <a:pt x="6" y="50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5"/>
                    <a:pt x="8" y="33"/>
                    <a:pt x="10" y="33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101" y="33"/>
                    <a:pt x="103" y="35"/>
                    <a:pt x="103" y="37"/>
                  </a:cubicBezTo>
                  <a:lnTo>
                    <a:pt x="103" y="50"/>
                  </a:lnTo>
                  <a:close/>
                  <a:moveTo>
                    <a:pt x="103" y="25"/>
                  </a:moveTo>
                  <a:cubicBezTo>
                    <a:pt x="103" y="27"/>
                    <a:pt x="101" y="29"/>
                    <a:pt x="99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8" y="29"/>
                    <a:pt x="6" y="27"/>
                    <a:pt x="6" y="25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1"/>
                    <a:pt x="8" y="9"/>
                    <a:pt x="10" y="9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101" y="9"/>
                    <a:pt x="103" y="11"/>
                    <a:pt x="103" y="13"/>
                  </a:cubicBezTo>
                  <a:lnTo>
                    <a:pt x="103" y="2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3" name="Oval 7"/>
            <p:cNvSpPr>
              <a:spLocks noChangeArrowheads="1"/>
            </p:cNvSpPr>
            <p:nvPr/>
          </p:nvSpPr>
          <p:spPr bwMode="auto">
            <a:xfrm>
              <a:off x="9580563" y="1174849"/>
              <a:ext cx="30162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4" name="Oval 8"/>
            <p:cNvSpPr>
              <a:spLocks noChangeArrowheads="1"/>
            </p:cNvSpPr>
            <p:nvPr/>
          </p:nvSpPr>
          <p:spPr bwMode="auto">
            <a:xfrm>
              <a:off x="9494838" y="1174849"/>
              <a:ext cx="25400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5" name="Oval 9"/>
            <p:cNvSpPr>
              <a:spLocks noChangeArrowheads="1"/>
            </p:cNvSpPr>
            <p:nvPr/>
          </p:nvSpPr>
          <p:spPr bwMode="auto">
            <a:xfrm>
              <a:off x="9299575" y="1174849"/>
              <a:ext cx="25400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6" name="Oval 10"/>
            <p:cNvSpPr>
              <a:spLocks noChangeArrowheads="1"/>
            </p:cNvSpPr>
            <p:nvPr/>
          </p:nvSpPr>
          <p:spPr bwMode="auto">
            <a:xfrm>
              <a:off x="9539288" y="1174849"/>
              <a:ext cx="25400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7" name="Oval 11"/>
            <p:cNvSpPr>
              <a:spLocks noChangeArrowheads="1"/>
            </p:cNvSpPr>
            <p:nvPr/>
          </p:nvSpPr>
          <p:spPr bwMode="auto">
            <a:xfrm>
              <a:off x="9494838" y="811311"/>
              <a:ext cx="25400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8" name="Oval 12"/>
            <p:cNvSpPr>
              <a:spLocks noChangeArrowheads="1"/>
            </p:cNvSpPr>
            <p:nvPr/>
          </p:nvSpPr>
          <p:spPr bwMode="auto">
            <a:xfrm>
              <a:off x="9539288" y="811311"/>
              <a:ext cx="25400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9" name="Oval 13"/>
            <p:cNvSpPr>
              <a:spLocks noChangeArrowheads="1"/>
            </p:cNvSpPr>
            <p:nvPr/>
          </p:nvSpPr>
          <p:spPr bwMode="auto">
            <a:xfrm>
              <a:off x="9299575" y="904974"/>
              <a:ext cx="25400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0" name="Oval 14"/>
            <p:cNvSpPr>
              <a:spLocks noChangeArrowheads="1"/>
            </p:cNvSpPr>
            <p:nvPr/>
          </p:nvSpPr>
          <p:spPr bwMode="auto">
            <a:xfrm>
              <a:off x="9580563" y="995461"/>
              <a:ext cx="30162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1" name="Oval 15"/>
            <p:cNvSpPr>
              <a:spLocks noChangeArrowheads="1"/>
            </p:cNvSpPr>
            <p:nvPr/>
          </p:nvSpPr>
          <p:spPr bwMode="auto">
            <a:xfrm>
              <a:off x="9539288" y="904974"/>
              <a:ext cx="25400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2" name="Oval 16"/>
            <p:cNvSpPr>
              <a:spLocks noChangeArrowheads="1"/>
            </p:cNvSpPr>
            <p:nvPr/>
          </p:nvSpPr>
          <p:spPr bwMode="auto">
            <a:xfrm>
              <a:off x="9299575" y="811311"/>
              <a:ext cx="25400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3" name="Oval 17"/>
            <p:cNvSpPr>
              <a:spLocks noChangeArrowheads="1"/>
            </p:cNvSpPr>
            <p:nvPr/>
          </p:nvSpPr>
          <p:spPr bwMode="auto">
            <a:xfrm>
              <a:off x="9494838" y="904974"/>
              <a:ext cx="25400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4" name="Oval 18"/>
            <p:cNvSpPr>
              <a:spLocks noChangeArrowheads="1"/>
            </p:cNvSpPr>
            <p:nvPr/>
          </p:nvSpPr>
          <p:spPr bwMode="auto">
            <a:xfrm>
              <a:off x="9580563" y="904974"/>
              <a:ext cx="30162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5" name="Oval 19"/>
            <p:cNvSpPr>
              <a:spLocks noChangeArrowheads="1"/>
            </p:cNvSpPr>
            <p:nvPr/>
          </p:nvSpPr>
          <p:spPr bwMode="auto">
            <a:xfrm>
              <a:off x="9539288" y="995461"/>
              <a:ext cx="25400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6" name="Oval 20"/>
            <p:cNvSpPr>
              <a:spLocks noChangeArrowheads="1"/>
            </p:cNvSpPr>
            <p:nvPr/>
          </p:nvSpPr>
          <p:spPr bwMode="auto">
            <a:xfrm>
              <a:off x="9580563" y="811311"/>
              <a:ext cx="30162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7" name="Oval 21"/>
            <p:cNvSpPr>
              <a:spLocks noChangeArrowheads="1"/>
            </p:cNvSpPr>
            <p:nvPr/>
          </p:nvSpPr>
          <p:spPr bwMode="auto">
            <a:xfrm>
              <a:off x="9494838" y="1084361"/>
              <a:ext cx="25400" cy="26988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8" name="Oval 22"/>
            <p:cNvSpPr>
              <a:spLocks noChangeArrowheads="1"/>
            </p:cNvSpPr>
            <p:nvPr/>
          </p:nvSpPr>
          <p:spPr bwMode="auto">
            <a:xfrm>
              <a:off x="9299575" y="1084361"/>
              <a:ext cx="25400" cy="26988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9" name="Oval 23"/>
            <p:cNvSpPr>
              <a:spLocks noChangeArrowheads="1"/>
            </p:cNvSpPr>
            <p:nvPr/>
          </p:nvSpPr>
          <p:spPr bwMode="auto">
            <a:xfrm>
              <a:off x="9580563" y="1084361"/>
              <a:ext cx="30162" cy="26988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0" name="Oval 24"/>
            <p:cNvSpPr>
              <a:spLocks noChangeArrowheads="1"/>
            </p:cNvSpPr>
            <p:nvPr/>
          </p:nvSpPr>
          <p:spPr bwMode="auto">
            <a:xfrm>
              <a:off x="9539288" y="1084361"/>
              <a:ext cx="25400" cy="26988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1" name="Oval 25"/>
            <p:cNvSpPr>
              <a:spLocks noChangeArrowheads="1"/>
            </p:cNvSpPr>
            <p:nvPr/>
          </p:nvSpPr>
          <p:spPr bwMode="auto">
            <a:xfrm>
              <a:off x="9494838" y="995461"/>
              <a:ext cx="25400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2" name="Oval 26"/>
            <p:cNvSpPr>
              <a:spLocks noChangeArrowheads="1"/>
            </p:cNvSpPr>
            <p:nvPr/>
          </p:nvSpPr>
          <p:spPr bwMode="auto">
            <a:xfrm>
              <a:off x="9299575" y="995461"/>
              <a:ext cx="25400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63" name="Group 62"/>
          <p:cNvGrpSpPr>
            <a:grpSpLocks noChangeAspect="1"/>
          </p:cNvGrpSpPr>
          <p:nvPr/>
        </p:nvGrpSpPr>
        <p:grpSpPr>
          <a:xfrm>
            <a:off x="1328757" y="3171748"/>
            <a:ext cx="274320" cy="442140"/>
            <a:chOff x="9250369" y="754161"/>
            <a:chExt cx="404812" cy="652463"/>
          </a:xfrm>
          <a:solidFill>
            <a:schemeClr val="accent1"/>
          </a:solidFill>
        </p:grpSpPr>
        <p:sp>
          <p:nvSpPr>
            <p:cNvPr id="64" name="Freeform 6"/>
            <p:cNvSpPr>
              <a:spLocks noEditPoints="1"/>
            </p:cNvSpPr>
            <p:nvPr/>
          </p:nvSpPr>
          <p:spPr bwMode="auto">
            <a:xfrm>
              <a:off x="9250369" y="754161"/>
              <a:ext cx="404812" cy="652463"/>
            </a:xfrm>
            <a:custGeom>
              <a:avLst/>
              <a:gdLst>
                <a:gd name="T0" fmla="*/ 102 w 108"/>
                <a:gd name="T1" fmla="*/ 0 h 174"/>
                <a:gd name="T2" fmla="*/ 7 w 108"/>
                <a:gd name="T3" fmla="*/ 0 h 174"/>
                <a:gd name="T4" fmla="*/ 0 w 108"/>
                <a:gd name="T5" fmla="*/ 7 h 174"/>
                <a:gd name="T6" fmla="*/ 0 w 108"/>
                <a:gd name="T7" fmla="*/ 167 h 174"/>
                <a:gd name="T8" fmla="*/ 7 w 108"/>
                <a:gd name="T9" fmla="*/ 174 h 174"/>
                <a:gd name="T10" fmla="*/ 102 w 108"/>
                <a:gd name="T11" fmla="*/ 174 h 174"/>
                <a:gd name="T12" fmla="*/ 107 w 108"/>
                <a:gd name="T13" fmla="*/ 171 h 174"/>
                <a:gd name="T14" fmla="*/ 107 w 108"/>
                <a:gd name="T15" fmla="*/ 171 h 174"/>
                <a:gd name="T16" fmla="*/ 107 w 108"/>
                <a:gd name="T17" fmla="*/ 171 h 174"/>
                <a:gd name="T18" fmla="*/ 108 w 108"/>
                <a:gd name="T19" fmla="*/ 168 h 174"/>
                <a:gd name="T20" fmla="*/ 108 w 108"/>
                <a:gd name="T21" fmla="*/ 6 h 174"/>
                <a:gd name="T22" fmla="*/ 102 w 108"/>
                <a:gd name="T23" fmla="*/ 0 h 174"/>
                <a:gd name="T24" fmla="*/ 103 w 108"/>
                <a:gd name="T25" fmla="*/ 122 h 174"/>
                <a:gd name="T26" fmla="*/ 99 w 108"/>
                <a:gd name="T27" fmla="*/ 126 h 174"/>
                <a:gd name="T28" fmla="*/ 10 w 108"/>
                <a:gd name="T29" fmla="*/ 126 h 174"/>
                <a:gd name="T30" fmla="*/ 6 w 108"/>
                <a:gd name="T31" fmla="*/ 122 h 174"/>
                <a:gd name="T32" fmla="*/ 6 w 108"/>
                <a:gd name="T33" fmla="*/ 110 h 174"/>
                <a:gd name="T34" fmla="*/ 10 w 108"/>
                <a:gd name="T35" fmla="*/ 106 h 174"/>
                <a:gd name="T36" fmla="*/ 99 w 108"/>
                <a:gd name="T37" fmla="*/ 106 h 174"/>
                <a:gd name="T38" fmla="*/ 103 w 108"/>
                <a:gd name="T39" fmla="*/ 110 h 174"/>
                <a:gd name="T40" fmla="*/ 103 w 108"/>
                <a:gd name="T41" fmla="*/ 122 h 174"/>
                <a:gd name="T42" fmla="*/ 103 w 108"/>
                <a:gd name="T43" fmla="*/ 98 h 174"/>
                <a:gd name="T44" fmla="*/ 99 w 108"/>
                <a:gd name="T45" fmla="*/ 102 h 174"/>
                <a:gd name="T46" fmla="*/ 10 w 108"/>
                <a:gd name="T47" fmla="*/ 102 h 174"/>
                <a:gd name="T48" fmla="*/ 6 w 108"/>
                <a:gd name="T49" fmla="*/ 98 h 174"/>
                <a:gd name="T50" fmla="*/ 6 w 108"/>
                <a:gd name="T51" fmla="*/ 85 h 174"/>
                <a:gd name="T52" fmla="*/ 10 w 108"/>
                <a:gd name="T53" fmla="*/ 82 h 174"/>
                <a:gd name="T54" fmla="*/ 99 w 108"/>
                <a:gd name="T55" fmla="*/ 82 h 174"/>
                <a:gd name="T56" fmla="*/ 103 w 108"/>
                <a:gd name="T57" fmla="*/ 85 h 174"/>
                <a:gd name="T58" fmla="*/ 103 w 108"/>
                <a:gd name="T59" fmla="*/ 98 h 174"/>
                <a:gd name="T60" fmla="*/ 103 w 108"/>
                <a:gd name="T61" fmla="*/ 74 h 174"/>
                <a:gd name="T62" fmla="*/ 99 w 108"/>
                <a:gd name="T63" fmla="*/ 77 h 174"/>
                <a:gd name="T64" fmla="*/ 10 w 108"/>
                <a:gd name="T65" fmla="*/ 77 h 174"/>
                <a:gd name="T66" fmla="*/ 6 w 108"/>
                <a:gd name="T67" fmla="*/ 74 h 174"/>
                <a:gd name="T68" fmla="*/ 6 w 108"/>
                <a:gd name="T69" fmla="*/ 61 h 174"/>
                <a:gd name="T70" fmla="*/ 10 w 108"/>
                <a:gd name="T71" fmla="*/ 58 h 174"/>
                <a:gd name="T72" fmla="*/ 99 w 108"/>
                <a:gd name="T73" fmla="*/ 58 h 174"/>
                <a:gd name="T74" fmla="*/ 103 w 108"/>
                <a:gd name="T75" fmla="*/ 61 h 174"/>
                <a:gd name="T76" fmla="*/ 103 w 108"/>
                <a:gd name="T77" fmla="*/ 74 h 174"/>
                <a:gd name="T78" fmla="*/ 103 w 108"/>
                <a:gd name="T79" fmla="*/ 50 h 174"/>
                <a:gd name="T80" fmla="*/ 99 w 108"/>
                <a:gd name="T81" fmla="*/ 53 h 174"/>
                <a:gd name="T82" fmla="*/ 10 w 108"/>
                <a:gd name="T83" fmla="*/ 53 h 174"/>
                <a:gd name="T84" fmla="*/ 6 w 108"/>
                <a:gd name="T85" fmla="*/ 50 h 174"/>
                <a:gd name="T86" fmla="*/ 6 w 108"/>
                <a:gd name="T87" fmla="*/ 37 h 174"/>
                <a:gd name="T88" fmla="*/ 10 w 108"/>
                <a:gd name="T89" fmla="*/ 33 h 174"/>
                <a:gd name="T90" fmla="*/ 99 w 108"/>
                <a:gd name="T91" fmla="*/ 33 h 174"/>
                <a:gd name="T92" fmla="*/ 103 w 108"/>
                <a:gd name="T93" fmla="*/ 37 h 174"/>
                <a:gd name="T94" fmla="*/ 103 w 108"/>
                <a:gd name="T95" fmla="*/ 50 h 174"/>
                <a:gd name="T96" fmla="*/ 103 w 108"/>
                <a:gd name="T97" fmla="*/ 25 h 174"/>
                <a:gd name="T98" fmla="*/ 99 w 108"/>
                <a:gd name="T99" fmla="*/ 29 h 174"/>
                <a:gd name="T100" fmla="*/ 10 w 108"/>
                <a:gd name="T101" fmla="*/ 29 h 174"/>
                <a:gd name="T102" fmla="*/ 6 w 108"/>
                <a:gd name="T103" fmla="*/ 25 h 174"/>
                <a:gd name="T104" fmla="*/ 6 w 108"/>
                <a:gd name="T105" fmla="*/ 13 h 174"/>
                <a:gd name="T106" fmla="*/ 10 w 108"/>
                <a:gd name="T107" fmla="*/ 9 h 174"/>
                <a:gd name="T108" fmla="*/ 99 w 108"/>
                <a:gd name="T109" fmla="*/ 9 h 174"/>
                <a:gd name="T110" fmla="*/ 103 w 108"/>
                <a:gd name="T111" fmla="*/ 13 h 174"/>
                <a:gd name="T112" fmla="*/ 103 w 108"/>
                <a:gd name="T113" fmla="*/ 25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8" h="174">
                  <a:moveTo>
                    <a:pt x="102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1" y="3"/>
                    <a:pt x="0" y="7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1" y="171"/>
                    <a:pt x="3" y="174"/>
                    <a:pt x="7" y="174"/>
                  </a:cubicBezTo>
                  <a:cubicBezTo>
                    <a:pt x="102" y="174"/>
                    <a:pt x="102" y="174"/>
                    <a:pt x="102" y="174"/>
                  </a:cubicBezTo>
                  <a:cubicBezTo>
                    <a:pt x="104" y="174"/>
                    <a:pt x="106" y="173"/>
                    <a:pt x="107" y="171"/>
                  </a:cubicBezTo>
                  <a:cubicBezTo>
                    <a:pt x="107" y="171"/>
                    <a:pt x="107" y="171"/>
                    <a:pt x="107" y="171"/>
                  </a:cubicBezTo>
                  <a:cubicBezTo>
                    <a:pt x="107" y="171"/>
                    <a:pt x="107" y="171"/>
                    <a:pt x="107" y="171"/>
                  </a:cubicBezTo>
                  <a:cubicBezTo>
                    <a:pt x="108" y="170"/>
                    <a:pt x="108" y="169"/>
                    <a:pt x="108" y="168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8" y="3"/>
                    <a:pt x="105" y="0"/>
                    <a:pt x="102" y="0"/>
                  </a:cubicBezTo>
                  <a:close/>
                  <a:moveTo>
                    <a:pt x="103" y="122"/>
                  </a:moveTo>
                  <a:cubicBezTo>
                    <a:pt x="103" y="124"/>
                    <a:pt x="101" y="126"/>
                    <a:pt x="99" y="126"/>
                  </a:cubicBezTo>
                  <a:cubicBezTo>
                    <a:pt x="10" y="126"/>
                    <a:pt x="10" y="126"/>
                    <a:pt x="10" y="126"/>
                  </a:cubicBezTo>
                  <a:cubicBezTo>
                    <a:pt x="8" y="126"/>
                    <a:pt x="6" y="124"/>
                    <a:pt x="6" y="122"/>
                  </a:cubicBezTo>
                  <a:cubicBezTo>
                    <a:pt x="6" y="110"/>
                    <a:pt x="6" y="110"/>
                    <a:pt x="6" y="110"/>
                  </a:cubicBezTo>
                  <a:cubicBezTo>
                    <a:pt x="6" y="108"/>
                    <a:pt x="8" y="106"/>
                    <a:pt x="10" y="106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101" y="106"/>
                    <a:pt x="103" y="108"/>
                    <a:pt x="103" y="110"/>
                  </a:cubicBezTo>
                  <a:lnTo>
                    <a:pt x="103" y="122"/>
                  </a:lnTo>
                  <a:close/>
                  <a:moveTo>
                    <a:pt x="103" y="98"/>
                  </a:moveTo>
                  <a:cubicBezTo>
                    <a:pt x="103" y="100"/>
                    <a:pt x="101" y="102"/>
                    <a:pt x="99" y="102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8" y="102"/>
                    <a:pt x="6" y="100"/>
                    <a:pt x="6" y="98"/>
                  </a:cubicBezTo>
                  <a:cubicBezTo>
                    <a:pt x="6" y="85"/>
                    <a:pt x="6" y="85"/>
                    <a:pt x="6" y="85"/>
                  </a:cubicBezTo>
                  <a:cubicBezTo>
                    <a:pt x="6" y="83"/>
                    <a:pt x="8" y="82"/>
                    <a:pt x="10" y="82"/>
                  </a:cubicBezTo>
                  <a:cubicBezTo>
                    <a:pt x="99" y="82"/>
                    <a:pt x="99" y="82"/>
                    <a:pt x="99" y="82"/>
                  </a:cubicBezTo>
                  <a:cubicBezTo>
                    <a:pt x="101" y="82"/>
                    <a:pt x="103" y="83"/>
                    <a:pt x="103" y="85"/>
                  </a:cubicBezTo>
                  <a:lnTo>
                    <a:pt x="103" y="98"/>
                  </a:lnTo>
                  <a:close/>
                  <a:moveTo>
                    <a:pt x="103" y="74"/>
                  </a:moveTo>
                  <a:cubicBezTo>
                    <a:pt x="103" y="76"/>
                    <a:pt x="101" y="77"/>
                    <a:pt x="99" y="77"/>
                  </a:cubicBezTo>
                  <a:cubicBezTo>
                    <a:pt x="10" y="77"/>
                    <a:pt x="10" y="77"/>
                    <a:pt x="10" y="77"/>
                  </a:cubicBezTo>
                  <a:cubicBezTo>
                    <a:pt x="8" y="77"/>
                    <a:pt x="6" y="76"/>
                    <a:pt x="6" y="74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6" y="59"/>
                    <a:pt x="8" y="58"/>
                    <a:pt x="10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101" y="58"/>
                    <a:pt x="103" y="59"/>
                    <a:pt x="103" y="61"/>
                  </a:cubicBezTo>
                  <a:lnTo>
                    <a:pt x="103" y="74"/>
                  </a:lnTo>
                  <a:close/>
                  <a:moveTo>
                    <a:pt x="103" y="50"/>
                  </a:moveTo>
                  <a:cubicBezTo>
                    <a:pt x="103" y="52"/>
                    <a:pt x="101" y="53"/>
                    <a:pt x="99" y="53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8" y="53"/>
                    <a:pt x="6" y="52"/>
                    <a:pt x="6" y="50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5"/>
                    <a:pt x="8" y="33"/>
                    <a:pt x="10" y="33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101" y="33"/>
                    <a:pt x="103" y="35"/>
                    <a:pt x="103" y="37"/>
                  </a:cubicBezTo>
                  <a:lnTo>
                    <a:pt x="103" y="50"/>
                  </a:lnTo>
                  <a:close/>
                  <a:moveTo>
                    <a:pt x="103" y="25"/>
                  </a:moveTo>
                  <a:cubicBezTo>
                    <a:pt x="103" y="27"/>
                    <a:pt x="101" y="29"/>
                    <a:pt x="99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8" y="29"/>
                    <a:pt x="6" y="27"/>
                    <a:pt x="6" y="25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1"/>
                    <a:pt x="8" y="9"/>
                    <a:pt x="10" y="9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101" y="9"/>
                    <a:pt x="103" y="11"/>
                    <a:pt x="103" y="13"/>
                  </a:cubicBezTo>
                  <a:lnTo>
                    <a:pt x="103" y="2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5" name="Oval 7"/>
            <p:cNvSpPr>
              <a:spLocks noChangeArrowheads="1"/>
            </p:cNvSpPr>
            <p:nvPr/>
          </p:nvSpPr>
          <p:spPr bwMode="auto">
            <a:xfrm>
              <a:off x="9580563" y="1174849"/>
              <a:ext cx="30162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6" name="Oval 8"/>
            <p:cNvSpPr>
              <a:spLocks noChangeArrowheads="1"/>
            </p:cNvSpPr>
            <p:nvPr/>
          </p:nvSpPr>
          <p:spPr bwMode="auto">
            <a:xfrm>
              <a:off x="9494838" y="1174849"/>
              <a:ext cx="25400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7" name="Oval 9"/>
            <p:cNvSpPr>
              <a:spLocks noChangeArrowheads="1"/>
            </p:cNvSpPr>
            <p:nvPr/>
          </p:nvSpPr>
          <p:spPr bwMode="auto">
            <a:xfrm>
              <a:off x="9299575" y="1174849"/>
              <a:ext cx="25400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8" name="Oval 10"/>
            <p:cNvSpPr>
              <a:spLocks noChangeArrowheads="1"/>
            </p:cNvSpPr>
            <p:nvPr/>
          </p:nvSpPr>
          <p:spPr bwMode="auto">
            <a:xfrm>
              <a:off x="9539288" y="1174849"/>
              <a:ext cx="25400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9" name="Oval 11"/>
            <p:cNvSpPr>
              <a:spLocks noChangeArrowheads="1"/>
            </p:cNvSpPr>
            <p:nvPr/>
          </p:nvSpPr>
          <p:spPr bwMode="auto">
            <a:xfrm>
              <a:off x="9494838" y="811311"/>
              <a:ext cx="25400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0" name="Oval 12"/>
            <p:cNvSpPr>
              <a:spLocks noChangeArrowheads="1"/>
            </p:cNvSpPr>
            <p:nvPr/>
          </p:nvSpPr>
          <p:spPr bwMode="auto">
            <a:xfrm>
              <a:off x="9539288" y="811311"/>
              <a:ext cx="25400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1" name="Oval 13"/>
            <p:cNvSpPr>
              <a:spLocks noChangeArrowheads="1"/>
            </p:cNvSpPr>
            <p:nvPr/>
          </p:nvSpPr>
          <p:spPr bwMode="auto">
            <a:xfrm>
              <a:off x="9299575" y="904974"/>
              <a:ext cx="25400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2" name="Oval 14"/>
            <p:cNvSpPr>
              <a:spLocks noChangeArrowheads="1"/>
            </p:cNvSpPr>
            <p:nvPr/>
          </p:nvSpPr>
          <p:spPr bwMode="auto">
            <a:xfrm>
              <a:off x="9580563" y="995461"/>
              <a:ext cx="30162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3" name="Oval 15"/>
            <p:cNvSpPr>
              <a:spLocks noChangeArrowheads="1"/>
            </p:cNvSpPr>
            <p:nvPr/>
          </p:nvSpPr>
          <p:spPr bwMode="auto">
            <a:xfrm>
              <a:off x="9539288" y="904974"/>
              <a:ext cx="25400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4" name="Oval 16"/>
            <p:cNvSpPr>
              <a:spLocks noChangeArrowheads="1"/>
            </p:cNvSpPr>
            <p:nvPr/>
          </p:nvSpPr>
          <p:spPr bwMode="auto">
            <a:xfrm>
              <a:off x="9299575" y="811311"/>
              <a:ext cx="25400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5" name="Oval 17"/>
            <p:cNvSpPr>
              <a:spLocks noChangeArrowheads="1"/>
            </p:cNvSpPr>
            <p:nvPr/>
          </p:nvSpPr>
          <p:spPr bwMode="auto">
            <a:xfrm>
              <a:off x="9494838" y="904974"/>
              <a:ext cx="25400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6" name="Oval 18"/>
            <p:cNvSpPr>
              <a:spLocks noChangeArrowheads="1"/>
            </p:cNvSpPr>
            <p:nvPr/>
          </p:nvSpPr>
          <p:spPr bwMode="auto">
            <a:xfrm>
              <a:off x="9580563" y="904974"/>
              <a:ext cx="30162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7" name="Oval 19"/>
            <p:cNvSpPr>
              <a:spLocks noChangeArrowheads="1"/>
            </p:cNvSpPr>
            <p:nvPr/>
          </p:nvSpPr>
          <p:spPr bwMode="auto">
            <a:xfrm>
              <a:off x="9539288" y="995461"/>
              <a:ext cx="25400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8" name="Oval 20"/>
            <p:cNvSpPr>
              <a:spLocks noChangeArrowheads="1"/>
            </p:cNvSpPr>
            <p:nvPr/>
          </p:nvSpPr>
          <p:spPr bwMode="auto">
            <a:xfrm>
              <a:off x="9580563" y="811311"/>
              <a:ext cx="30162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9" name="Oval 21"/>
            <p:cNvSpPr>
              <a:spLocks noChangeArrowheads="1"/>
            </p:cNvSpPr>
            <p:nvPr/>
          </p:nvSpPr>
          <p:spPr bwMode="auto">
            <a:xfrm>
              <a:off x="9494838" y="1084361"/>
              <a:ext cx="25400" cy="26988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0" name="Oval 22"/>
            <p:cNvSpPr>
              <a:spLocks noChangeArrowheads="1"/>
            </p:cNvSpPr>
            <p:nvPr/>
          </p:nvSpPr>
          <p:spPr bwMode="auto">
            <a:xfrm>
              <a:off x="9299575" y="1084361"/>
              <a:ext cx="25400" cy="26988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1" name="Oval 23"/>
            <p:cNvSpPr>
              <a:spLocks noChangeArrowheads="1"/>
            </p:cNvSpPr>
            <p:nvPr/>
          </p:nvSpPr>
          <p:spPr bwMode="auto">
            <a:xfrm>
              <a:off x="9580563" y="1084361"/>
              <a:ext cx="30162" cy="26988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2" name="Oval 24"/>
            <p:cNvSpPr>
              <a:spLocks noChangeArrowheads="1"/>
            </p:cNvSpPr>
            <p:nvPr/>
          </p:nvSpPr>
          <p:spPr bwMode="auto">
            <a:xfrm>
              <a:off x="9539288" y="1084361"/>
              <a:ext cx="25400" cy="26988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3" name="Oval 25"/>
            <p:cNvSpPr>
              <a:spLocks noChangeArrowheads="1"/>
            </p:cNvSpPr>
            <p:nvPr/>
          </p:nvSpPr>
          <p:spPr bwMode="auto">
            <a:xfrm>
              <a:off x="9494838" y="995461"/>
              <a:ext cx="25400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4" name="Oval 26"/>
            <p:cNvSpPr>
              <a:spLocks noChangeArrowheads="1"/>
            </p:cNvSpPr>
            <p:nvPr/>
          </p:nvSpPr>
          <p:spPr bwMode="auto">
            <a:xfrm>
              <a:off x="9299575" y="995461"/>
              <a:ext cx="25400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85" name="Group 84"/>
          <p:cNvGrpSpPr>
            <a:grpSpLocks noChangeAspect="1"/>
          </p:cNvGrpSpPr>
          <p:nvPr/>
        </p:nvGrpSpPr>
        <p:grpSpPr>
          <a:xfrm>
            <a:off x="764246" y="3171748"/>
            <a:ext cx="274320" cy="442140"/>
            <a:chOff x="9250369" y="754161"/>
            <a:chExt cx="404812" cy="652463"/>
          </a:xfrm>
          <a:solidFill>
            <a:schemeClr val="accent1"/>
          </a:solidFill>
        </p:grpSpPr>
        <p:sp>
          <p:nvSpPr>
            <p:cNvPr id="86" name="Freeform 6"/>
            <p:cNvSpPr>
              <a:spLocks noEditPoints="1"/>
            </p:cNvSpPr>
            <p:nvPr/>
          </p:nvSpPr>
          <p:spPr bwMode="auto">
            <a:xfrm>
              <a:off x="9250369" y="754161"/>
              <a:ext cx="404812" cy="652463"/>
            </a:xfrm>
            <a:custGeom>
              <a:avLst/>
              <a:gdLst>
                <a:gd name="T0" fmla="*/ 102 w 108"/>
                <a:gd name="T1" fmla="*/ 0 h 174"/>
                <a:gd name="T2" fmla="*/ 7 w 108"/>
                <a:gd name="T3" fmla="*/ 0 h 174"/>
                <a:gd name="T4" fmla="*/ 0 w 108"/>
                <a:gd name="T5" fmla="*/ 7 h 174"/>
                <a:gd name="T6" fmla="*/ 0 w 108"/>
                <a:gd name="T7" fmla="*/ 167 h 174"/>
                <a:gd name="T8" fmla="*/ 7 w 108"/>
                <a:gd name="T9" fmla="*/ 174 h 174"/>
                <a:gd name="T10" fmla="*/ 102 w 108"/>
                <a:gd name="T11" fmla="*/ 174 h 174"/>
                <a:gd name="T12" fmla="*/ 107 w 108"/>
                <a:gd name="T13" fmla="*/ 171 h 174"/>
                <a:gd name="T14" fmla="*/ 107 w 108"/>
                <a:gd name="T15" fmla="*/ 171 h 174"/>
                <a:gd name="T16" fmla="*/ 107 w 108"/>
                <a:gd name="T17" fmla="*/ 171 h 174"/>
                <a:gd name="T18" fmla="*/ 108 w 108"/>
                <a:gd name="T19" fmla="*/ 168 h 174"/>
                <a:gd name="T20" fmla="*/ 108 w 108"/>
                <a:gd name="T21" fmla="*/ 6 h 174"/>
                <a:gd name="T22" fmla="*/ 102 w 108"/>
                <a:gd name="T23" fmla="*/ 0 h 174"/>
                <a:gd name="T24" fmla="*/ 103 w 108"/>
                <a:gd name="T25" fmla="*/ 122 h 174"/>
                <a:gd name="T26" fmla="*/ 99 w 108"/>
                <a:gd name="T27" fmla="*/ 126 h 174"/>
                <a:gd name="T28" fmla="*/ 10 w 108"/>
                <a:gd name="T29" fmla="*/ 126 h 174"/>
                <a:gd name="T30" fmla="*/ 6 w 108"/>
                <a:gd name="T31" fmla="*/ 122 h 174"/>
                <a:gd name="T32" fmla="*/ 6 w 108"/>
                <a:gd name="T33" fmla="*/ 110 h 174"/>
                <a:gd name="T34" fmla="*/ 10 w 108"/>
                <a:gd name="T35" fmla="*/ 106 h 174"/>
                <a:gd name="T36" fmla="*/ 99 w 108"/>
                <a:gd name="T37" fmla="*/ 106 h 174"/>
                <a:gd name="T38" fmla="*/ 103 w 108"/>
                <a:gd name="T39" fmla="*/ 110 h 174"/>
                <a:gd name="T40" fmla="*/ 103 w 108"/>
                <a:gd name="T41" fmla="*/ 122 h 174"/>
                <a:gd name="T42" fmla="*/ 103 w 108"/>
                <a:gd name="T43" fmla="*/ 98 h 174"/>
                <a:gd name="T44" fmla="*/ 99 w 108"/>
                <a:gd name="T45" fmla="*/ 102 h 174"/>
                <a:gd name="T46" fmla="*/ 10 w 108"/>
                <a:gd name="T47" fmla="*/ 102 h 174"/>
                <a:gd name="T48" fmla="*/ 6 w 108"/>
                <a:gd name="T49" fmla="*/ 98 h 174"/>
                <a:gd name="T50" fmla="*/ 6 w 108"/>
                <a:gd name="T51" fmla="*/ 85 h 174"/>
                <a:gd name="T52" fmla="*/ 10 w 108"/>
                <a:gd name="T53" fmla="*/ 82 h 174"/>
                <a:gd name="T54" fmla="*/ 99 w 108"/>
                <a:gd name="T55" fmla="*/ 82 h 174"/>
                <a:gd name="T56" fmla="*/ 103 w 108"/>
                <a:gd name="T57" fmla="*/ 85 h 174"/>
                <a:gd name="T58" fmla="*/ 103 w 108"/>
                <a:gd name="T59" fmla="*/ 98 h 174"/>
                <a:gd name="T60" fmla="*/ 103 w 108"/>
                <a:gd name="T61" fmla="*/ 74 h 174"/>
                <a:gd name="T62" fmla="*/ 99 w 108"/>
                <a:gd name="T63" fmla="*/ 77 h 174"/>
                <a:gd name="T64" fmla="*/ 10 w 108"/>
                <a:gd name="T65" fmla="*/ 77 h 174"/>
                <a:gd name="T66" fmla="*/ 6 w 108"/>
                <a:gd name="T67" fmla="*/ 74 h 174"/>
                <a:gd name="T68" fmla="*/ 6 w 108"/>
                <a:gd name="T69" fmla="*/ 61 h 174"/>
                <a:gd name="T70" fmla="*/ 10 w 108"/>
                <a:gd name="T71" fmla="*/ 58 h 174"/>
                <a:gd name="T72" fmla="*/ 99 w 108"/>
                <a:gd name="T73" fmla="*/ 58 h 174"/>
                <a:gd name="T74" fmla="*/ 103 w 108"/>
                <a:gd name="T75" fmla="*/ 61 h 174"/>
                <a:gd name="T76" fmla="*/ 103 w 108"/>
                <a:gd name="T77" fmla="*/ 74 h 174"/>
                <a:gd name="T78" fmla="*/ 103 w 108"/>
                <a:gd name="T79" fmla="*/ 50 h 174"/>
                <a:gd name="T80" fmla="*/ 99 w 108"/>
                <a:gd name="T81" fmla="*/ 53 h 174"/>
                <a:gd name="T82" fmla="*/ 10 w 108"/>
                <a:gd name="T83" fmla="*/ 53 h 174"/>
                <a:gd name="T84" fmla="*/ 6 w 108"/>
                <a:gd name="T85" fmla="*/ 50 h 174"/>
                <a:gd name="T86" fmla="*/ 6 w 108"/>
                <a:gd name="T87" fmla="*/ 37 h 174"/>
                <a:gd name="T88" fmla="*/ 10 w 108"/>
                <a:gd name="T89" fmla="*/ 33 h 174"/>
                <a:gd name="T90" fmla="*/ 99 w 108"/>
                <a:gd name="T91" fmla="*/ 33 h 174"/>
                <a:gd name="T92" fmla="*/ 103 w 108"/>
                <a:gd name="T93" fmla="*/ 37 h 174"/>
                <a:gd name="T94" fmla="*/ 103 w 108"/>
                <a:gd name="T95" fmla="*/ 50 h 174"/>
                <a:gd name="T96" fmla="*/ 103 w 108"/>
                <a:gd name="T97" fmla="*/ 25 h 174"/>
                <a:gd name="T98" fmla="*/ 99 w 108"/>
                <a:gd name="T99" fmla="*/ 29 h 174"/>
                <a:gd name="T100" fmla="*/ 10 w 108"/>
                <a:gd name="T101" fmla="*/ 29 h 174"/>
                <a:gd name="T102" fmla="*/ 6 w 108"/>
                <a:gd name="T103" fmla="*/ 25 h 174"/>
                <a:gd name="T104" fmla="*/ 6 w 108"/>
                <a:gd name="T105" fmla="*/ 13 h 174"/>
                <a:gd name="T106" fmla="*/ 10 w 108"/>
                <a:gd name="T107" fmla="*/ 9 h 174"/>
                <a:gd name="T108" fmla="*/ 99 w 108"/>
                <a:gd name="T109" fmla="*/ 9 h 174"/>
                <a:gd name="T110" fmla="*/ 103 w 108"/>
                <a:gd name="T111" fmla="*/ 13 h 174"/>
                <a:gd name="T112" fmla="*/ 103 w 108"/>
                <a:gd name="T113" fmla="*/ 25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8" h="174">
                  <a:moveTo>
                    <a:pt x="102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1" y="3"/>
                    <a:pt x="0" y="7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1" y="171"/>
                    <a:pt x="3" y="174"/>
                    <a:pt x="7" y="174"/>
                  </a:cubicBezTo>
                  <a:cubicBezTo>
                    <a:pt x="102" y="174"/>
                    <a:pt x="102" y="174"/>
                    <a:pt x="102" y="174"/>
                  </a:cubicBezTo>
                  <a:cubicBezTo>
                    <a:pt x="104" y="174"/>
                    <a:pt x="106" y="173"/>
                    <a:pt x="107" y="171"/>
                  </a:cubicBezTo>
                  <a:cubicBezTo>
                    <a:pt x="107" y="171"/>
                    <a:pt x="107" y="171"/>
                    <a:pt x="107" y="171"/>
                  </a:cubicBezTo>
                  <a:cubicBezTo>
                    <a:pt x="107" y="171"/>
                    <a:pt x="107" y="171"/>
                    <a:pt x="107" y="171"/>
                  </a:cubicBezTo>
                  <a:cubicBezTo>
                    <a:pt x="108" y="170"/>
                    <a:pt x="108" y="169"/>
                    <a:pt x="108" y="168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8" y="3"/>
                    <a:pt x="105" y="0"/>
                    <a:pt x="102" y="0"/>
                  </a:cubicBezTo>
                  <a:close/>
                  <a:moveTo>
                    <a:pt x="103" y="122"/>
                  </a:moveTo>
                  <a:cubicBezTo>
                    <a:pt x="103" y="124"/>
                    <a:pt x="101" y="126"/>
                    <a:pt x="99" y="126"/>
                  </a:cubicBezTo>
                  <a:cubicBezTo>
                    <a:pt x="10" y="126"/>
                    <a:pt x="10" y="126"/>
                    <a:pt x="10" y="126"/>
                  </a:cubicBezTo>
                  <a:cubicBezTo>
                    <a:pt x="8" y="126"/>
                    <a:pt x="6" y="124"/>
                    <a:pt x="6" y="122"/>
                  </a:cubicBezTo>
                  <a:cubicBezTo>
                    <a:pt x="6" y="110"/>
                    <a:pt x="6" y="110"/>
                    <a:pt x="6" y="110"/>
                  </a:cubicBezTo>
                  <a:cubicBezTo>
                    <a:pt x="6" y="108"/>
                    <a:pt x="8" y="106"/>
                    <a:pt x="10" y="106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101" y="106"/>
                    <a:pt x="103" y="108"/>
                    <a:pt x="103" y="110"/>
                  </a:cubicBezTo>
                  <a:lnTo>
                    <a:pt x="103" y="122"/>
                  </a:lnTo>
                  <a:close/>
                  <a:moveTo>
                    <a:pt x="103" y="98"/>
                  </a:moveTo>
                  <a:cubicBezTo>
                    <a:pt x="103" y="100"/>
                    <a:pt x="101" y="102"/>
                    <a:pt x="99" y="102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8" y="102"/>
                    <a:pt x="6" y="100"/>
                    <a:pt x="6" y="98"/>
                  </a:cubicBezTo>
                  <a:cubicBezTo>
                    <a:pt x="6" y="85"/>
                    <a:pt x="6" y="85"/>
                    <a:pt x="6" y="85"/>
                  </a:cubicBezTo>
                  <a:cubicBezTo>
                    <a:pt x="6" y="83"/>
                    <a:pt x="8" y="82"/>
                    <a:pt x="10" y="82"/>
                  </a:cubicBezTo>
                  <a:cubicBezTo>
                    <a:pt x="99" y="82"/>
                    <a:pt x="99" y="82"/>
                    <a:pt x="99" y="82"/>
                  </a:cubicBezTo>
                  <a:cubicBezTo>
                    <a:pt x="101" y="82"/>
                    <a:pt x="103" y="83"/>
                    <a:pt x="103" y="85"/>
                  </a:cubicBezTo>
                  <a:lnTo>
                    <a:pt x="103" y="98"/>
                  </a:lnTo>
                  <a:close/>
                  <a:moveTo>
                    <a:pt x="103" y="74"/>
                  </a:moveTo>
                  <a:cubicBezTo>
                    <a:pt x="103" y="76"/>
                    <a:pt x="101" y="77"/>
                    <a:pt x="99" y="77"/>
                  </a:cubicBezTo>
                  <a:cubicBezTo>
                    <a:pt x="10" y="77"/>
                    <a:pt x="10" y="77"/>
                    <a:pt x="10" y="77"/>
                  </a:cubicBezTo>
                  <a:cubicBezTo>
                    <a:pt x="8" y="77"/>
                    <a:pt x="6" y="76"/>
                    <a:pt x="6" y="74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6" y="59"/>
                    <a:pt x="8" y="58"/>
                    <a:pt x="10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101" y="58"/>
                    <a:pt x="103" y="59"/>
                    <a:pt x="103" y="61"/>
                  </a:cubicBezTo>
                  <a:lnTo>
                    <a:pt x="103" y="74"/>
                  </a:lnTo>
                  <a:close/>
                  <a:moveTo>
                    <a:pt x="103" y="50"/>
                  </a:moveTo>
                  <a:cubicBezTo>
                    <a:pt x="103" y="52"/>
                    <a:pt x="101" y="53"/>
                    <a:pt x="99" y="53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8" y="53"/>
                    <a:pt x="6" y="52"/>
                    <a:pt x="6" y="50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5"/>
                    <a:pt x="8" y="33"/>
                    <a:pt x="10" y="33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101" y="33"/>
                    <a:pt x="103" y="35"/>
                    <a:pt x="103" y="37"/>
                  </a:cubicBezTo>
                  <a:lnTo>
                    <a:pt x="103" y="50"/>
                  </a:lnTo>
                  <a:close/>
                  <a:moveTo>
                    <a:pt x="103" y="25"/>
                  </a:moveTo>
                  <a:cubicBezTo>
                    <a:pt x="103" y="27"/>
                    <a:pt x="101" y="29"/>
                    <a:pt x="99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8" y="29"/>
                    <a:pt x="6" y="27"/>
                    <a:pt x="6" y="25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1"/>
                    <a:pt x="8" y="9"/>
                    <a:pt x="10" y="9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101" y="9"/>
                    <a:pt x="103" y="11"/>
                    <a:pt x="103" y="13"/>
                  </a:cubicBezTo>
                  <a:lnTo>
                    <a:pt x="103" y="2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7" name="Oval 7"/>
            <p:cNvSpPr>
              <a:spLocks noChangeArrowheads="1"/>
            </p:cNvSpPr>
            <p:nvPr/>
          </p:nvSpPr>
          <p:spPr bwMode="auto">
            <a:xfrm>
              <a:off x="9580563" y="1174849"/>
              <a:ext cx="30162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8" name="Oval 8"/>
            <p:cNvSpPr>
              <a:spLocks noChangeArrowheads="1"/>
            </p:cNvSpPr>
            <p:nvPr/>
          </p:nvSpPr>
          <p:spPr bwMode="auto">
            <a:xfrm>
              <a:off x="9494838" y="1174849"/>
              <a:ext cx="25400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89" name="Oval 9"/>
            <p:cNvSpPr>
              <a:spLocks noChangeArrowheads="1"/>
            </p:cNvSpPr>
            <p:nvPr/>
          </p:nvSpPr>
          <p:spPr bwMode="auto">
            <a:xfrm>
              <a:off x="9299575" y="1174849"/>
              <a:ext cx="25400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90" name="Oval 10"/>
            <p:cNvSpPr>
              <a:spLocks noChangeArrowheads="1"/>
            </p:cNvSpPr>
            <p:nvPr/>
          </p:nvSpPr>
          <p:spPr bwMode="auto">
            <a:xfrm>
              <a:off x="9539288" y="1174849"/>
              <a:ext cx="25400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91" name="Oval 11"/>
            <p:cNvSpPr>
              <a:spLocks noChangeArrowheads="1"/>
            </p:cNvSpPr>
            <p:nvPr/>
          </p:nvSpPr>
          <p:spPr bwMode="auto">
            <a:xfrm>
              <a:off x="9494838" y="811311"/>
              <a:ext cx="25400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92" name="Oval 12"/>
            <p:cNvSpPr>
              <a:spLocks noChangeArrowheads="1"/>
            </p:cNvSpPr>
            <p:nvPr/>
          </p:nvSpPr>
          <p:spPr bwMode="auto">
            <a:xfrm>
              <a:off x="9539288" y="811311"/>
              <a:ext cx="25400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93" name="Oval 13"/>
            <p:cNvSpPr>
              <a:spLocks noChangeArrowheads="1"/>
            </p:cNvSpPr>
            <p:nvPr/>
          </p:nvSpPr>
          <p:spPr bwMode="auto">
            <a:xfrm>
              <a:off x="9299575" y="904974"/>
              <a:ext cx="25400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94" name="Oval 14"/>
            <p:cNvSpPr>
              <a:spLocks noChangeArrowheads="1"/>
            </p:cNvSpPr>
            <p:nvPr/>
          </p:nvSpPr>
          <p:spPr bwMode="auto">
            <a:xfrm>
              <a:off x="9580563" y="995461"/>
              <a:ext cx="30162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95" name="Oval 15"/>
            <p:cNvSpPr>
              <a:spLocks noChangeArrowheads="1"/>
            </p:cNvSpPr>
            <p:nvPr/>
          </p:nvSpPr>
          <p:spPr bwMode="auto">
            <a:xfrm>
              <a:off x="9539288" y="904974"/>
              <a:ext cx="25400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96" name="Oval 16"/>
            <p:cNvSpPr>
              <a:spLocks noChangeArrowheads="1"/>
            </p:cNvSpPr>
            <p:nvPr/>
          </p:nvSpPr>
          <p:spPr bwMode="auto">
            <a:xfrm>
              <a:off x="9299575" y="811311"/>
              <a:ext cx="25400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97" name="Oval 17"/>
            <p:cNvSpPr>
              <a:spLocks noChangeArrowheads="1"/>
            </p:cNvSpPr>
            <p:nvPr/>
          </p:nvSpPr>
          <p:spPr bwMode="auto">
            <a:xfrm>
              <a:off x="9494838" y="904974"/>
              <a:ext cx="25400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98" name="Oval 18"/>
            <p:cNvSpPr>
              <a:spLocks noChangeArrowheads="1"/>
            </p:cNvSpPr>
            <p:nvPr/>
          </p:nvSpPr>
          <p:spPr bwMode="auto">
            <a:xfrm>
              <a:off x="9580563" y="904974"/>
              <a:ext cx="30162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99" name="Oval 19"/>
            <p:cNvSpPr>
              <a:spLocks noChangeArrowheads="1"/>
            </p:cNvSpPr>
            <p:nvPr/>
          </p:nvSpPr>
          <p:spPr bwMode="auto">
            <a:xfrm>
              <a:off x="9539288" y="995461"/>
              <a:ext cx="25400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0" name="Oval 20"/>
            <p:cNvSpPr>
              <a:spLocks noChangeArrowheads="1"/>
            </p:cNvSpPr>
            <p:nvPr/>
          </p:nvSpPr>
          <p:spPr bwMode="auto">
            <a:xfrm>
              <a:off x="9580563" y="811311"/>
              <a:ext cx="30162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1" name="Oval 21"/>
            <p:cNvSpPr>
              <a:spLocks noChangeArrowheads="1"/>
            </p:cNvSpPr>
            <p:nvPr/>
          </p:nvSpPr>
          <p:spPr bwMode="auto">
            <a:xfrm>
              <a:off x="9494838" y="1084361"/>
              <a:ext cx="25400" cy="26988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2" name="Oval 22"/>
            <p:cNvSpPr>
              <a:spLocks noChangeArrowheads="1"/>
            </p:cNvSpPr>
            <p:nvPr/>
          </p:nvSpPr>
          <p:spPr bwMode="auto">
            <a:xfrm>
              <a:off x="9299575" y="1084361"/>
              <a:ext cx="25400" cy="26988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3" name="Oval 23"/>
            <p:cNvSpPr>
              <a:spLocks noChangeArrowheads="1"/>
            </p:cNvSpPr>
            <p:nvPr/>
          </p:nvSpPr>
          <p:spPr bwMode="auto">
            <a:xfrm>
              <a:off x="9580563" y="1084361"/>
              <a:ext cx="30162" cy="26988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4" name="Oval 24"/>
            <p:cNvSpPr>
              <a:spLocks noChangeArrowheads="1"/>
            </p:cNvSpPr>
            <p:nvPr/>
          </p:nvSpPr>
          <p:spPr bwMode="auto">
            <a:xfrm>
              <a:off x="9539288" y="1084361"/>
              <a:ext cx="25400" cy="26988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5" name="Oval 25"/>
            <p:cNvSpPr>
              <a:spLocks noChangeArrowheads="1"/>
            </p:cNvSpPr>
            <p:nvPr/>
          </p:nvSpPr>
          <p:spPr bwMode="auto">
            <a:xfrm>
              <a:off x="9494838" y="995461"/>
              <a:ext cx="25400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6" name="Oval 26"/>
            <p:cNvSpPr>
              <a:spLocks noChangeArrowheads="1"/>
            </p:cNvSpPr>
            <p:nvPr/>
          </p:nvSpPr>
          <p:spPr bwMode="auto">
            <a:xfrm>
              <a:off x="9299575" y="995461"/>
              <a:ext cx="25400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107" name="Group 106"/>
          <p:cNvGrpSpPr>
            <a:grpSpLocks noChangeAspect="1"/>
          </p:cNvGrpSpPr>
          <p:nvPr/>
        </p:nvGrpSpPr>
        <p:grpSpPr>
          <a:xfrm>
            <a:off x="2447930" y="3171748"/>
            <a:ext cx="274320" cy="442140"/>
            <a:chOff x="9250369" y="754161"/>
            <a:chExt cx="404812" cy="652463"/>
          </a:xfrm>
          <a:solidFill>
            <a:schemeClr val="accent1"/>
          </a:solidFill>
        </p:grpSpPr>
        <p:sp>
          <p:nvSpPr>
            <p:cNvPr id="108" name="Freeform 6"/>
            <p:cNvSpPr>
              <a:spLocks noEditPoints="1"/>
            </p:cNvSpPr>
            <p:nvPr/>
          </p:nvSpPr>
          <p:spPr bwMode="auto">
            <a:xfrm>
              <a:off x="9250369" y="754161"/>
              <a:ext cx="404812" cy="652463"/>
            </a:xfrm>
            <a:custGeom>
              <a:avLst/>
              <a:gdLst>
                <a:gd name="T0" fmla="*/ 102 w 108"/>
                <a:gd name="T1" fmla="*/ 0 h 174"/>
                <a:gd name="T2" fmla="*/ 7 w 108"/>
                <a:gd name="T3" fmla="*/ 0 h 174"/>
                <a:gd name="T4" fmla="*/ 0 w 108"/>
                <a:gd name="T5" fmla="*/ 7 h 174"/>
                <a:gd name="T6" fmla="*/ 0 w 108"/>
                <a:gd name="T7" fmla="*/ 167 h 174"/>
                <a:gd name="T8" fmla="*/ 7 w 108"/>
                <a:gd name="T9" fmla="*/ 174 h 174"/>
                <a:gd name="T10" fmla="*/ 102 w 108"/>
                <a:gd name="T11" fmla="*/ 174 h 174"/>
                <a:gd name="T12" fmla="*/ 107 w 108"/>
                <a:gd name="T13" fmla="*/ 171 h 174"/>
                <a:gd name="T14" fmla="*/ 107 w 108"/>
                <a:gd name="T15" fmla="*/ 171 h 174"/>
                <a:gd name="T16" fmla="*/ 107 w 108"/>
                <a:gd name="T17" fmla="*/ 171 h 174"/>
                <a:gd name="T18" fmla="*/ 108 w 108"/>
                <a:gd name="T19" fmla="*/ 168 h 174"/>
                <a:gd name="T20" fmla="*/ 108 w 108"/>
                <a:gd name="T21" fmla="*/ 6 h 174"/>
                <a:gd name="T22" fmla="*/ 102 w 108"/>
                <a:gd name="T23" fmla="*/ 0 h 174"/>
                <a:gd name="T24" fmla="*/ 103 w 108"/>
                <a:gd name="T25" fmla="*/ 122 h 174"/>
                <a:gd name="T26" fmla="*/ 99 w 108"/>
                <a:gd name="T27" fmla="*/ 126 h 174"/>
                <a:gd name="T28" fmla="*/ 10 w 108"/>
                <a:gd name="T29" fmla="*/ 126 h 174"/>
                <a:gd name="T30" fmla="*/ 6 w 108"/>
                <a:gd name="T31" fmla="*/ 122 h 174"/>
                <a:gd name="T32" fmla="*/ 6 w 108"/>
                <a:gd name="T33" fmla="*/ 110 h 174"/>
                <a:gd name="T34" fmla="*/ 10 w 108"/>
                <a:gd name="T35" fmla="*/ 106 h 174"/>
                <a:gd name="T36" fmla="*/ 99 w 108"/>
                <a:gd name="T37" fmla="*/ 106 h 174"/>
                <a:gd name="T38" fmla="*/ 103 w 108"/>
                <a:gd name="T39" fmla="*/ 110 h 174"/>
                <a:gd name="T40" fmla="*/ 103 w 108"/>
                <a:gd name="T41" fmla="*/ 122 h 174"/>
                <a:gd name="T42" fmla="*/ 103 w 108"/>
                <a:gd name="T43" fmla="*/ 98 h 174"/>
                <a:gd name="T44" fmla="*/ 99 w 108"/>
                <a:gd name="T45" fmla="*/ 102 h 174"/>
                <a:gd name="T46" fmla="*/ 10 w 108"/>
                <a:gd name="T47" fmla="*/ 102 h 174"/>
                <a:gd name="T48" fmla="*/ 6 w 108"/>
                <a:gd name="T49" fmla="*/ 98 h 174"/>
                <a:gd name="T50" fmla="*/ 6 w 108"/>
                <a:gd name="T51" fmla="*/ 85 h 174"/>
                <a:gd name="T52" fmla="*/ 10 w 108"/>
                <a:gd name="T53" fmla="*/ 82 h 174"/>
                <a:gd name="T54" fmla="*/ 99 w 108"/>
                <a:gd name="T55" fmla="*/ 82 h 174"/>
                <a:gd name="T56" fmla="*/ 103 w 108"/>
                <a:gd name="T57" fmla="*/ 85 h 174"/>
                <a:gd name="T58" fmla="*/ 103 w 108"/>
                <a:gd name="T59" fmla="*/ 98 h 174"/>
                <a:gd name="T60" fmla="*/ 103 w 108"/>
                <a:gd name="T61" fmla="*/ 74 h 174"/>
                <a:gd name="T62" fmla="*/ 99 w 108"/>
                <a:gd name="T63" fmla="*/ 77 h 174"/>
                <a:gd name="T64" fmla="*/ 10 w 108"/>
                <a:gd name="T65" fmla="*/ 77 h 174"/>
                <a:gd name="T66" fmla="*/ 6 w 108"/>
                <a:gd name="T67" fmla="*/ 74 h 174"/>
                <a:gd name="T68" fmla="*/ 6 w 108"/>
                <a:gd name="T69" fmla="*/ 61 h 174"/>
                <a:gd name="T70" fmla="*/ 10 w 108"/>
                <a:gd name="T71" fmla="*/ 58 h 174"/>
                <a:gd name="T72" fmla="*/ 99 w 108"/>
                <a:gd name="T73" fmla="*/ 58 h 174"/>
                <a:gd name="T74" fmla="*/ 103 w 108"/>
                <a:gd name="T75" fmla="*/ 61 h 174"/>
                <a:gd name="T76" fmla="*/ 103 w 108"/>
                <a:gd name="T77" fmla="*/ 74 h 174"/>
                <a:gd name="T78" fmla="*/ 103 w 108"/>
                <a:gd name="T79" fmla="*/ 50 h 174"/>
                <a:gd name="T80" fmla="*/ 99 w 108"/>
                <a:gd name="T81" fmla="*/ 53 h 174"/>
                <a:gd name="T82" fmla="*/ 10 w 108"/>
                <a:gd name="T83" fmla="*/ 53 h 174"/>
                <a:gd name="T84" fmla="*/ 6 w 108"/>
                <a:gd name="T85" fmla="*/ 50 h 174"/>
                <a:gd name="T86" fmla="*/ 6 w 108"/>
                <a:gd name="T87" fmla="*/ 37 h 174"/>
                <a:gd name="T88" fmla="*/ 10 w 108"/>
                <a:gd name="T89" fmla="*/ 33 h 174"/>
                <a:gd name="T90" fmla="*/ 99 w 108"/>
                <a:gd name="T91" fmla="*/ 33 h 174"/>
                <a:gd name="T92" fmla="*/ 103 w 108"/>
                <a:gd name="T93" fmla="*/ 37 h 174"/>
                <a:gd name="T94" fmla="*/ 103 w 108"/>
                <a:gd name="T95" fmla="*/ 50 h 174"/>
                <a:gd name="T96" fmla="*/ 103 w 108"/>
                <a:gd name="T97" fmla="*/ 25 h 174"/>
                <a:gd name="T98" fmla="*/ 99 w 108"/>
                <a:gd name="T99" fmla="*/ 29 h 174"/>
                <a:gd name="T100" fmla="*/ 10 w 108"/>
                <a:gd name="T101" fmla="*/ 29 h 174"/>
                <a:gd name="T102" fmla="*/ 6 w 108"/>
                <a:gd name="T103" fmla="*/ 25 h 174"/>
                <a:gd name="T104" fmla="*/ 6 w 108"/>
                <a:gd name="T105" fmla="*/ 13 h 174"/>
                <a:gd name="T106" fmla="*/ 10 w 108"/>
                <a:gd name="T107" fmla="*/ 9 h 174"/>
                <a:gd name="T108" fmla="*/ 99 w 108"/>
                <a:gd name="T109" fmla="*/ 9 h 174"/>
                <a:gd name="T110" fmla="*/ 103 w 108"/>
                <a:gd name="T111" fmla="*/ 13 h 174"/>
                <a:gd name="T112" fmla="*/ 103 w 108"/>
                <a:gd name="T113" fmla="*/ 25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8" h="174">
                  <a:moveTo>
                    <a:pt x="102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1" y="3"/>
                    <a:pt x="0" y="7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1" y="171"/>
                    <a:pt x="3" y="174"/>
                    <a:pt x="7" y="174"/>
                  </a:cubicBezTo>
                  <a:cubicBezTo>
                    <a:pt x="102" y="174"/>
                    <a:pt x="102" y="174"/>
                    <a:pt x="102" y="174"/>
                  </a:cubicBezTo>
                  <a:cubicBezTo>
                    <a:pt x="104" y="174"/>
                    <a:pt x="106" y="173"/>
                    <a:pt x="107" y="171"/>
                  </a:cubicBezTo>
                  <a:cubicBezTo>
                    <a:pt x="107" y="171"/>
                    <a:pt x="107" y="171"/>
                    <a:pt x="107" y="171"/>
                  </a:cubicBezTo>
                  <a:cubicBezTo>
                    <a:pt x="107" y="171"/>
                    <a:pt x="107" y="171"/>
                    <a:pt x="107" y="171"/>
                  </a:cubicBezTo>
                  <a:cubicBezTo>
                    <a:pt x="108" y="170"/>
                    <a:pt x="108" y="169"/>
                    <a:pt x="108" y="168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8" y="3"/>
                    <a:pt x="105" y="0"/>
                    <a:pt x="102" y="0"/>
                  </a:cubicBezTo>
                  <a:close/>
                  <a:moveTo>
                    <a:pt x="103" y="122"/>
                  </a:moveTo>
                  <a:cubicBezTo>
                    <a:pt x="103" y="124"/>
                    <a:pt x="101" y="126"/>
                    <a:pt x="99" y="126"/>
                  </a:cubicBezTo>
                  <a:cubicBezTo>
                    <a:pt x="10" y="126"/>
                    <a:pt x="10" y="126"/>
                    <a:pt x="10" y="126"/>
                  </a:cubicBezTo>
                  <a:cubicBezTo>
                    <a:pt x="8" y="126"/>
                    <a:pt x="6" y="124"/>
                    <a:pt x="6" y="122"/>
                  </a:cubicBezTo>
                  <a:cubicBezTo>
                    <a:pt x="6" y="110"/>
                    <a:pt x="6" y="110"/>
                    <a:pt x="6" y="110"/>
                  </a:cubicBezTo>
                  <a:cubicBezTo>
                    <a:pt x="6" y="108"/>
                    <a:pt x="8" y="106"/>
                    <a:pt x="10" y="106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101" y="106"/>
                    <a:pt x="103" y="108"/>
                    <a:pt x="103" y="110"/>
                  </a:cubicBezTo>
                  <a:lnTo>
                    <a:pt x="103" y="122"/>
                  </a:lnTo>
                  <a:close/>
                  <a:moveTo>
                    <a:pt x="103" y="98"/>
                  </a:moveTo>
                  <a:cubicBezTo>
                    <a:pt x="103" y="100"/>
                    <a:pt x="101" y="102"/>
                    <a:pt x="99" y="102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8" y="102"/>
                    <a:pt x="6" y="100"/>
                    <a:pt x="6" y="98"/>
                  </a:cubicBezTo>
                  <a:cubicBezTo>
                    <a:pt x="6" y="85"/>
                    <a:pt x="6" y="85"/>
                    <a:pt x="6" y="85"/>
                  </a:cubicBezTo>
                  <a:cubicBezTo>
                    <a:pt x="6" y="83"/>
                    <a:pt x="8" y="82"/>
                    <a:pt x="10" y="82"/>
                  </a:cubicBezTo>
                  <a:cubicBezTo>
                    <a:pt x="99" y="82"/>
                    <a:pt x="99" y="82"/>
                    <a:pt x="99" y="82"/>
                  </a:cubicBezTo>
                  <a:cubicBezTo>
                    <a:pt x="101" y="82"/>
                    <a:pt x="103" y="83"/>
                    <a:pt x="103" y="85"/>
                  </a:cubicBezTo>
                  <a:lnTo>
                    <a:pt x="103" y="98"/>
                  </a:lnTo>
                  <a:close/>
                  <a:moveTo>
                    <a:pt x="103" y="74"/>
                  </a:moveTo>
                  <a:cubicBezTo>
                    <a:pt x="103" y="76"/>
                    <a:pt x="101" y="77"/>
                    <a:pt x="99" y="77"/>
                  </a:cubicBezTo>
                  <a:cubicBezTo>
                    <a:pt x="10" y="77"/>
                    <a:pt x="10" y="77"/>
                    <a:pt x="10" y="77"/>
                  </a:cubicBezTo>
                  <a:cubicBezTo>
                    <a:pt x="8" y="77"/>
                    <a:pt x="6" y="76"/>
                    <a:pt x="6" y="74"/>
                  </a:cubicBezTo>
                  <a:cubicBezTo>
                    <a:pt x="6" y="61"/>
                    <a:pt x="6" y="61"/>
                    <a:pt x="6" y="61"/>
                  </a:cubicBezTo>
                  <a:cubicBezTo>
                    <a:pt x="6" y="59"/>
                    <a:pt x="8" y="58"/>
                    <a:pt x="10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101" y="58"/>
                    <a:pt x="103" y="59"/>
                    <a:pt x="103" y="61"/>
                  </a:cubicBezTo>
                  <a:lnTo>
                    <a:pt x="103" y="74"/>
                  </a:lnTo>
                  <a:close/>
                  <a:moveTo>
                    <a:pt x="103" y="50"/>
                  </a:moveTo>
                  <a:cubicBezTo>
                    <a:pt x="103" y="52"/>
                    <a:pt x="101" y="53"/>
                    <a:pt x="99" y="53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8" y="53"/>
                    <a:pt x="6" y="52"/>
                    <a:pt x="6" y="50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6" y="35"/>
                    <a:pt x="8" y="33"/>
                    <a:pt x="10" y="33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101" y="33"/>
                    <a:pt x="103" y="35"/>
                    <a:pt x="103" y="37"/>
                  </a:cubicBezTo>
                  <a:lnTo>
                    <a:pt x="103" y="50"/>
                  </a:lnTo>
                  <a:close/>
                  <a:moveTo>
                    <a:pt x="103" y="25"/>
                  </a:moveTo>
                  <a:cubicBezTo>
                    <a:pt x="103" y="27"/>
                    <a:pt x="101" y="29"/>
                    <a:pt x="99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8" y="29"/>
                    <a:pt x="6" y="27"/>
                    <a:pt x="6" y="25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6" y="11"/>
                    <a:pt x="8" y="9"/>
                    <a:pt x="10" y="9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101" y="9"/>
                    <a:pt x="103" y="11"/>
                    <a:pt x="103" y="13"/>
                  </a:cubicBezTo>
                  <a:lnTo>
                    <a:pt x="103" y="2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9" name="Oval 7"/>
            <p:cNvSpPr>
              <a:spLocks noChangeArrowheads="1"/>
            </p:cNvSpPr>
            <p:nvPr/>
          </p:nvSpPr>
          <p:spPr bwMode="auto">
            <a:xfrm>
              <a:off x="9580563" y="1174849"/>
              <a:ext cx="30162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0" name="Oval 8"/>
            <p:cNvSpPr>
              <a:spLocks noChangeArrowheads="1"/>
            </p:cNvSpPr>
            <p:nvPr/>
          </p:nvSpPr>
          <p:spPr bwMode="auto">
            <a:xfrm>
              <a:off x="9494838" y="1174849"/>
              <a:ext cx="25400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1" name="Oval 9"/>
            <p:cNvSpPr>
              <a:spLocks noChangeArrowheads="1"/>
            </p:cNvSpPr>
            <p:nvPr/>
          </p:nvSpPr>
          <p:spPr bwMode="auto">
            <a:xfrm>
              <a:off x="9299575" y="1174849"/>
              <a:ext cx="25400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2" name="Oval 10"/>
            <p:cNvSpPr>
              <a:spLocks noChangeArrowheads="1"/>
            </p:cNvSpPr>
            <p:nvPr/>
          </p:nvSpPr>
          <p:spPr bwMode="auto">
            <a:xfrm>
              <a:off x="9539288" y="1174849"/>
              <a:ext cx="25400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3" name="Oval 11"/>
            <p:cNvSpPr>
              <a:spLocks noChangeArrowheads="1"/>
            </p:cNvSpPr>
            <p:nvPr/>
          </p:nvSpPr>
          <p:spPr bwMode="auto">
            <a:xfrm>
              <a:off x="9494838" y="811311"/>
              <a:ext cx="25400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4" name="Oval 12"/>
            <p:cNvSpPr>
              <a:spLocks noChangeArrowheads="1"/>
            </p:cNvSpPr>
            <p:nvPr/>
          </p:nvSpPr>
          <p:spPr bwMode="auto">
            <a:xfrm>
              <a:off x="9539288" y="811311"/>
              <a:ext cx="25400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5" name="Oval 13"/>
            <p:cNvSpPr>
              <a:spLocks noChangeArrowheads="1"/>
            </p:cNvSpPr>
            <p:nvPr/>
          </p:nvSpPr>
          <p:spPr bwMode="auto">
            <a:xfrm>
              <a:off x="9299575" y="904974"/>
              <a:ext cx="25400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6" name="Oval 14"/>
            <p:cNvSpPr>
              <a:spLocks noChangeArrowheads="1"/>
            </p:cNvSpPr>
            <p:nvPr/>
          </p:nvSpPr>
          <p:spPr bwMode="auto">
            <a:xfrm>
              <a:off x="9580563" y="995461"/>
              <a:ext cx="30162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7" name="Oval 15"/>
            <p:cNvSpPr>
              <a:spLocks noChangeArrowheads="1"/>
            </p:cNvSpPr>
            <p:nvPr/>
          </p:nvSpPr>
          <p:spPr bwMode="auto">
            <a:xfrm>
              <a:off x="9539288" y="904974"/>
              <a:ext cx="25400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8" name="Oval 16"/>
            <p:cNvSpPr>
              <a:spLocks noChangeArrowheads="1"/>
            </p:cNvSpPr>
            <p:nvPr/>
          </p:nvSpPr>
          <p:spPr bwMode="auto">
            <a:xfrm>
              <a:off x="9299575" y="811311"/>
              <a:ext cx="25400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9" name="Oval 17"/>
            <p:cNvSpPr>
              <a:spLocks noChangeArrowheads="1"/>
            </p:cNvSpPr>
            <p:nvPr/>
          </p:nvSpPr>
          <p:spPr bwMode="auto">
            <a:xfrm>
              <a:off x="9494838" y="904974"/>
              <a:ext cx="25400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0" name="Oval 18"/>
            <p:cNvSpPr>
              <a:spLocks noChangeArrowheads="1"/>
            </p:cNvSpPr>
            <p:nvPr/>
          </p:nvSpPr>
          <p:spPr bwMode="auto">
            <a:xfrm>
              <a:off x="9580563" y="904974"/>
              <a:ext cx="30162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1" name="Oval 19"/>
            <p:cNvSpPr>
              <a:spLocks noChangeArrowheads="1"/>
            </p:cNvSpPr>
            <p:nvPr/>
          </p:nvSpPr>
          <p:spPr bwMode="auto">
            <a:xfrm>
              <a:off x="9539288" y="995461"/>
              <a:ext cx="25400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2" name="Oval 20"/>
            <p:cNvSpPr>
              <a:spLocks noChangeArrowheads="1"/>
            </p:cNvSpPr>
            <p:nvPr/>
          </p:nvSpPr>
          <p:spPr bwMode="auto">
            <a:xfrm>
              <a:off x="9580563" y="811311"/>
              <a:ext cx="30162" cy="30163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3" name="Oval 21"/>
            <p:cNvSpPr>
              <a:spLocks noChangeArrowheads="1"/>
            </p:cNvSpPr>
            <p:nvPr/>
          </p:nvSpPr>
          <p:spPr bwMode="auto">
            <a:xfrm>
              <a:off x="9494838" y="1084361"/>
              <a:ext cx="25400" cy="26988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4" name="Oval 22"/>
            <p:cNvSpPr>
              <a:spLocks noChangeArrowheads="1"/>
            </p:cNvSpPr>
            <p:nvPr/>
          </p:nvSpPr>
          <p:spPr bwMode="auto">
            <a:xfrm>
              <a:off x="9299575" y="1084361"/>
              <a:ext cx="25400" cy="26988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5" name="Oval 23"/>
            <p:cNvSpPr>
              <a:spLocks noChangeArrowheads="1"/>
            </p:cNvSpPr>
            <p:nvPr/>
          </p:nvSpPr>
          <p:spPr bwMode="auto">
            <a:xfrm>
              <a:off x="9580563" y="1084361"/>
              <a:ext cx="30162" cy="26988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6" name="Oval 24"/>
            <p:cNvSpPr>
              <a:spLocks noChangeArrowheads="1"/>
            </p:cNvSpPr>
            <p:nvPr/>
          </p:nvSpPr>
          <p:spPr bwMode="auto">
            <a:xfrm>
              <a:off x="9539288" y="1084361"/>
              <a:ext cx="25400" cy="26988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7" name="Oval 25"/>
            <p:cNvSpPr>
              <a:spLocks noChangeArrowheads="1"/>
            </p:cNvSpPr>
            <p:nvPr/>
          </p:nvSpPr>
          <p:spPr bwMode="auto">
            <a:xfrm>
              <a:off x="9494838" y="995461"/>
              <a:ext cx="25400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8" name="Oval 26"/>
            <p:cNvSpPr>
              <a:spLocks noChangeArrowheads="1"/>
            </p:cNvSpPr>
            <p:nvPr/>
          </p:nvSpPr>
          <p:spPr bwMode="auto">
            <a:xfrm>
              <a:off x="9299575" y="995461"/>
              <a:ext cx="25400" cy="25400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132" name="Group 131"/>
          <p:cNvGrpSpPr/>
          <p:nvPr/>
        </p:nvGrpSpPr>
        <p:grpSpPr>
          <a:xfrm>
            <a:off x="748748" y="1376008"/>
            <a:ext cx="322331" cy="320040"/>
            <a:chOff x="1185268" y="3730263"/>
            <a:chExt cx="322331" cy="320040"/>
          </a:xfrm>
        </p:grpSpPr>
        <p:sp>
          <p:nvSpPr>
            <p:cNvPr id="133" name="Rounded Rectangle 132"/>
            <p:cNvSpPr/>
            <p:nvPr/>
          </p:nvSpPr>
          <p:spPr bwMode="auto">
            <a:xfrm>
              <a:off x="1185268" y="3730263"/>
              <a:ext cx="322331" cy="320040"/>
            </a:xfrm>
            <a:prstGeom prst="roundRect">
              <a:avLst>
                <a:gd name="adj" fmla="val 4802"/>
              </a:avLst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sz="600" kern="0" dirty="0" err="1">
                <a:solidFill>
                  <a:srgbClr val="2968AF">
                    <a:lumMod val="50000"/>
                  </a:srgbClr>
                </a:solidFill>
                <a:latin typeface="Arial"/>
                <a:sym typeface="Arial" pitchFamily="-107" charset="0"/>
              </a:endParaRPr>
            </a:p>
          </p:txBody>
        </p:sp>
        <p:grpSp>
          <p:nvGrpSpPr>
            <p:cNvPr id="134" name="Group 603"/>
            <p:cNvGrpSpPr>
              <a:grpSpLocks noChangeAspect="1"/>
            </p:cNvGrpSpPr>
            <p:nvPr/>
          </p:nvGrpSpPr>
          <p:grpSpPr bwMode="auto">
            <a:xfrm>
              <a:off x="1254993" y="3760871"/>
              <a:ext cx="182880" cy="262545"/>
              <a:chOff x="6556" y="492"/>
              <a:chExt cx="2551" cy="3655"/>
            </a:xfrm>
            <a:solidFill>
              <a:schemeClr val="accent1"/>
            </a:solidFill>
            <a:effectLst/>
          </p:grpSpPr>
          <p:sp>
            <p:nvSpPr>
              <p:cNvPr id="135" name="Freeform 579"/>
              <p:cNvSpPr>
                <a:spLocks/>
              </p:cNvSpPr>
              <p:nvPr/>
            </p:nvSpPr>
            <p:spPr bwMode="auto">
              <a:xfrm>
                <a:off x="7671" y="537"/>
                <a:ext cx="272" cy="132"/>
              </a:xfrm>
              <a:custGeom>
                <a:avLst/>
                <a:gdLst>
                  <a:gd name="T0" fmla="*/ 32 w 115"/>
                  <a:gd name="T1" fmla="*/ 0 h 56"/>
                  <a:gd name="T2" fmla="*/ 72 w 115"/>
                  <a:gd name="T3" fmla="*/ 0 h 56"/>
                  <a:gd name="T4" fmla="*/ 0 w 115"/>
                  <a:gd name="T5" fmla="*/ 24 h 56"/>
                  <a:gd name="T6" fmla="*/ 32 w 115"/>
                  <a:gd name="T7" fmla="*/ 0 h 5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5"/>
                  <a:gd name="T13" fmla="*/ 0 h 56"/>
                  <a:gd name="T14" fmla="*/ 115 w 115"/>
                  <a:gd name="T15" fmla="*/ 56 h 5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5" h="56">
                    <a:moveTo>
                      <a:pt x="32" y="0"/>
                    </a:moveTo>
                    <a:cubicBezTo>
                      <a:pt x="45" y="0"/>
                      <a:pt x="59" y="0"/>
                      <a:pt x="72" y="0"/>
                    </a:cubicBezTo>
                    <a:cubicBezTo>
                      <a:pt x="115" y="34"/>
                      <a:pt x="15" y="56"/>
                      <a:pt x="0" y="24"/>
                    </a:cubicBezTo>
                    <a:cubicBezTo>
                      <a:pt x="0" y="5"/>
                      <a:pt x="22" y="8"/>
                      <a:pt x="32" y="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rtlCol="0" anchor="ctr"/>
              <a:lstStyle/>
              <a:p>
                <a:pPr algn="ctr" defTabSz="456706"/>
                <a:endParaRPr lang="en-US" kern="0" dirty="0">
                  <a:solidFill>
                    <a:srgbClr val="2968AF">
                      <a:lumMod val="50000"/>
                    </a:srgbClr>
                  </a:solidFill>
                  <a:latin typeface="Arial"/>
                </a:endParaRPr>
              </a:p>
            </p:txBody>
          </p:sp>
          <p:sp>
            <p:nvSpPr>
              <p:cNvPr id="136" name="Freeform 580"/>
              <p:cNvSpPr>
                <a:spLocks/>
              </p:cNvSpPr>
              <p:nvPr/>
            </p:nvSpPr>
            <p:spPr bwMode="auto">
              <a:xfrm>
                <a:off x="7274" y="492"/>
                <a:ext cx="1304" cy="489"/>
              </a:xfrm>
              <a:custGeom>
                <a:avLst/>
                <a:gdLst>
                  <a:gd name="T0" fmla="*/ 376 w 552"/>
                  <a:gd name="T1" fmla="*/ 75 h 207"/>
                  <a:gd name="T2" fmla="*/ 308 w 552"/>
                  <a:gd name="T3" fmla="*/ 79 h 207"/>
                  <a:gd name="T4" fmla="*/ 452 w 552"/>
                  <a:gd name="T5" fmla="*/ 123 h 207"/>
                  <a:gd name="T6" fmla="*/ 552 w 552"/>
                  <a:gd name="T7" fmla="*/ 207 h 207"/>
                  <a:gd name="T8" fmla="*/ 428 w 552"/>
                  <a:gd name="T9" fmla="*/ 155 h 207"/>
                  <a:gd name="T10" fmla="*/ 200 w 552"/>
                  <a:gd name="T11" fmla="*/ 127 h 207"/>
                  <a:gd name="T12" fmla="*/ 124 w 552"/>
                  <a:gd name="T13" fmla="*/ 111 h 207"/>
                  <a:gd name="T14" fmla="*/ 0 w 552"/>
                  <a:gd name="T15" fmla="*/ 131 h 207"/>
                  <a:gd name="T16" fmla="*/ 224 w 552"/>
                  <a:gd name="T17" fmla="*/ 71 h 207"/>
                  <a:gd name="T18" fmla="*/ 376 w 552"/>
                  <a:gd name="T19" fmla="*/ 75 h 20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52"/>
                  <a:gd name="T31" fmla="*/ 0 h 207"/>
                  <a:gd name="T32" fmla="*/ 552 w 552"/>
                  <a:gd name="T33" fmla="*/ 207 h 20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52" h="207">
                    <a:moveTo>
                      <a:pt x="376" y="75"/>
                    </a:moveTo>
                    <a:cubicBezTo>
                      <a:pt x="349" y="75"/>
                      <a:pt x="328" y="67"/>
                      <a:pt x="308" y="79"/>
                    </a:cubicBezTo>
                    <a:cubicBezTo>
                      <a:pt x="347" y="104"/>
                      <a:pt x="405" y="105"/>
                      <a:pt x="452" y="123"/>
                    </a:cubicBezTo>
                    <a:cubicBezTo>
                      <a:pt x="494" y="139"/>
                      <a:pt x="548" y="155"/>
                      <a:pt x="552" y="207"/>
                    </a:cubicBezTo>
                    <a:cubicBezTo>
                      <a:pt x="510" y="197"/>
                      <a:pt x="473" y="171"/>
                      <a:pt x="428" y="155"/>
                    </a:cubicBezTo>
                    <a:cubicBezTo>
                      <a:pt x="359" y="130"/>
                      <a:pt x="295" y="137"/>
                      <a:pt x="200" y="127"/>
                    </a:cubicBezTo>
                    <a:cubicBezTo>
                      <a:pt x="174" y="124"/>
                      <a:pt x="150" y="111"/>
                      <a:pt x="124" y="111"/>
                    </a:cubicBezTo>
                    <a:cubicBezTo>
                      <a:pt x="77" y="112"/>
                      <a:pt x="41" y="154"/>
                      <a:pt x="0" y="131"/>
                    </a:cubicBezTo>
                    <a:cubicBezTo>
                      <a:pt x="17" y="48"/>
                      <a:pt x="142" y="83"/>
                      <a:pt x="224" y="71"/>
                    </a:cubicBezTo>
                    <a:cubicBezTo>
                      <a:pt x="275" y="64"/>
                      <a:pt x="359" y="0"/>
                      <a:pt x="376" y="75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rtlCol="0" anchor="ctr"/>
              <a:lstStyle/>
              <a:p>
                <a:pPr algn="ctr" defTabSz="456706"/>
                <a:endParaRPr lang="en-US" kern="0" dirty="0">
                  <a:solidFill>
                    <a:srgbClr val="2968AF">
                      <a:lumMod val="50000"/>
                    </a:srgbClr>
                  </a:solidFill>
                  <a:latin typeface="Arial"/>
                </a:endParaRPr>
              </a:p>
            </p:txBody>
          </p:sp>
          <p:sp>
            <p:nvSpPr>
              <p:cNvPr id="137" name="Freeform 581"/>
              <p:cNvSpPr>
                <a:spLocks/>
              </p:cNvSpPr>
              <p:nvPr/>
            </p:nvSpPr>
            <p:spPr bwMode="auto">
              <a:xfrm>
                <a:off x="8229" y="601"/>
                <a:ext cx="203" cy="175"/>
              </a:xfrm>
              <a:custGeom>
                <a:avLst/>
                <a:gdLst>
                  <a:gd name="T0" fmla="*/ 80 w 86"/>
                  <a:gd name="T1" fmla="*/ 65 h 74"/>
                  <a:gd name="T2" fmla="*/ 0 w 86"/>
                  <a:gd name="T3" fmla="*/ 41 h 74"/>
                  <a:gd name="T4" fmla="*/ 80 w 86"/>
                  <a:gd name="T5" fmla="*/ 65 h 74"/>
                  <a:gd name="T6" fmla="*/ 0 60000 65536"/>
                  <a:gd name="T7" fmla="*/ 0 60000 65536"/>
                  <a:gd name="T8" fmla="*/ 0 60000 65536"/>
                  <a:gd name="T9" fmla="*/ 0 w 86"/>
                  <a:gd name="T10" fmla="*/ 0 h 74"/>
                  <a:gd name="T11" fmla="*/ 86 w 86"/>
                  <a:gd name="T12" fmla="*/ 74 h 7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6" h="74">
                    <a:moveTo>
                      <a:pt x="80" y="65"/>
                    </a:moveTo>
                    <a:cubicBezTo>
                      <a:pt x="52" y="74"/>
                      <a:pt x="18" y="55"/>
                      <a:pt x="0" y="41"/>
                    </a:cubicBezTo>
                    <a:cubicBezTo>
                      <a:pt x="8" y="0"/>
                      <a:pt x="86" y="28"/>
                      <a:pt x="80" y="65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rtlCol="0" anchor="ctr"/>
              <a:lstStyle/>
              <a:p>
                <a:pPr algn="ctr" defTabSz="456706"/>
                <a:endParaRPr lang="en-US" kern="0" dirty="0">
                  <a:solidFill>
                    <a:srgbClr val="2968AF">
                      <a:lumMod val="50000"/>
                    </a:srgbClr>
                  </a:solidFill>
                  <a:latin typeface="Arial"/>
                </a:endParaRPr>
              </a:p>
            </p:txBody>
          </p:sp>
          <p:sp>
            <p:nvSpPr>
              <p:cNvPr id="138" name="Freeform 582"/>
              <p:cNvSpPr>
                <a:spLocks/>
              </p:cNvSpPr>
              <p:nvPr/>
            </p:nvSpPr>
            <p:spPr bwMode="auto">
              <a:xfrm>
                <a:off x="6842" y="792"/>
                <a:ext cx="2154" cy="1030"/>
              </a:xfrm>
              <a:custGeom>
                <a:avLst/>
                <a:gdLst>
                  <a:gd name="T0" fmla="*/ 895 w 912"/>
                  <a:gd name="T1" fmla="*/ 436 h 436"/>
                  <a:gd name="T2" fmla="*/ 831 w 912"/>
                  <a:gd name="T3" fmla="*/ 336 h 436"/>
                  <a:gd name="T4" fmla="*/ 759 w 912"/>
                  <a:gd name="T5" fmla="*/ 248 h 436"/>
                  <a:gd name="T6" fmla="*/ 747 w 912"/>
                  <a:gd name="T7" fmla="*/ 184 h 436"/>
                  <a:gd name="T8" fmla="*/ 491 w 912"/>
                  <a:gd name="T9" fmla="*/ 64 h 436"/>
                  <a:gd name="T10" fmla="*/ 295 w 912"/>
                  <a:gd name="T11" fmla="*/ 44 h 436"/>
                  <a:gd name="T12" fmla="*/ 479 w 912"/>
                  <a:gd name="T13" fmla="*/ 84 h 436"/>
                  <a:gd name="T14" fmla="*/ 727 w 912"/>
                  <a:gd name="T15" fmla="*/ 220 h 436"/>
                  <a:gd name="T16" fmla="*/ 471 w 912"/>
                  <a:gd name="T17" fmla="*/ 120 h 436"/>
                  <a:gd name="T18" fmla="*/ 363 w 912"/>
                  <a:gd name="T19" fmla="*/ 120 h 436"/>
                  <a:gd name="T20" fmla="*/ 275 w 912"/>
                  <a:gd name="T21" fmla="*/ 92 h 436"/>
                  <a:gd name="T22" fmla="*/ 7 w 912"/>
                  <a:gd name="T23" fmla="*/ 216 h 436"/>
                  <a:gd name="T24" fmla="*/ 99 w 912"/>
                  <a:gd name="T25" fmla="*/ 132 h 436"/>
                  <a:gd name="T26" fmla="*/ 251 w 912"/>
                  <a:gd name="T27" fmla="*/ 24 h 436"/>
                  <a:gd name="T28" fmla="*/ 387 w 912"/>
                  <a:gd name="T29" fmla="*/ 24 h 436"/>
                  <a:gd name="T30" fmla="*/ 503 w 912"/>
                  <a:gd name="T31" fmla="*/ 28 h 436"/>
                  <a:gd name="T32" fmla="*/ 779 w 912"/>
                  <a:gd name="T33" fmla="*/ 148 h 436"/>
                  <a:gd name="T34" fmla="*/ 803 w 912"/>
                  <a:gd name="T35" fmla="*/ 228 h 436"/>
                  <a:gd name="T36" fmla="*/ 847 w 912"/>
                  <a:gd name="T37" fmla="*/ 276 h 436"/>
                  <a:gd name="T38" fmla="*/ 895 w 912"/>
                  <a:gd name="T39" fmla="*/ 436 h 4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912"/>
                  <a:gd name="T61" fmla="*/ 0 h 436"/>
                  <a:gd name="T62" fmla="*/ 912 w 912"/>
                  <a:gd name="T63" fmla="*/ 436 h 4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912" h="436">
                    <a:moveTo>
                      <a:pt x="895" y="436"/>
                    </a:moveTo>
                    <a:cubicBezTo>
                      <a:pt x="864" y="406"/>
                      <a:pt x="854" y="371"/>
                      <a:pt x="831" y="336"/>
                    </a:cubicBezTo>
                    <a:cubicBezTo>
                      <a:pt x="811" y="305"/>
                      <a:pt x="772" y="280"/>
                      <a:pt x="759" y="248"/>
                    </a:cubicBezTo>
                    <a:cubicBezTo>
                      <a:pt x="752" y="230"/>
                      <a:pt x="756" y="204"/>
                      <a:pt x="747" y="184"/>
                    </a:cubicBezTo>
                    <a:cubicBezTo>
                      <a:pt x="721" y="123"/>
                      <a:pt x="586" y="71"/>
                      <a:pt x="491" y="64"/>
                    </a:cubicBezTo>
                    <a:cubicBezTo>
                      <a:pt x="413" y="58"/>
                      <a:pt x="362" y="58"/>
                      <a:pt x="295" y="44"/>
                    </a:cubicBezTo>
                    <a:cubicBezTo>
                      <a:pt x="321" y="92"/>
                      <a:pt x="409" y="79"/>
                      <a:pt x="479" y="84"/>
                    </a:cubicBezTo>
                    <a:cubicBezTo>
                      <a:pt x="591" y="92"/>
                      <a:pt x="712" y="133"/>
                      <a:pt x="727" y="220"/>
                    </a:cubicBezTo>
                    <a:cubicBezTo>
                      <a:pt x="646" y="185"/>
                      <a:pt x="577" y="128"/>
                      <a:pt x="471" y="120"/>
                    </a:cubicBezTo>
                    <a:cubicBezTo>
                      <a:pt x="437" y="117"/>
                      <a:pt x="399" y="124"/>
                      <a:pt x="363" y="120"/>
                    </a:cubicBezTo>
                    <a:cubicBezTo>
                      <a:pt x="333" y="116"/>
                      <a:pt x="305" y="94"/>
                      <a:pt x="275" y="92"/>
                    </a:cubicBezTo>
                    <a:cubicBezTo>
                      <a:pt x="165" y="84"/>
                      <a:pt x="112" y="218"/>
                      <a:pt x="7" y="216"/>
                    </a:cubicBezTo>
                    <a:cubicBezTo>
                      <a:pt x="0" y="168"/>
                      <a:pt x="63" y="154"/>
                      <a:pt x="99" y="132"/>
                    </a:cubicBezTo>
                    <a:cubicBezTo>
                      <a:pt x="142" y="106"/>
                      <a:pt x="199" y="55"/>
                      <a:pt x="251" y="24"/>
                    </a:cubicBezTo>
                    <a:cubicBezTo>
                      <a:pt x="292" y="0"/>
                      <a:pt x="338" y="16"/>
                      <a:pt x="387" y="24"/>
                    </a:cubicBezTo>
                    <a:cubicBezTo>
                      <a:pt x="425" y="30"/>
                      <a:pt x="464" y="25"/>
                      <a:pt x="503" y="28"/>
                    </a:cubicBezTo>
                    <a:cubicBezTo>
                      <a:pt x="592" y="34"/>
                      <a:pt x="736" y="87"/>
                      <a:pt x="779" y="148"/>
                    </a:cubicBezTo>
                    <a:cubicBezTo>
                      <a:pt x="796" y="173"/>
                      <a:pt x="793" y="202"/>
                      <a:pt x="803" y="228"/>
                    </a:cubicBezTo>
                    <a:cubicBezTo>
                      <a:pt x="811" y="248"/>
                      <a:pt x="831" y="256"/>
                      <a:pt x="847" y="276"/>
                    </a:cubicBezTo>
                    <a:cubicBezTo>
                      <a:pt x="880" y="315"/>
                      <a:pt x="912" y="375"/>
                      <a:pt x="895" y="436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rtlCol="0" anchor="ctr"/>
              <a:lstStyle/>
              <a:p>
                <a:pPr algn="ctr" defTabSz="456706"/>
                <a:endParaRPr lang="en-US" kern="0" dirty="0">
                  <a:solidFill>
                    <a:srgbClr val="2968AF">
                      <a:lumMod val="50000"/>
                    </a:srgbClr>
                  </a:solidFill>
                  <a:latin typeface="Arial"/>
                </a:endParaRPr>
              </a:p>
            </p:txBody>
          </p:sp>
          <p:sp>
            <p:nvSpPr>
              <p:cNvPr id="139" name="Freeform 583"/>
              <p:cNvSpPr>
                <a:spLocks/>
              </p:cNvSpPr>
              <p:nvPr/>
            </p:nvSpPr>
            <p:spPr bwMode="auto">
              <a:xfrm>
                <a:off x="7010" y="844"/>
                <a:ext cx="255" cy="194"/>
              </a:xfrm>
              <a:custGeom>
                <a:avLst/>
                <a:gdLst>
                  <a:gd name="T0" fmla="*/ 108 w 108"/>
                  <a:gd name="T1" fmla="*/ 10 h 82"/>
                  <a:gd name="T2" fmla="*/ 0 w 108"/>
                  <a:gd name="T3" fmla="*/ 82 h 82"/>
                  <a:gd name="T4" fmla="*/ 108 w 108"/>
                  <a:gd name="T5" fmla="*/ 10 h 82"/>
                  <a:gd name="T6" fmla="*/ 0 60000 65536"/>
                  <a:gd name="T7" fmla="*/ 0 60000 65536"/>
                  <a:gd name="T8" fmla="*/ 0 60000 65536"/>
                  <a:gd name="T9" fmla="*/ 0 w 108"/>
                  <a:gd name="T10" fmla="*/ 0 h 82"/>
                  <a:gd name="T11" fmla="*/ 108 w 108"/>
                  <a:gd name="T12" fmla="*/ 82 h 8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08" h="82">
                    <a:moveTo>
                      <a:pt x="108" y="10"/>
                    </a:moveTo>
                    <a:cubicBezTo>
                      <a:pt x="93" y="53"/>
                      <a:pt x="43" y="81"/>
                      <a:pt x="0" y="82"/>
                    </a:cubicBezTo>
                    <a:cubicBezTo>
                      <a:pt x="14" y="38"/>
                      <a:pt x="53" y="0"/>
                      <a:pt x="108" y="1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rtlCol="0" anchor="ctr"/>
              <a:lstStyle/>
              <a:p>
                <a:pPr algn="ctr" defTabSz="456706"/>
                <a:endParaRPr lang="en-US" kern="0" dirty="0">
                  <a:solidFill>
                    <a:srgbClr val="2968AF">
                      <a:lumMod val="50000"/>
                    </a:srgbClr>
                  </a:solidFill>
                  <a:latin typeface="Arial"/>
                </a:endParaRPr>
              </a:p>
            </p:txBody>
          </p:sp>
          <p:sp>
            <p:nvSpPr>
              <p:cNvPr id="140" name="Freeform 584"/>
              <p:cNvSpPr>
                <a:spLocks/>
              </p:cNvSpPr>
              <p:nvPr/>
            </p:nvSpPr>
            <p:spPr bwMode="auto">
              <a:xfrm>
                <a:off x="6632" y="1010"/>
                <a:ext cx="916" cy="859"/>
              </a:xfrm>
              <a:custGeom>
                <a:avLst/>
                <a:gdLst>
                  <a:gd name="T0" fmla="*/ 388 w 388"/>
                  <a:gd name="T1" fmla="*/ 36 h 364"/>
                  <a:gd name="T2" fmla="*/ 220 w 388"/>
                  <a:gd name="T3" fmla="*/ 148 h 364"/>
                  <a:gd name="T4" fmla="*/ 192 w 388"/>
                  <a:gd name="T5" fmla="*/ 200 h 364"/>
                  <a:gd name="T6" fmla="*/ 96 w 388"/>
                  <a:gd name="T7" fmla="*/ 276 h 364"/>
                  <a:gd name="T8" fmla="*/ 12 w 388"/>
                  <a:gd name="T9" fmla="*/ 364 h 364"/>
                  <a:gd name="T10" fmla="*/ 88 w 388"/>
                  <a:gd name="T11" fmla="*/ 232 h 364"/>
                  <a:gd name="T12" fmla="*/ 160 w 388"/>
                  <a:gd name="T13" fmla="*/ 184 h 364"/>
                  <a:gd name="T14" fmla="*/ 208 w 388"/>
                  <a:gd name="T15" fmla="*/ 104 h 364"/>
                  <a:gd name="T16" fmla="*/ 388 w 388"/>
                  <a:gd name="T17" fmla="*/ 36 h 36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88"/>
                  <a:gd name="T28" fmla="*/ 0 h 364"/>
                  <a:gd name="T29" fmla="*/ 388 w 388"/>
                  <a:gd name="T30" fmla="*/ 364 h 36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88" h="364">
                    <a:moveTo>
                      <a:pt x="388" y="36"/>
                    </a:moveTo>
                    <a:cubicBezTo>
                      <a:pt x="327" y="76"/>
                      <a:pt x="262" y="93"/>
                      <a:pt x="220" y="148"/>
                    </a:cubicBezTo>
                    <a:cubicBezTo>
                      <a:pt x="208" y="164"/>
                      <a:pt x="205" y="185"/>
                      <a:pt x="192" y="200"/>
                    </a:cubicBezTo>
                    <a:cubicBezTo>
                      <a:pt x="166" y="229"/>
                      <a:pt x="126" y="246"/>
                      <a:pt x="96" y="276"/>
                    </a:cubicBezTo>
                    <a:cubicBezTo>
                      <a:pt x="66" y="306"/>
                      <a:pt x="53" y="347"/>
                      <a:pt x="12" y="364"/>
                    </a:cubicBezTo>
                    <a:cubicBezTo>
                      <a:pt x="0" y="307"/>
                      <a:pt x="48" y="268"/>
                      <a:pt x="88" y="232"/>
                    </a:cubicBezTo>
                    <a:cubicBezTo>
                      <a:pt x="110" y="212"/>
                      <a:pt x="142" y="202"/>
                      <a:pt x="160" y="184"/>
                    </a:cubicBezTo>
                    <a:cubicBezTo>
                      <a:pt x="179" y="165"/>
                      <a:pt x="187" y="127"/>
                      <a:pt x="208" y="104"/>
                    </a:cubicBezTo>
                    <a:cubicBezTo>
                      <a:pt x="245" y="65"/>
                      <a:pt x="341" y="0"/>
                      <a:pt x="388" y="36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rtlCol="0" anchor="ctr"/>
              <a:lstStyle/>
              <a:p>
                <a:pPr algn="ctr" defTabSz="456706"/>
                <a:endParaRPr lang="en-US" kern="0" dirty="0">
                  <a:solidFill>
                    <a:srgbClr val="2968AF">
                      <a:lumMod val="50000"/>
                    </a:srgbClr>
                  </a:solidFill>
                  <a:latin typeface="Arial"/>
                </a:endParaRPr>
              </a:p>
            </p:txBody>
          </p:sp>
          <p:sp>
            <p:nvSpPr>
              <p:cNvPr id="141" name="Freeform 585"/>
              <p:cNvSpPr>
                <a:spLocks/>
              </p:cNvSpPr>
              <p:nvPr/>
            </p:nvSpPr>
            <p:spPr bwMode="auto">
              <a:xfrm>
                <a:off x="7189" y="1090"/>
                <a:ext cx="1918" cy="1885"/>
              </a:xfrm>
              <a:custGeom>
                <a:avLst/>
                <a:gdLst>
                  <a:gd name="T0" fmla="*/ 812 w 812"/>
                  <a:gd name="T1" fmla="*/ 598 h 798"/>
                  <a:gd name="T2" fmla="*/ 812 w 812"/>
                  <a:gd name="T3" fmla="*/ 682 h 798"/>
                  <a:gd name="T4" fmla="*/ 760 w 812"/>
                  <a:gd name="T5" fmla="*/ 798 h 798"/>
                  <a:gd name="T6" fmla="*/ 772 w 812"/>
                  <a:gd name="T7" fmla="*/ 590 h 798"/>
                  <a:gd name="T8" fmla="*/ 576 w 812"/>
                  <a:gd name="T9" fmla="*/ 182 h 798"/>
                  <a:gd name="T10" fmla="*/ 100 w 812"/>
                  <a:gd name="T11" fmla="*/ 94 h 798"/>
                  <a:gd name="T12" fmla="*/ 0 w 812"/>
                  <a:gd name="T13" fmla="*/ 154 h 798"/>
                  <a:gd name="T14" fmla="*/ 112 w 812"/>
                  <a:gd name="T15" fmla="*/ 50 h 798"/>
                  <a:gd name="T16" fmla="*/ 364 w 812"/>
                  <a:gd name="T17" fmla="*/ 22 h 798"/>
                  <a:gd name="T18" fmla="*/ 812 w 812"/>
                  <a:gd name="T19" fmla="*/ 598 h 79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812"/>
                  <a:gd name="T31" fmla="*/ 0 h 798"/>
                  <a:gd name="T32" fmla="*/ 812 w 812"/>
                  <a:gd name="T33" fmla="*/ 798 h 79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812" h="798">
                    <a:moveTo>
                      <a:pt x="812" y="598"/>
                    </a:moveTo>
                    <a:cubicBezTo>
                      <a:pt x="812" y="626"/>
                      <a:pt x="812" y="654"/>
                      <a:pt x="812" y="682"/>
                    </a:cubicBezTo>
                    <a:cubicBezTo>
                      <a:pt x="796" y="722"/>
                      <a:pt x="801" y="783"/>
                      <a:pt x="760" y="798"/>
                    </a:cubicBezTo>
                    <a:cubicBezTo>
                      <a:pt x="757" y="729"/>
                      <a:pt x="777" y="659"/>
                      <a:pt x="772" y="590"/>
                    </a:cubicBezTo>
                    <a:cubicBezTo>
                      <a:pt x="760" y="437"/>
                      <a:pt x="656" y="264"/>
                      <a:pt x="576" y="182"/>
                    </a:cubicBezTo>
                    <a:cubicBezTo>
                      <a:pt x="477" y="80"/>
                      <a:pt x="267" y="0"/>
                      <a:pt x="100" y="94"/>
                    </a:cubicBezTo>
                    <a:cubicBezTo>
                      <a:pt x="64" y="114"/>
                      <a:pt x="48" y="161"/>
                      <a:pt x="0" y="154"/>
                    </a:cubicBezTo>
                    <a:cubicBezTo>
                      <a:pt x="13" y="101"/>
                      <a:pt x="67" y="72"/>
                      <a:pt x="112" y="50"/>
                    </a:cubicBezTo>
                    <a:cubicBezTo>
                      <a:pt x="181" y="17"/>
                      <a:pt x="283" y="3"/>
                      <a:pt x="364" y="22"/>
                    </a:cubicBezTo>
                    <a:cubicBezTo>
                      <a:pt x="614" y="81"/>
                      <a:pt x="776" y="324"/>
                      <a:pt x="812" y="598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rtlCol="0" anchor="ctr"/>
              <a:lstStyle/>
              <a:p>
                <a:pPr algn="ctr" defTabSz="456706"/>
                <a:endParaRPr lang="en-US" kern="0" dirty="0">
                  <a:solidFill>
                    <a:srgbClr val="2968AF">
                      <a:lumMod val="50000"/>
                    </a:srgbClr>
                  </a:solidFill>
                  <a:latin typeface="Arial"/>
                </a:endParaRPr>
              </a:p>
            </p:txBody>
          </p:sp>
          <p:sp>
            <p:nvSpPr>
              <p:cNvPr id="142" name="Freeform 586"/>
              <p:cNvSpPr>
                <a:spLocks/>
              </p:cNvSpPr>
              <p:nvPr/>
            </p:nvSpPr>
            <p:spPr bwMode="auto">
              <a:xfrm>
                <a:off x="6556" y="1267"/>
                <a:ext cx="2407" cy="1623"/>
              </a:xfrm>
              <a:custGeom>
                <a:avLst/>
                <a:gdLst>
                  <a:gd name="T0" fmla="*/ 0 w 1019"/>
                  <a:gd name="T1" fmla="*/ 467 h 687"/>
                  <a:gd name="T2" fmla="*/ 0 w 1019"/>
                  <a:gd name="T3" fmla="*/ 435 h 687"/>
                  <a:gd name="T4" fmla="*/ 220 w 1019"/>
                  <a:gd name="T5" fmla="*/ 131 h 687"/>
                  <a:gd name="T6" fmla="*/ 296 w 1019"/>
                  <a:gd name="T7" fmla="*/ 103 h 687"/>
                  <a:gd name="T8" fmla="*/ 380 w 1019"/>
                  <a:gd name="T9" fmla="*/ 43 h 687"/>
                  <a:gd name="T10" fmla="*/ 588 w 1019"/>
                  <a:gd name="T11" fmla="*/ 3 h 687"/>
                  <a:gd name="T12" fmla="*/ 844 w 1019"/>
                  <a:gd name="T13" fmla="*/ 143 h 687"/>
                  <a:gd name="T14" fmla="*/ 1012 w 1019"/>
                  <a:gd name="T15" fmla="*/ 551 h 687"/>
                  <a:gd name="T16" fmla="*/ 976 w 1019"/>
                  <a:gd name="T17" fmla="*/ 687 h 687"/>
                  <a:gd name="T18" fmla="*/ 968 w 1019"/>
                  <a:gd name="T19" fmla="*/ 539 h 687"/>
                  <a:gd name="T20" fmla="*/ 820 w 1019"/>
                  <a:gd name="T21" fmla="*/ 187 h 687"/>
                  <a:gd name="T22" fmla="*/ 412 w 1019"/>
                  <a:gd name="T23" fmla="*/ 75 h 687"/>
                  <a:gd name="T24" fmla="*/ 304 w 1019"/>
                  <a:gd name="T25" fmla="*/ 151 h 687"/>
                  <a:gd name="T26" fmla="*/ 232 w 1019"/>
                  <a:gd name="T27" fmla="*/ 171 h 687"/>
                  <a:gd name="T28" fmla="*/ 68 w 1019"/>
                  <a:gd name="T29" fmla="*/ 371 h 687"/>
                  <a:gd name="T30" fmla="*/ 0 w 1019"/>
                  <a:gd name="T31" fmla="*/ 467 h 68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019"/>
                  <a:gd name="T49" fmla="*/ 0 h 687"/>
                  <a:gd name="T50" fmla="*/ 1019 w 1019"/>
                  <a:gd name="T51" fmla="*/ 687 h 687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019" h="687">
                    <a:moveTo>
                      <a:pt x="0" y="467"/>
                    </a:moveTo>
                    <a:cubicBezTo>
                      <a:pt x="0" y="456"/>
                      <a:pt x="0" y="446"/>
                      <a:pt x="0" y="435"/>
                    </a:cubicBezTo>
                    <a:cubicBezTo>
                      <a:pt x="35" y="319"/>
                      <a:pt x="123" y="178"/>
                      <a:pt x="220" y="131"/>
                    </a:cubicBezTo>
                    <a:cubicBezTo>
                      <a:pt x="245" y="119"/>
                      <a:pt x="272" y="115"/>
                      <a:pt x="296" y="103"/>
                    </a:cubicBezTo>
                    <a:cubicBezTo>
                      <a:pt x="329" y="86"/>
                      <a:pt x="354" y="58"/>
                      <a:pt x="380" y="43"/>
                    </a:cubicBezTo>
                    <a:cubicBezTo>
                      <a:pt x="432" y="14"/>
                      <a:pt x="497" y="0"/>
                      <a:pt x="588" y="3"/>
                    </a:cubicBezTo>
                    <a:cubicBezTo>
                      <a:pt x="693" y="7"/>
                      <a:pt x="788" y="78"/>
                      <a:pt x="844" y="143"/>
                    </a:cubicBezTo>
                    <a:cubicBezTo>
                      <a:pt x="930" y="242"/>
                      <a:pt x="1012" y="387"/>
                      <a:pt x="1012" y="551"/>
                    </a:cubicBezTo>
                    <a:cubicBezTo>
                      <a:pt x="1012" y="598"/>
                      <a:pt x="1019" y="653"/>
                      <a:pt x="976" y="687"/>
                    </a:cubicBezTo>
                    <a:cubicBezTo>
                      <a:pt x="955" y="635"/>
                      <a:pt x="970" y="584"/>
                      <a:pt x="968" y="539"/>
                    </a:cubicBezTo>
                    <a:cubicBezTo>
                      <a:pt x="961" y="392"/>
                      <a:pt x="890" y="271"/>
                      <a:pt x="820" y="187"/>
                    </a:cubicBezTo>
                    <a:cubicBezTo>
                      <a:pt x="740" y="91"/>
                      <a:pt x="571" y="0"/>
                      <a:pt x="412" y="75"/>
                    </a:cubicBezTo>
                    <a:cubicBezTo>
                      <a:pt x="373" y="93"/>
                      <a:pt x="347" y="132"/>
                      <a:pt x="304" y="151"/>
                    </a:cubicBezTo>
                    <a:cubicBezTo>
                      <a:pt x="283" y="160"/>
                      <a:pt x="256" y="159"/>
                      <a:pt x="232" y="171"/>
                    </a:cubicBezTo>
                    <a:cubicBezTo>
                      <a:pt x="156" y="208"/>
                      <a:pt x="102" y="300"/>
                      <a:pt x="68" y="371"/>
                    </a:cubicBezTo>
                    <a:cubicBezTo>
                      <a:pt x="52" y="406"/>
                      <a:pt x="34" y="484"/>
                      <a:pt x="0" y="467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rtlCol="0" anchor="ctr"/>
              <a:lstStyle/>
              <a:p>
                <a:pPr algn="ctr" defTabSz="456706"/>
                <a:endParaRPr lang="en-US" kern="0" dirty="0">
                  <a:solidFill>
                    <a:srgbClr val="2968AF">
                      <a:lumMod val="50000"/>
                    </a:srgbClr>
                  </a:solidFill>
                  <a:latin typeface="Arial"/>
                </a:endParaRPr>
              </a:p>
            </p:txBody>
          </p:sp>
          <p:sp>
            <p:nvSpPr>
              <p:cNvPr id="143" name="Freeform 587"/>
              <p:cNvSpPr>
                <a:spLocks/>
              </p:cNvSpPr>
              <p:nvPr/>
            </p:nvSpPr>
            <p:spPr bwMode="auto">
              <a:xfrm>
                <a:off x="6752" y="1312"/>
                <a:ext cx="258" cy="236"/>
              </a:xfrm>
              <a:custGeom>
                <a:avLst/>
                <a:gdLst>
                  <a:gd name="T0" fmla="*/ 109 w 109"/>
                  <a:gd name="T1" fmla="*/ 0 h 100"/>
                  <a:gd name="T2" fmla="*/ 1 w 109"/>
                  <a:gd name="T3" fmla="*/ 100 h 100"/>
                  <a:gd name="T4" fmla="*/ 109 w 109"/>
                  <a:gd name="T5" fmla="*/ 0 h 100"/>
                  <a:gd name="T6" fmla="*/ 0 60000 65536"/>
                  <a:gd name="T7" fmla="*/ 0 60000 65536"/>
                  <a:gd name="T8" fmla="*/ 0 60000 65536"/>
                  <a:gd name="T9" fmla="*/ 0 w 109"/>
                  <a:gd name="T10" fmla="*/ 0 h 100"/>
                  <a:gd name="T11" fmla="*/ 109 w 109"/>
                  <a:gd name="T12" fmla="*/ 100 h 1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09" h="100">
                    <a:moveTo>
                      <a:pt x="109" y="0"/>
                    </a:moveTo>
                    <a:cubicBezTo>
                      <a:pt x="102" y="62"/>
                      <a:pt x="47" y="77"/>
                      <a:pt x="1" y="100"/>
                    </a:cubicBezTo>
                    <a:cubicBezTo>
                      <a:pt x="0" y="45"/>
                      <a:pt x="52" y="10"/>
                      <a:pt x="109" y="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rtlCol="0" anchor="ctr"/>
              <a:lstStyle/>
              <a:p>
                <a:pPr algn="ctr" defTabSz="456706"/>
                <a:endParaRPr lang="en-US" kern="0" dirty="0">
                  <a:solidFill>
                    <a:srgbClr val="2968AF">
                      <a:lumMod val="50000"/>
                    </a:srgbClr>
                  </a:solidFill>
                  <a:latin typeface="Arial"/>
                </a:endParaRPr>
              </a:p>
            </p:txBody>
          </p:sp>
          <p:sp>
            <p:nvSpPr>
              <p:cNvPr id="144" name="Freeform 588"/>
              <p:cNvSpPr>
                <a:spLocks/>
              </p:cNvSpPr>
              <p:nvPr/>
            </p:nvSpPr>
            <p:spPr bwMode="auto">
              <a:xfrm>
                <a:off x="6589" y="1432"/>
                <a:ext cx="1970" cy="2488"/>
              </a:xfrm>
              <a:custGeom>
                <a:avLst/>
                <a:gdLst>
                  <a:gd name="T0" fmla="*/ 386 w 834"/>
                  <a:gd name="T1" fmla="*/ 105 h 1053"/>
                  <a:gd name="T2" fmla="*/ 470 w 834"/>
                  <a:gd name="T3" fmla="*/ 85 h 1053"/>
                  <a:gd name="T4" fmla="*/ 834 w 834"/>
                  <a:gd name="T5" fmla="*/ 397 h 1053"/>
                  <a:gd name="T6" fmla="*/ 830 w 834"/>
                  <a:gd name="T7" fmla="*/ 429 h 1053"/>
                  <a:gd name="T8" fmla="*/ 694 w 834"/>
                  <a:gd name="T9" fmla="*/ 869 h 1053"/>
                  <a:gd name="T10" fmla="*/ 542 w 834"/>
                  <a:gd name="T11" fmla="*/ 937 h 1053"/>
                  <a:gd name="T12" fmla="*/ 434 w 834"/>
                  <a:gd name="T13" fmla="*/ 1001 h 1053"/>
                  <a:gd name="T14" fmla="*/ 302 w 834"/>
                  <a:gd name="T15" fmla="*/ 1021 h 1053"/>
                  <a:gd name="T16" fmla="*/ 222 w 834"/>
                  <a:gd name="T17" fmla="*/ 1045 h 1053"/>
                  <a:gd name="T18" fmla="*/ 390 w 834"/>
                  <a:gd name="T19" fmla="*/ 965 h 1053"/>
                  <a:gd name="T20" fmla="*/ 690 w 834"/>
                  <a:gd name="T21" fmla="*/ 625 h 1053"/>
                  <a:gd name="T22" fmla="*/ 714 w 834"/>
                  <a:gd name="T23" fmla="*/ 521 h 1053"/>
                  <a:gd name="T24" fmla="*/ 722 w 834"/>
                  <a:gd name="T25" fmla="*/ 653 h 1053"/>
                  <a:gd name="T26" fmla="*/ 622 w 834"/>
                  <a:gd name="T27" fmla="*/ 861 h 1053"/>
                  <a:gd name="T28" fmla="*/ 766 w 834"/>
                  <a:gd name="T29" fmla="*/ 529 h 1053"/>
                  <a:gd name="T30" fmla="*/ 778 w 834"/>
                  <a:gd name="T31" fmla="*/ 361 h 1053"/>
                  <a:gd name="T32" fmla="*/ 522 w 834"/>
                  <a:gd name="T33" fmla="*/ 133 h 1053"/>
                  <a:gd name="T34" fmla="*/ 326 w 834"/>
                  <a:gd name="T35" fmla="*/ 205 h 1053"/>
                  <a:gd name="T36" fmla="*/ 202 w 834"/>
                  <a:gd name="T37" fmla="*/ 321 h 1053"/>
                  <a:gd name="T38" fmla="*/ 114 w 834"/>
                  <a:gd name="T39" fmla="*/ 505 h 1053"/>
                  <a:gd name="T40" fmla="*/ 18 w 834"/>
                  <a:gd name="T41" fmla="*/ 645 h 1053"/>
                  <a:gd name="T42" fmla="*/ 78 w 834"/>
                  <a:gd name="T43" fmla="*/ 477 h 1053"/>
                  <a:gd name="T44" fmla="*/ 150 w 834"/>
                  <a:gd name="T45" fmla="*/ 309 h 1053"/>
                  <a:gd name="T46" fmla="*/ 266 w 834"/>
                  <a:gd name="T47" fmla="*/ 185 h 1053"/>
                  <a:gd name="T48" fmla="*/ 502 w 834"/>
                  <a:gd name="T49" fmla="*/ 5 h 1053"/>
                  <a:gd name="T50" fmla="*/ 574 w 834"/>
                  <a:gd name="T51" fmla="*/ 25 h 1053"/>
                  <a:gd name="T52" fmla="*/ 470 w 834"/>
                  <a:gd name="T53" fmla="*/ 57 h 1053"/>
                  <a:gd name="T54" fmla="*/ 386 w 834"/>
                  <a:gd name="T55" fmla="*/ 105 h 1053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834"/>
                  <a:gd name="T85" fmla="*/ 0 h 1053"/>
                  <a:gd name="T86" fmla="*/ 834 w 834"/>
                  <a:gd name="T87" fmla="*/ 1053 h 1053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834" h="1053">
                    <a:moveTo>
                      <a:pt x="386" y="105"/>
                    </a:moveTo>
                    <a:cubicBezTo>
                      <a:pt x="419" y="107"/>
                      <a:pt x="441" y="88"/>
                      <a:pt x="470" y="85"/>
                    </a:cubicBezTo>
                    <a:cubicBezTo>
                      <a:pt x="658" y="63"/>
                      <a:pt x="834" y="235"/>
                      <a:pt x="834" y="397"/>
                    </a:cubicBezTo>
                    <a:cubicBezTo>
                      <a:pt x="834" y="407"/>
                      <a:pt x="832" y="420"/>
                      <a:pt x="830" y="429"/>
                    </a:cubicBezTo>
                    <a:cubicBezTo>
                      <a:pt x="792" y="614"/>
                      <a:pt x="805" y="765"/>
                      <a:pt x="694" y="869"/>
                    </a:cubicBezTo>
                    <a:cubicBezTo>
                      <a:pt x="652" y="909"/>
                      <a:pt x="601" y="916"/>
                      <a:pt x="542" y="937"/>
                    </a:cubicBezTo>
                    <a:cubicBezTo>
                      <a:pt x="502" y="951"/>
                      <a:pt x="477" y="984"/>
                      <a:pt x="434" y="1001"/>
                    </a:cubicBezTo>
                    <a:cubicBezTo>
                      <a:pt x="395" y="1017"/>
                      <a:pt x="348" y="1010"/>
                      <a:pt x="302" y="1021"/>
                    </a:cubicBezTo>
                    <a:cubicBezTo>
                      <a:pt x="278" y="1027"/>
                      <a:pt x="256" y="1053"/>
                      <a:pt x="222" y="1045"/>
                    </a:cubicBezTo>
                    <a:cubicBezTo>
                      <a:pt x="220" y="972"/>
                      <a:pt x="328" y="988"/>
                      <a:pt x="390" y="965"/>
                    </a:cubicBezTo>
                    <a:cubicBezTo>
                      <a:pt x="533" y="914"/>
                      <a:pt x="657" y="786"/>
                      <a:pt x="690" y="625"/>
                    </a:cubicBezTo>
                    <a:cubicBezTo>
                      <a:pt x="697" y="593"/>
                      <a:pt x="685" y="552"/>
                      <a:pt x="714" y="521"/>
                    </a:cubicBezTo>
                    <a:cubicBezTo>
                      <a:pt x="764" y="541"/>
                      <a:pt x="733" y="611"/>
                      <a:pt x="722" y="653"/>
                    </a:cubicBezTo>
                    <a:cubicBezTo>
                      <a:pt x="700" y="737"/>
                      <a:pt x="671" y="808"/>
                      <a:pt x="622" y="861"/>
                    </a:cubicBezTo>
                    <a:cubicBezTo>
                      <a:pt x="735" y="819"/>
                      <a:pt x="755" y="678"/>
                      <a:pt x="766" y="529"/>
                    </a:cubicBezTo>
                    <a:cubicBezTo>
                      <a:pt x="771" y="467"/>
                      <a:pt x="790" y="414"/>
                      <a:pt x="778" y="361"/>
                    </a:cubicBezTo>
                    <a:cubicBezTo>
                      <a:pt x="753" y="251"/>
                      <a:pt x="651" y="135"/>
                      <a:pt x="522" y="133"/>
                    </a:cubicBezTo>
                    <a:cubicBezTo>
                      <a:pt x="442" y="132"/>
                      <a:pt x="378" y="164"/>
                      <a:pt x="326" y="205"/>
                    </a:cubicBezTo>
                    <a:cubicBezTo>
                      <a:pt x="288" y="236"/>
                      <a:pt x="235" y="283"/>
                      <a:pt x="202" y="321"/>
                    </a:cubicBezTo>
                    <a:cubicBezTo>
                      <a:pt x="166" y="363"/>
                      <a:pt x="144" y="445"/>
                      <a:pt x="114" y="505"/>
                    </a:cubicBezTo>
                    <a:cubicBezTo>
                      <a:pt x="89" y="556"/>
                      <a:pt x="74" y="622"/>
                      <a:pt x="18" y="645"/>
                    </a:cubicBezTo>
                    <a:cubicBezTo>
                      <a:pt x="0" y="588"/>
                      <a:pt x="50" y="534"/>
                      <a:pt x="78" y="477"/>
                    </a:cubicBezTo>
                    <a:cubicBezTo>
                      <a:pt x="104" y="424"/>
                      <a:pt x="119" y="359"/>
                      <a:pt x="150" y="309"/>
                    </a:cubicBezTo>
                    <a:cubicBezTo>
                      <a:pt x="177" y="264"/>
                      <a:pt x="229" y="225"/>
                      <a:pt x="266" y="185"/>
                    </a:cubicBezTo>
                    <a:cubicBezTo>
                      <a:pt x="341" y="106"/>
                      <a:pt x="369" y="17"/>
                      <a:pt x="502" y="5"/>
                    </a:cubicBezTo>
                    <a:cubicBezTo>
                      <a:pt x="524" y="3"/>
                      <a:pt x="572" y="0"/>
                      <a:pt x="574" y="25"/>
                    </a:cubicBezTo>
                    <a:cubicBezTo>
                      <a:pt x="577" y="58"/>
                      <a:pt x="501" y="50"/>
                      <a:pt x="470" y="57"/>
                    </a:cubicBezTo>
                    <a:cubicBezTo>
                      <a:pt x="435" y="65"/>
                      <a:pt x="401" y="77"/>
                      <a:pt x="386" y="105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rtlCol="0" anchor="ctr"/>
              <a:lstStyle/>
              <a:p>
                <a:pPr algn="ctr" defTabSz="456706"/>
                <a:endParaRPr lang="en-US" kern="0" dirty="0">
                  <a:solidFill>
                    <a:srgbClr val="2968AF">
                      <a:lumMod val="50000"/>
                    </a:srgbClr>
                  </a:solidFill>
                  <a:latin typeface="Arial"/>
                </a:endParaRPr>
              </a:p>
            </p:txBody>
          </p:sp>
          <p:sp>
            <p:nvSpPr>
              <p:cNvPr id="145" name="Freeform 589"/>
              <p:cNvSpPr>
                <a:spLocks/>
              </p:cNvSpPr>
              <p:nvPr/>
            </p:nvSpPr>
            <p:spPr bwMode="auto">
              <a:xfrm>
                <a:off x="7983" y="1435"/>
                <a:ext cx="817" cy="1455"/>
              </a:xfrm>
              <a:custGeom>
                <a:avLst/>
                <a:gdLst>
                  <a:gd name="T0" fmla="*/ 304 w 346"/>
                  <a:gd name="T1" fmla="*/ 616 h 616"/>
                  <a:gd name="T2" fmla="*/ 300 w 346"/>
                  <a:gd name="T3" fmla="*/ 464 h 616"/>
                  <a:gd name="T4" fmla="*/ 280 w 346"/>
                  <a:gd name="T5" fmla="*/ 412 h 616"/>
                  <a:gd name="T6" fmla="*/ 232 w 346"/>
                  <a:gd name="T7" fmla="*/ 260 h 616"/>
                  <a:gd name="T8" fmla="*/ 80 w 346"/>
                  <a:gd name="T9" fmla="*/ 92 h 616"/>
                  <a:gd name="T10" fmla="*/ 0 w 346"/>
                  <a:gd name="T11" fmla="*/ 32 h 616"/>
                  <a:gd name="T12" fmla="*/ 200 w 346"/>
                  <a:gd name="T13" fmla="*/ 132 h 616"/>
                  <a:gd name="T14" fmla="*/ 340 w 346"/>
                  <a:gd name="T15" fmla="*/ 448 h 616"/>
                  <a:gd name="T16" fmla="*/ 304 w 346"/>
                  <a:gd name="T17" fmla="*/ 616 h 61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46"/>
                  <a:gd name="T28" fmla="*/ 0 h 616"/>
                  <a:gd name="T29" fmla="*/ 346 w 346"/>
                  <a:gd name="T30" fmla="*/ 616 h 61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46" h="616">
                    <a:moveTo>
                      <a:pt x="304" y="616"/>
                    </a:moveTo>
                    <a:cubicBezTo>
                      <a:pt x="276" y="580"/>
                      <a:pt x="309" y="515"/>
                      <a:pt x="300" y="464"/>
                    </a:cubicBezTo>
                    <a:cubicBezTo>
                      <a:pt x="297" y="445"/>
                      <a:pt x="285" y="430"/>
                      <a:pt x="280" y="412"/>
                    </a:cubicBezTo>
                    <a:cubicBezTo>
                      <a:pt x="264" y="354"/>
                      <a:pt x="258" y="308"/>
                      <a:pt x="232" y="260"/>
                    </a:cubicBezTo>
                    <a:cubicBezTo>
                      <a:pt x="197" y="196"/>
                      <a:pt x="138" y="127"/>
                      <a:pt x="80" y="92"/>
                    </a:cubicBezTo>
                    <a:cubicBezTo>
                      <a:pt x="53" y="76"/>
                      <a:pt x="6" y="77"/>
                      <a:pt x="0" y="32"/>
                    </a:cubicBezTo>
                    <a:cubicBezTo>
                      <a:pt x="46" y="0"/>
                      <a:pt x="161" y="84"/>
                      <a:pt x="200" y="132"/>
                    </a:cubicBezTo>
                    <a:cubicBezTo>
                      <a:pt x="269" y="217"/>
                      <a:pt x="332" y="346"/>
                      <a:pt x="340" y="448"/>
                    </a:cubicBezTo>
                    <a:cubicBezTo>
                      <a:pt x="345" y="509"/>
                      <a:pt x="346" y="588"/>
                      <a:pt x="304" y="616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rtlCol="0" anchor="ctr"/>
              <a:lstStyle/>
              <a:p>
                <a:pPr algn="ctr" defTabSz="456706"/>
                <a:endParaRPr lang="en-US" kern="0" dirty="0">
                  <a:solidFill>
                    <a:srgbClr val="2968AF">
                      <a:lumMod val="50000"/>
                    </a:srgbClr>
                  </a:solidFill>
                  <a:latin typeface="Arial"/>
                </a:endParaRPr>
              </a:p>
            </p:txBody>
          </p:sp>
          <p:sp>
            <p:nvSpPr>
              <p:cNvPr id="146" name="Freeform 590"/>
              <p:cNvSpPr>
                <a:spLocks/>
              </p:cNvSpPr>
              <p:nvPr/>
            </p:nvSpPr>
            <p:spPr bwMode="auto">
              <a:xfrm>
                <a:off x="6585" y="1680"/>
                <a:ext cx="663" cy="993"/>
              </a:xfrm>
              <a:custGeom>
                <a:avLst/>
                <a:gdLst>
                  <a:gd name="T0" fmla="*/ 276 w 281"/>
                  <a:gd name="T1" fmla="*/ 0 h 420"/>
                  <a:gd name="T2" fmla="*/ 184 w 281"/>
                  <a:gd name="T3" fmla="*/ 116 h 420"/>
                  <a:gd name="T4" fmla="*/ 100 w 281"/>
                  <a:gd name="T5" fmla="*/ 244 h 420"/>
                  <a:gd name="T6" fmla="*/ 8 w 281"/>
                  <a:gd name="T7" fmla="*/ 420 h 420"/>
                  <a:gd name="T8" fmla="*/ 48 w 281"/>
                  <a:gd name="T9" fmla="*/ 268 h 420"/>
                  <a:gd name="T10" fmla="*/ 108 w 281"/>
                  <a:gd name="T11" fmla="*/ 128 h 420"/>
                  <a:gd name="T12" fmla="*/ 268 w 281"/>
                  <a:gd name="T13" fmla="*/ 0 h 420"/>
                  <a:gd name="T14" fmla="*/ 276 w 281"/>
                  <a:gd name="T15" fmla="*/ 0 h 4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81"/>
                  <a:gd name="T25" fmla="*/ 0 h 420"/>
                  <a:gd name="T26" fmla="*/ 281 w 281"/>
                  <a:gd name="T27" fmla="*/ 420 h 4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81" h="420">
                    <a:moveTo>
                      <a:pt x="276" y="0"/>
                    </a:moveTo>
                    <a:cubicBezTo>
                      <a:pt x="281" y="60"/>
                      <a:pt x="217" y="82"/>
                      <a:pt x="184" y="116"/>
                    </a:cubicBezTo>
                    <a:cubicBezTo>
                      <a:pt x="151" y="150"/>
                      <a:pt x="120" y="196"/>
                      <a:pt x="100" y="244"/>
                    </a:cubicBezTo>
                    <a:cubicBezTo>
                      <a:pt x="74" y="306"/>
                      <a:pt x="67" y="380"/>
                      <a:pt x="8" y="420"/>
                    </a:cubicBezTo>
                    <a:cubicBezTo>
                      <a:pt x="0" y="366"/>
                      <a:pt x="29" y="315"/>
                      <a:pt x="48" y="268"/>
                    </a:cubicBezTo>
                    <a:cubicBezTo>
                      <a:pt x="67" y="221"/>
                      <a:pt x="83" y="167"/>
                      <a:pt x="108" y="128"/>
                    </a:cubicBezTo>
                    <a:cubicBezTo>
                      <a:pt x="139" y="81"/>
                      <a:pt x="220" y="27"/>
                      <a:pt x="268" y="0"/>
                    </a:cubicBezTo>
                    <a:cubicBezTo>
                      <a:pt x="271" y="0"/>
                      <a:pt x="273" y="0"/>
                      <a:pt x="276" y="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rtlCol="0" anchor="ctr"/>
              <a:lstStyle/>
              <a:p>
                <a:pPr algn="ctr" defTabSz="456706"/>
                <a:endParaRPr lang="en-US" kern="0" dirty="0">
                  <a:solidFill>
                    <a:srgbClr val="2968AF">
                      <a:lumMod val="50000"/>
                    </a:srgbClr>
                  </a:solidFill>
                  <a:latin typeface="Arial"/>
                </a:endParaRPr>
              </a:p>
            </p:txBody>
          </p:sp>
          <p:sp>
            <p:nvSpPr>
              <p:cNvPr id="147" name="Freeform 591"/>
              <p:cNvSpPr>
                <a:spLocks/>
              </p:cNvSpPr>
              <p:nvPr/>
            </p:nvSpPr>
            <p:spPr bwMode="auto">
              <a:xfrm>
                <a:off x="6792" y="1758"/>
                <a:ext cx="1637" cy="1961"/>
              </a:xfrm>
              <a:custGeom>
                <a:avLst/>
                <a:gdLst>
                  <a:gd name="T0" fmla="*/ 632 w 693"/>
                  <a:gd name="T1" fmla="*/ 363 h 830"/>
                  <a:gd name="T2" fmla="*/ 444 w 693"/>
                  <a:gd name="T3" fmla="*/ 79 h 830"/>
                  <a:gd name="T4" fmla="*/ 260 w 693"/>
                  <a:gd name="T5" fmla="*/ 151 h 830"/>
                  <a:gd name="T6" fmla="*/ 232 w 693"/>
                  <a:gd name="T7" fmla="*/ 187 h 830"/>
                  <a:gd name="T8" fmla="*/ 168 w 693"/>
                  <a:gd name="T9" fmla="*/ 263 h 830"/>
                  <a:gd name="T10" fmla="*/ 524 w 693"/>
                  <a:gd name="T11" fmla="*/ 131 h 830"/>
                  <a:gd name="T12" fmla="*/ 544 w 693"/>
                  <a:gd name="T13" fmla="*/ 571 h 830"/>
                  <a:gd name="T14" fmla="*/ 376 w 693"/>
                  <a:gd name="T15" fmla="*/ 763 h 830"/>
                  <a:gd name="T16" fmla="*/ 304 w 693"/>
                  <a:gd name="T17" fmla="*/ 795 h 830"/>
                  <a:gd name="T18" fmla="*/ 236 w 693"/>
                  <a:gd name="T19" fmla="*/ 819 h 830"/>
                  <a:gd name="T20" fmla="*/ 384 w 693"/>
                  <a:gd name="T21" fmla="*/ 703 h 830"/>
                  <a:gd name="T22" fmla="*/ 528 w 693"/>
                  <a:gd name="T23" fmla="*/ 415 h 830"/>
                  <a:gd name="T24" fmla="*/ 520 w 693"/>
                  <a:gd name="T25" fmla="*/ 191 h 830"/>
                  <a:gd name="T26" fmla="*/ 340 w 693"/>
                  <a:gd name="T27" fmla="*/ 167 h 830"/>
                  <a:gd name="T28" fmla="*/ 260 w 693"/>
                  <a:gd name="T29" fmla="*/ 255 h 830"/>
                  <a:gd name="T30" fmla="*/ 200 w 693"/>
                  <a:gd name="T31" fmla="*/ 307 h 830"/>
                  <a:gd name="T32" fmla="*/ 184 w 693"/>
                  <a:gd name="T33" fmla="*/ 431 h 830"/>
                  <a:gd name="T34" fmla="*/ 116 w 693"/>
                  <a:gd name="T35" fmla="*/ 571 h 830"/>
                  <a:gd name="T36" fmla="*/ 0 w 693"/>
                  <a:gd name="T37" fmla="*/ 651 h 830"/>
                  <a:gd name="T38" fmla="*/ 84 w 693"/>
                  <a:gd name="T39" fmla="*/ 527 h 830"/>
                  <a:gd name="T40" fmla="*/ 124 w 693"/>
                  <a:gd name="T41" fmla="*/ 355 h 830"/>
                  <a:gd name="T42" fmla="*/ 124 w 693"/>
                  <a:gd name="T43" fmla="*/ 223 h 830"/>
                  <a:gd name="T44" fmla="*/ 248 w 693"/>
                  <a:gd name="T45" fmla="*/ 103 h 830"/>
                  <a:gd name="T46" fmla="*/ 644 w 693"/>
                  <a:gd name="T47" fmla="*/ 171 h 830"/>
                  <a:gd name="T48" fmla="*/ 632 w 693"/>
                  <a:gd name="T49" fmla="*/ 363 h 83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693"/>
                  <a:gd name="T76" fmla="*/ 0 h 830"/>
                  <a:gd name="T77" fmla="*/ 693 w 693"/>
                  <a:gd name="T78" fmla="*/ 830 h 83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693" h="830">
                    <a:moveTo>
                      <a:pt x="632" y="363"/>
                    </a:moveTo>
                    <a:cubicBezTo>
                      <a:pt x="628" y="214"/>
                      <a:pt x="580" y="83"/>
                      <a:pt x="444" y="79"/>
                    </a:cubicBezTo>
                    <a:cubicBezTo>
                      <a:pt x="376" y="77"/>
                      <a:pt x="304" y="110"/>
                      <a:pt x="260" y="151"/>
                    </a:cubicBezTo>
                    <a:cubicBezTo>
                      <a:pt x="249" y="161"/>
                      <a:pt x="244" y="175"/>
                      <a:pt x="232" y="187"/>
                    </a:cubicBezTo>
                    <a:cubicBezTo>
                      <a:pt x="209" y="209"/>
                      <a:pt x="160" y="222"/>
                      <a:pt x="168" y="263"/>
                    </a:cubicBezTo>
                    <a:cubicBezTo>
                      <a:pt x="253" y="221"/>
                      <a:pt x="372" y="31"/>
                      <a:pt x="524" y="131"/>
                    </a:cubicBezTo>
                    <a:cubicBezTo>
                      <a:pt x="621" y="195"/>
                      <a:pt x="594" y="461"/>
                      <a:pt x="544" y="571"/>
                    </a:cubicBezTo>
                    <a:cubicBezTo>
                      <a:pt x="509" y="649"/>
                      <a:pt x="440" y="726"/>
                      <a:pt x="376" y="763"/>
                    </a:cubicBezTo>
                    <a:cubicBezTo>
                      <a:pt x="354" y="776"/>
                      <a:pt x="327" y="783"/>
                      <a:pt x="304" y="795"/>
                    </a:cubicBezTo>
                    <a:cubicBezTo>
                      <a:pt x="283" y="806"/>
                      <a:pt x="262" y="830"/>
                      <a:pt x="236" y="819"/>
                    </a:cubicBezTo>
                    <a:cubicBezTo>
                      <a:pt x="260" y="744"/>
                      <a:pt x="331" y="743"/>
                      <a:pt x="384" y="703"/>
                    </a:cubicBezTo>
                    <a:cubicBezTo>
                      <a:pt x="465" y="641"/>
                      <a:pt x="514" y="548"/>
                      <a:pt x="528" y="415"/>
                    </a:cubicBezTo>
                    <a:cubicBezTo>
                      <a:pt x="536" y="339"/>
                      <a:pt x="562" y="251"/>
                      <a:pt x="520" y="191"/>
                    </a:cubicBezTo>
                    <a:cubicBezTo>
                      <a:pt x="484" y="140"/>
                      <a:pt x="396" y="135"/>
                      <a:pt x="340" y="167"/>
                    </a:cubicBezTo>
                    <a:cubicBezTo>
                      <a:pt x="309" y="184"/>
                      <a:pt x="293" y="221"/>
                      <a:pt x="260" y="255"/>
                    </a:cubicBezTo>
                    <a:cubicBezTo>
                      <a:pt x="243" y="273"/>
                      <a:pt x="213" y="285"/>
                      <a:pt x="200" y="307"/>
                    </a:cubicBezTo>
                    <a:cubicBezTo>
                      <a:pt x="179" y="343"/>
                      <a:pt x="192" y="380"/>
                      <a:pt x="184" y="431"/>
                    </a:cubicBezTo>
                    <a:cubicBezTo>
                      <a:pt x="177" y="476"/>
                      <a:pt x="142" y="534"/>
                      <a:pt x="116" y="571"/>
                    </a:cubicBezTo>
                    <a:cubicBezTo>
                      <a:pt x="90" y="608"/>
                      <a:pt x="55" y="652"/>
                      <a:pt x="0" y="651"/>
                    </a:cubicBezTo>
                    <a:cubicBezTo>
                      <a:pt x="5" y="592"/>
                      <a:pt x="59" y="569"/>
                      <a:pt x="84" y="527"/>
                    </a:cubicBezTo>
                    <a:cubicBezTo>
                      <a:pt x="107" y="489"/>
                      <a:pt x="132" y="426"/>
                      <a:pt x="124" y="355"/>
                    </a:cubicBezTo>
                    <a:cubicBezTo>
                      <a:pt x="119" y="309"/>
                      <a:pt x="103" y="267"/>
                      <a:pt x="124" y="223"/>
                    </a:cubicBezTo>
                    <a:cubicBezTo>
                      <a:pt x="145" y="180"/>
                      <a:pt x="204" y="139"/>
                      <a:pt x="248" y="103"/>
                    </a:cubicBezTo>
                    <a:cubicBezTo>
                      <a:pt x="376" y="0"/>
                      <a:pt x="568" y="10"/>
                      <a:pt x="644" y="171"/>
                    </a:cubicBezTo>
                    <a:cubicBezTo>
                      <a:pt x="664" y="213"/>
                      <a:pt x="693" y="346"/>
                      <a:pt x="632" y="363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rtlCol="0" anchor="ctr"/>
              <a:lstStyle/>
              <a:p>
                <a:pPr algn="ctr" defTabSz="456706"/>
                <a:endParaRPr lang="en-US" kern="0" dirty="0">
                  <a:solidFill>
                    <a:srgbClr val="2968AF">
                      <a:lumMod val="50000"/>
                    </a:srgbClr>
                  </a:solidFill>
                  <a:latin typeface="Arial"/>
                </a:endParaRPr>
              </a:p>
            </p:txBody>
          </p:sp>
          <p:sp>
            <p:nvSpPr>
              <p:cNvPr id="148" name="Freeform 592"/>
              <p:cNvSpPr>
                <a:spLocks/>
              </p:cNvSpPr>
              <p:nvPr/>
            </p:nvSpPr>
            <p:spPr bwMode="auto">
              <a:xfrm>
                <a:off x="7744" y="2099"/>
                <a:ext cx="307" cy="214"/>
              </a:xfrm>
              <a:custGeom>
                <a:avLst/>
                <a:gdLst>
                  <a:gd name="T0" fmla="*/ 101 w 130"/>
                  <a:gd name="T1" fmla="*/ 91 h 91"/>
                  <a:gd name="T2" fmla="*/ 17 w 130"/>
                  <a:gd name="T3" fmla="*/ 67 h 91"/>
                  <a:gd name="T4" fmla="*/ 101 w 130"/>
                  <a:gd name="T5" fmla="*/ 91 h 91"/>
                  <a:gd name="T6" fmla="*/ 0 60000 65536"/>
                  <a:gd name="T7" fmla="*/ 0 60000 65536"/>
                  <a:gd name="T8" fmla="*/ 0 60000 65536"/>
                  <a:gd name="T9" fmla="*/ 0 w 130"/>
                  <a:gd name="T10" fmla="*/ 0 h 91"/>
                  <a:gd name="T11" fmla="*/ 130 w 130"/>
                  <a:gd name="T12" fmla="*/ 91 h 9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0" h="91">
                    <a:moveTo>
                      <a:pt x="101" y="91"/>
                    </a:moveTo>
                    <a:cubicBezTo>
                      <a:pt x="75" y="81"/>
                      <a:pt x="51" y="69"/>
                      <a:pt x="17" y="67"/>
                    </a:cubicBezTo>
                    <a:cubicBezTo>
                      <a:pt x="0" y="0"/>
                      <a:pt x="130" y="39"/>
                      <a:pt x="101" y="91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rtlCol="0" anchor="ctr"/>
              <a:lstStyle/>
              <a:p>
                <a:pPr algn="ctr" defTabSz="456706"/>
                <a:endParaRPr lang="en-US" kern="0" dirty="0">
                  <a:solidFill>
                    <a:srgbClr val="2968AF">
                      <a:lumMod val="50000"/>
                    </a:srgbClr>
                  </a:solidFill>
                  <a:latin typeface="Arial"/>
                </a:endParaRPr>
              </a:p>
            </p:txBody>
          </p:sp>
          <p:sp>
            <p:nvSpPr>
              <p:cNvPr id="149" name="Freeform 593"/>
              <p:cNvSpPr>
                <a:spLocks/>
              </p:cNvSpPr>
              <p:nvPr/>
            </p:nvSpPr>
            <p:spPr bwMode="auto">
              <a:xfrm>
                <a:off x="7222" y="2108"/>
                <a:ext cx="529" cy="621"/>
              </a:xfrm>
              <a:custGeom>
                <a:avLst/>
                <a:gdLst>
                  <a:gd name="T0" fmla="*/ 222 w 224"/>
                  <a:gd name="T1" fmla="*/ 47 h 263"/>
                  <a:gd name="T2" fmla="*/ 182 w 224"/>
                  <a:gd name="T3" fmla="*/ 79 h 263"/>
                  <a:gd name="T4" fmla="*/ 86 w 224"/>
                  <a:gd name="T5" fmla="*/ 179 h 263"/>
                  <a:gd name="T6" fmla="*/ 34 w 224"/>
                  <a:gd name="T7" fmla="*/ 263 h 263"/>
                  <a:gd name="T8" fmla="*/ 118 w 224"/>
                  <a:gd name="T9" fmla="*/ 91 h 263"/>
                  <a:gd name="T10" fmla="*/ 222 w 224"/>
                  <a:gd name="T11" fmla="*/ 47 h 26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24"/>
                  <a:gd name="T19" fmla="*/ 0 h 263"/>
                  <a:gd name="T20" fmla="*/ 224 w 224"/>
                  <a:gd name="T21" fmla="*/ 263 h 26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24" h="263">
                    <a:moveTo>
                      <a:pt x="222" y="47"/>
                    </a:moveTo>
                    <a:cubicBezTo>
                      <a:pt x="224" y="73"/>
                      <a:pt x="195" y="68"/>
                      <a:pt x="182" y="79"/>
                    </a:cubicBezTo>
                    <a:cubicBezTo>
                      <a:pt x="162" y="122"/>
                      <a:pt x="115" y="143"/>
                      <a:pt x="86" y="179"/>
                    </a:cubicBezTo>
                    <a:cubicBezTo>
                      <a:pt x="65" y="205"/>
                      <a:pt x="68" y="245"/>
                      <a:pt x="34" y="263"/>
                    </a:cubicBezTo>
                    <a:cubicBezTo>
                      <a:pt x="0" y="195"/>
                      <a:pt x="79" y="136"/>
                      <a:pt x="118" y="91"/>
                    </a:cubicBezTo>
                    <a:cubicBezTo>
                      <a:pt x="141" y="65"/>
                      <a:pt x="176" y="0"/>
                      <a:pt x="222" y="47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rtlCol="0" anchor="ctr"/>
              <a:lstStyle/>
              <a:p>
                <a:pPr algn="ctr" defTabSz="456706"/>
                <a:endParaRPr lang="en-US" kern="0" dirty="0">
                  <a:solidFill>
                    <a:srgbClr val="2968AF">
                      <a:lumMod val="50000"/>
                    </a:srgbClr>
                  </a:solidFill>
                  <a:latin typeface="Arial"/>
                </a:endParaRPr>
              </a:p>
            </p:txBody>
          </p:sp>
          <p:sp>
            <p:nvSpPr>
              <p:cNvPr id="150" name="Freeform 594"/>
              <p:cNvSpPr>
                <a:spLocks/>
              </p:cNvSpPr>
              <p:nvPr/>
            </p:nvSpPr>
            <p:spPr bwMode="auto">
              <a:xfrm>
                <a:off x="6868" y="2271"/>
                <a:ext cx="1139" cy="1498"/>
              </a:xfrm>
              <a:custGeom>
                <a:avLst/>
                <a:gdLst>
                  <a:gd name="T0" fmla="*/ 52 w 482"/>
                  <a:gd name="T1" fmla="*/ 614 h 634"/>
                  <a:gd name="T2" fmla="*/ 120 w 482"/>
                  <a:gd name="T3" fmla="*/ 562 h 634"/>
                  <a:gd name="T4" fmla="*/ 236 w 482"/>
                  <a:gd name="T5" fmla="*/ 454 h 634"/>
                  <a:gd name="T6" fmla="*/ 300 w 482"/>
                  <a:gd name="T7" fmla="*/ 430 h 634"/>
                  <a:gd name="T8" fmla="*/ 432 w 482"/>
                  <a:gd name="T9" fmla="*/ 206 h 634"/>
                  <a:gd name="T10" fmla="*/ 428 w 482"/>
                  <a:gd name="T11" fmla="*/ 162 h 634"/>
                  <a:gd name="T12" fmla="*/ 400 w 482"/>
                  <a:gd name="T13" fmla="*/ 58 h 634"/>
                  <a:gd name="T14" fmla="*/ 332 w 482"/>
                  <a:gd name="T15" fmla="*/ 130 h 634"/>
                  <a:gd name="T16" fmla="*/ 64 w 482"/>
                  <a:gd name="T17" fmla="*/ 490 h 634"/>
                  <a:gd name="T18" fmla="*/ 0 w 482"/>
                  <a:gd name="T19" fmla="*/ 506 h 634"/>
                  <a:gd name="T20" fmla="*/ 76 w 482"/>
                  <a:gd name="T21" fmla="*/ 426 h 634"/>
                  <a:gd name="T22" fmla="*/ 240 w 482"/>
                  <a:gd name="T23" fmla="*/ 146 h 634"/>
                  <a:gd name="T24" fmla="*/ 292 w 482"/>
                  <a:gd name="T25" fmla="*/ 102 h 634"/>
                  <a:gd name="T26" fmla="*/ 340 w 482"/>
                  <a:gd name="T27" fmla="*/ 38 h 634"/>
                  <a:gd name="T28" fmla="*/ 480 w 482"/>
                  <a:gd name="T29" fmla="*/ 90 h 634"/>
                  <a:gd name="T30" fmla="*/ 468 w 482"/>
                  <a:gd name="T31" fmla="*/ 166 h 634"/>
                  <a:gd name="T32" fmla="*/ 468 w 482"/>
                  <a:gd name="T33" fmla="*/ 250 h 634"/>
                  <a:gd name="T34" fmla="*/ 356 w 482"/>
                  <a:gd name="T35" fmla="*/ 450 h 634"/>
                  <a:gd name="T36" fmla="*/ 264 w 482"/>
                  <a:gd name="T37" fmla="*/ 494 h 634"/>
                  <a:gd name="T38" fmla="*/ 52 w 482"/>
                  <a:gd name="T39" fmla="*/ 614 h 63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482"/>
                  <a:gd name="T61" fmla="*/ 0 h 634"/>
                  <a:gd name="T62" fmla="*/ 482 w 482"/>
                  <a:gd name="T63" fmla="*/ 634 h 634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482" h="634">
                    <a:moveTo>
                      <a:pt x="52" y="614"/>
                    </a:moveTo>
                    <a:cubicBezTo>
                      <a:pt x="63" y="583"/>
                      <a:pt x="91" y="582"/>
                      <a:pt x="120" y="562"/>
                    </a:cubicBezTo>
                    <a:cubicBezTo>
                      <a:pt x="162" y="533"/>
                      <a:pt x="194" y="478"/>
                      <a:pt x="236" y="454"/>
                    </a:cubicBezTo>
                    <a:cubicBezTo>
                      <a:pt x="255" y="443"/>
                      <a:pt x="279" y="442"/>
                      <a:pt x="300" y="430"/>
                    </a:cubicBezTo>
                    <a:cubicBezTo>
                      <a:pt x="368" y="392"/>
                      <a:pt x="428" y="289"/>
                      <a:pt x="432" y="206"/>
                    </a:cubicBezTo>
                    <a:cubicBezTo>
                      <a:pt x="433" y="191"/>
                      <a:pt x="427" y="176"/>
                      <a:pt x="428" y="162"/>
                    </a:cubicBezTo>
                    <a:cubicBezTo>
                      <a:pt x="430" y="121"/>
                      <a:pt x="449" y="65"/>
                      <a:pt x="400" y="58"/>
                    </a:cubicBezTo>
                    <a:cubicBezTo>
                      <a:pt x="355" y="51"/>
                      <a:pt x="343" y="93"/>
                      <a:pt x="332" y="130"/>
                    </a:cubicBezTo>
                    <a:cubicBezTo>
                      <a:pt x="229" y="219"/>
                      <a:pt x="186" y="413"/>
                      <a:pt x="64" y="490"/>
                    </a:cubicBezTo>
                    <a:cubicBezTo>
                      <a:pt x="48" y="500"/>
                      <a:pt x="23" y="512"/>
                      <a:pt x="0" y="506"/>
                    </a:cubicBezTo>
                    <a:cubicBezTo>
                      <a:pt x="0" y="456"/>
                      <a:pt x="46" y="452"/>
                      <a:pt x="76" y="426"/>
                    </a:cubicBezTo>
                    <a:cubicBezTo>
                      <a:pt x="154" y="358"/>
                      <a:pt x="171" y="230"/>
                      <a:pt x="240" y="146"/>
                    </a:cubicBezTo>
                    <a:cubicBezTo>
                      <a:pt x="253" y="131"/>
                      <a:pt x="276" y="120"/>
                      <a:pt x="292" y="102"/>
                    </a:cubicBezTo>
                    <a:cubicBezTo>
                      <a:pt x="311" y="81"/>
                      <a:pt x="322" y="51"/>
                      <a:pt x="340" y="38"/>
                    </a:cubicBezTo>
                    <a:cubicBezTo>
                      <a:pt x="395" y="0"/>
                      <a:pt x="476" y="32"/>
                      <a:pt x="480" y="90"/>
                    </a:cubicBezTo>
                    <a:cubicBezTo>
                      <a:pt x="482" y="116"/>
                      <a:pt x="470" y="144"/>
                      <a:pt x="468" y="166"/>
                    </a:cubicBezTo>
                    <a:cubicBezTo>
                      <a:pt x="466" y="195"/>
                      <a:pt x="471" y="223"/>
                      <a:pt x="468" y="250"/>
                    </a:cubicBezTo>
                    <a:cubicBezTo>
                      <a:pt x="459" y="329"/>
                      <a:pt x="412" y="407"/>
                      <a:pt x="356" y="450"/>
                    </a:cubicBezTo>
                    <a:cubicBezTo>
                      <a:pt x="330" y="470"/>
                      <a:pt x="294" y="476"/>
                      <a:pt x="264" y="494"/>
                    </a:cubicBezTo>
                    <a:cubicBezTo>
                      <a:pt x="198" y="533"/>
                      <a:pt x="151" y="634"/>
                      <a:pt x="52" y="614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rtlCol="0" anchor="ctr"/>
              <a:lstStyle/>
              <a:p>
                <a:pPr algn="ctr" defTabSz="456706"/>
                <a:endParaRPr lang="en-US" kern="0" dirty="0">
                  <a:solidFill>
                    <a:srgbClr val="2968AF">
                      <a:lumMod val="50000"/>
                    </a:srgbClr>
                  </a:solidFill>
                  <a:latin typeface="Arial"/>
                </a:endParaRPr>
              </a:p>
            </p:txBody>
          </p:sp>
          <p:sp>
            <p:nvSpPr>
              <p:cNvPr id="151" name="Freeform 595"/>
              <p:cNvSpPr>
                <a:spLocks noEditPoints="1"/>
              </p:cNvSpPr>
              <p:nvPr/>
            </p:nvSpPr>
            <p:spPr bwMode="auto">
              <a:xfrm>
                <a:off x="6896" y="2465"/>
                <a:ext cx="983" cy="1207"/>
              </a:xfrm>
              <a:custGeom>
                <a:avLst/>
                <a:gdLst>
                  <a:gd name="T0" fmla="*/ 388 w 416"/>
                  <a:gd name="T1" fmla="*/ 0 h 511"/>
                  <a:gd name="T2" fmla="*/ 380 w 416"/>
                  <a:gd name="T3" fmla="*/ 76 h 511"/>
                  <a:gd name="T4" fmla="*/ 308 w 416"/>
                  <a:gd name="T5" fmla="*/ 296 h 511"/>
                  <a:gd name="T6" fmla="*/ 160 w 416"/>
                  <a:gd name="T7" fmla="*/ 392 h 511"/>
                  <a:gd name="T8" fmla="*/ 0 w 416"/>
                  <a:gd name="T9" fmla="*/ 476 h 511"/>
                  <a:gd name="T10" fmla="*/ 76 w 416"/>
                  <a:gd name="T11" fmla="*/ 420 h 511"/>
                  <a:gd name="T12" fmla="*/ 208 w 416"/>
                  <a:gd name="T13" fmla="*/ 276 h 511"/>
                  <a:gd name="T14" fmla="*/ 344 w 416"/>
                  <a:gd name="T15" fmla="*/ 60 h 511"/>
                  <a:gd name="T16" fmla="*/ 380 w 416"/>
                  <a:gd name="T17" fmla="*/ 0 h 511"/>
                  <a:gd name="T18" fmla="*/ 388 w 416"/>
                  <a:gd name="T19" fmla="*/ 0 h 511"/>
                  <a:gd name="T20" fmla="*/ 260 w 416"/>
                  <a:gd name="T21" fmla="*/ 264 h 511"/>
                  <a:gd name="T22" fmla="*/ 344 w 416"/>
                  <a:gd name="T23" fmla="*/ 120 h 511"/>
                  <a:gd name="T24" fmla="*/ 332 w 416"/>
                  <a:gd name="T25" fmla="*/ 116 h 511"/>
                  <a:gd name="T26" fmla="*/ 260 w 416"/>
                  <a:gd name="T27" fmla="*/ 264 h 51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16"/>
                  <a:gd name="T43" fmla="*/ 0 h 511"/>
                  <a:gd name="T44" fmla="*/ 416 w 416"/>
                  <a:gd name="T45" fmla="*/ 511 h 51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16" h="511">
                    <a:moveTo>
                      <a:pt x="388" y="0"/>
                    </a:moveTo>
                    <a:cubicBezTo>
                      <a:pt x="408" y="22"/>
                      <a:pt x="388" y="57"/>
                      <a:pt x="380" y="76"/>
                    </a:cubicBezTo>
                    <a:cubicBezTo>
                      <a:pt x="416" y="121"/>
                      <a:pt x="361" y="271"/>
                      <a:pt x="308" y="296"/>
                    </a:cubicBezTo>
                    <a:cubicBezTo>
                      <a:pt x="246" y="325"/>
                      <a:pt x="203" y="342"/>
                      <a:pt x="160" y="392"/>
                    </a:cubicBezTo>
                    <a:cubicBezTo>
                      <a:pt x="130" y="426"/>
                      <a:pt x="60" y="511"/>
                      <a:pt x="0" y="476"/>
                    </a:cubicBezTo>
                    <a:cubicBezTo>
                      <a:pt x="17" y="440"/>
                      <a:pt x="50" y="439"/>
                      <a:pt x="76" y="420"/>
                    </a:cubicBezTo>
                    <a:cubicBezTo>
                      <a:pt x="106" y="399"/>
                      <a:pt x="194" y="313"/>
                      <a:pt x="208" y="276"/>
                    </a:cubicBezTo>
                    <a:cubicBezTo>
                      <a:pt x="239" y="199"/>
                      <a:pt x="278" y="107"/>
                      <a:pt x="344" y="60"/>
                    </a:cubicBezTo>
                    <a:cubicBezTo>
                      <a:pt x="351" y="35"/>
                      <a:pt x="355" y="6"/>
                      <a:pt x="380" y="0"/>
                    </a:cubicBezTo>
                    <a:cubicBezTo>
                      <a:pt x="383" y="0"/>
                      <a:pt x="385" y="0"/>
                      <a:pt x="388" y="0"/>
                    </a:cubicBezTo>
                    <a:close/>
                    <a:moveTo>
                      <a:pt x="260" y="264"/>
                    </a:moveTo>
                    <a:cubicBezTo>
                      <a:pt x="312" y="258"/>
                      <a:pt x="349" y="183"/>
                      <a:pt x="344" y="120"/>
                    </a:cubicBezTo>
                    <a:cubicBezTo>
                      <a:pt x="339" y="120"/>
                      <a:pt x="339" y="115"/>
                      <a:pt x="332" y="116"/>
                    </a:cubicBezTo>
                    <a:cubicBezTo>
                      <a:pt x="312" y="169"/>
                      <a:pt x="283" y="213"/>
                      <a:pt x="260" y="264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rtlCol="0" anchor="ctr"/>
              <a:lstStyle/>
              <a:p>
                <a:pPr algn="ctr" defTabSz="456706"/>
                <a:endParaRPr lang="en-US" kern="0" dirty="0">
                  <a:solidFill>
                    <a:srgbClr val="2968AF">
                      <a:lumMod val="50000"/>
                    </a:srgbClr>
                  </a:solidFill>
                  <a:latin typeface="Arial"/>
                </a:endParaRPr>
              </a:p>
            </p:txBody>
          </p:sp>
          <p:sp>
            <p:nvSpPr>
              <p:cNvPr id="152" name="Freeform 596"/>
              <p:cNvSpPr>
                <a:spLocks/>
              </p:cNvSpPr>
              <p:nvPr/>
            </p:nvSpPr>
            <p:spPr bwMode="auto">
              <a:xfrm>
                <a:off x="8514" y="2502"/>
                <a:ext cx="163" cy="350"/>
              </a:xfrm>
              <a:custGeom>
                <a:avLst/>
                <a:gdLst>
                  <a:gd name="T0" fmla="*/ 39 w 69"/>
                  <a:gd name="T1" fmla="*/ 0 h 148"/>
                  <a:gd name="T2" fmla="*/ 15 w 69"/>
                  <a:gd name="T3" fmla="*/ 148 h 148"/>
                  <a:gd name="T4" fmla="*/ 39 w 69"/>
                  <a:gd name="T5" fmla="*/ 0 h 148"/>
                  <a:gd name="T6" fmla="*/ 0 60000 65536"/>
                  <a:gd name="T7" fmla="*/ 0 60000 65536"/>
                  <a:gd name="T8" fmla="*/ 0 60000 65536"/>
                  <a:gd name="T9" fmla="*/ 0 w 69"/>
                  <a:gd name="T10" fmla="*/ 0 h 148"/>
                  <a:gd name="T11" fmla="*/ 69 w 69"/>
                  <a:gd name="T12" fmla="*/ 148 h 14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9" h="148">
                    <a:moveTo>
                      <a:pt x="39" y="0"/>
                    </a:moveTo>
                    <a:cubicBezTo>
                      <a:pt x="69" y="30"/>
                      <a:pt x="53" y="134"/>
                      <a:pt x="15" y="148"/>
                    </a:cubicBezTo>
                    <a:cubicBezTo>
                      <a:pt x="13" y="103"/>
                      <a:pt x="0" y="16"/>
                      <a:pt x="39" y="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rtlCol="0" anchor="ctr"/>
              <a:lstStyle/>
              <a:p>
                <a:pPr algn="ctr" defTabSz="456706"/>
                <a:endParaRPr lang="en-US" kern="0" dirty="0">
                  <a:solidFill>
                    <a:srgbClr val="2968AF">
                      <a:lumMod val="50000"/>
                    </a:srgbClr>
                  </a:solidFill>
                  <a:latin typeface="Arial"/>
                </a:endParaRPr>
              </a:p>
            </p:txBody>
          </p:sp>
          <p:sp>
            <p:nvSpPr>
              <p:cNvPr id="153" name="Freeform 597"/>
              <p:cNvSpPr>
                <a:spLocks/>
              </p:cNvSpPr>
              <p:nvPr/>
            </p:nvSpPr>
            <p:spPr bwMode="auto">
              <a:xfrm>
                <a:off x="6670" y="2538"/>
                <a:ext cx="375" cy="616"/>
              </a:xfrm>
              <a:custGeom>
                <a:avLst/>
                <a:gdLst>
                  <a:gd name="T0" fmla="*/ 140 w 159"/>
                  <a:gd name="T1" fmla="*/ 5 h 261"/>
                  <a:gd name="T2" fmla="*/ 112 w 159"/>
                  <a:gd name="T3" fmla="*/ 157 h 261"/>
                  <a:gd name="T4" fmla="*/ 20 w 159"/>
                  <a:gd name="T5" fmla="*/ 261 h 261"/>
                  <a:gd name="T6" fmla="*/ 120 w 159"/>
                  <a:gd name="T7" fmla="*/ 13 h 261"/>
                  <a:gd name="T8" fmla="*/ 128 w 159"/>
                  <a:gd name="T9" fmla="*/ 1 h 261"/>
                  <a:gd name="T10" fmla="*/ 140 w 159"/>
                  <a:gd name="T11" fmla="*/ 5 h 26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9"/>
                  <a:gd name="T19" fmla="*/ 0 h 261"/>
                  <a:gd name="T20" fmla="*/ 159 w 159"/>
                  <a:gd name="T21" fmla="*/ 261 h 26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9" h="261">
                    <a:moveTo>
                      <a:pt x="140" y="5"/>
                    </a:moveTo>
                    <a:cubicBezTo>
                      <a:pt x="159" y="62"/>
                      <a:pt x="137" y="118"/>
                      <a:pt x="112" y="157"/>
                    </a:cubicBezTo>
                    <a:cubicBezTo>
                      <a:pt x="87" y="195"/>
                      <a:pt x="54" y="238"/>
                      <a:pt x="20" y="261"/>
                    </a:cubicBezTo>
                    <a:cubicBezTo>
                      <a:pt x="0" y="156"/>
                      <a:pt x="106" y="110"/>
                      <a:pt x="120" y="13"/>
                    </a:cubicBezTo>
                    <a:cubicBezTo>
                      <a:pt x="122" y="8"/>
                      <a:pt x="127" y="7"/>
                      <a:pt x="128" y="1"/>
                    </a:cubicBezTo>
                    <a:cubicBezTo>
                      <a:pt x="135" y="0"/>
                      <a:pt x="135" y="5"/>
                      <a:pt x="140" y="5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rtlCol="0" anchor="ctr"/>
              <a:lstStyle/>
              <a:p>
                <a:pPr algn="ctr" defTabSz="456706"/>
                <a:endParaRPr lang="en-US" kern="0" dirty="0">
                  <a:solidFill>
                    <a:srgbClr val="2968AF">
                      <a:lumMod val="50000"/>
                    </a:srgbClr>
                  </a:solidFill>
                  <a:latin typeface="Arial"/>
                </a:endParaRPr>
              </a:p>
            </p:txBody>
          </p:sp>
          <p:sp>
            <p:nvSpPr>
              <p:cNvPr id="154" name="Freeform 598"/>
              <p:cNvSpPr>
                <a:spLocks/>
              </p:cNvSpPr>
              <p:nvPr/>
            </p:nvSpPr>
            <p:spPr bwMode="auto">
              <a:xfrm>
                <a:off x="7425" y="2937"/>
                <a:ext cx="1198" cy="1210"/>
              </a:xfrm>
              <a:custGeom>
                <a:avLst/>
                <a:gdLst>
                  <a:gd name="T0" fmla="*/ 492 w 507"/>
                  <a:gd name="T1" fmla="*/ 0 h 512"/>
                  <a:gd name="T2" fmla="*/ 444 w 507"/>
                  <a:gd name="T3" fmla="*/ 188 h 512"/>
                  <a:gd name="T4" fmla="*/ 328 w 507"/>
                  <a:gd name="T5" fmla="*/ 324 h 512"/>
                  <a:gd name="T6" fmla="*/ 160 w 507"/>
                  <a:gd name="T7" fmla="*/ 396 h 512"/>
                  <a:gd name="T8" fmla="*/ 316 w 507"/>
                  <a:gd name="T9" fmla="*/ 360 h 512"/>
                  <a:gd name="T10" fmla="*/ 124 w 507"/>
                  <a:gd name="T11" fmla="*/ 444 h 512"/>
                  <a:gd name="T12" fmla="*/ 0 w 507"/>
                  <a:gd name="T13" fmla="*/ 496 h 512"/>
                  <a:gd name="T14" fmla="*/ 56 w 507"/>
                  <a:gd name="T15" fmla="*/ 444 h 512"/>
                  <a:gd name="T16" fmla="*/ 136 w 507"/>
                  <a:gd name="T17" fmla="*/ 356 h 512"/>
                  <a:gd name="T18" fmla="*/ 332 w 507"/>
                  <a:gd name="T19" fmla="*/ 272 h 512"/>
                  <a:gd name="T20" fmla="*/ 472 w 507"/>
                  <a:gd name="T21" fmla="*/ 16 h 512"/>
                  <a:gd name="T22" fmla="*/ 480 w 507"/>
                  <a:gd name="T23" fmla="*/ 0 h 512"/>
                  <a:gd name="T24" fmla="*/ 492 w 507"/>
                  <a:gd name="T25" fmla="*/ 0 h 51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07"/>
                  <a:gd name="T40" fmla="*/ 0 h 512"/>
                  <a:gd name="T41" fmla="*/ 507 w 507"/>
                  <a:gd name="T42" fmla="*/ 512 h 51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07" h="512">
                    <a:moveTo>
                      <a:pt x="492" y="0"/>
                    </a:moveTo>
                    <a:cubicBezTo>
                      <a:pt x="507" y="67"/>
                      <a:pt x="473" y="136"/>
                      <a:pt x="444" y="188"/>
                    </a:cubicBezTo>
                    <a:cubicBezTo>
                      <a:pt x="415" y="240"/>
                      <a:pt x="380" y="296"/>
                      <a:pt x="328" y="324"/>
                    </a:cubicBezTo>
                    <a:cubicBezTo>
                      <a:pt x="274" y="354"/>
                      <a:pt x="207" y="350"/>
                      <a:pt x="160" y="396"/>
                    </a:cubicBezTo>
                    <a:cubicBezTo>
                      <a:pt x="219" y="409"/>
                      <a:pt x="271" y="361"/>
                      <a:pt x="316" y="360"/>
                    </a:cubicBezTo>
                    <a:cubicBezTo>
                      <a:pt x="311" y="453"/>
                      <a:pt x="194" y="419"/>
                      <a:pt x="124" y="444"/>
                    </a:cubicBezTo>
                    <a:cubicBezTo>
                      <a:pt x="78" y="460"/>
                      <a:pt x="50" y="512"/>
                      <a:pt x="0" y="496"/>
                    </a:cubicBezTo>
                    <a:cubicBezTo>
                      <a:pt x="5" y="460"/>
                      <a:pt x="37" y="460"/>
                      <a:pt x="56" y="444"/>
                    </a:cubicBezTo>
                    <a:cubicBezTo>
                      <a:pt x="87" y="419"/>
                      <a:pt x="107" y="378"/>
                      <a:pt x="136" y="356"/>
                    </a:cubicBezTo>
                    <a:cubicBezTo>
                      <a:pt x="198" y="310"/>
                      <a:pt x="277" y="314"/>
                      <a:pt x="332" y="272"/>
                    </a:cubicBezTo>
                    <a:cubicBezTo>
                      <a:pt x="418" y="206"/>
                      <a:pt x="424" y="122"/>
                      <a:pt x="472" y="16"/>
                    </a:cubicBezTo>
                    <a:cubicBezTo>
                      <a:pt x="474" y="12"/>
                      <a:pt x="475" y="5"/>
                      <a:pt x="480" y="0"/>
                    </a:cubicBezTo>
                    <a:cubicBezTo>
                      <a:pt x="484" y="0"/>
                      <a:pt x="488" y="0"/>
                      <a:pt x="492" y="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rtlCol="0" anchor="ctr"/>
              <a:lstStyle/>
              <a:p>
                <a:pPr algn="ctr" defTabSz="456706"/>
                <a:endParaRPr lang="en-US" kern="0" dirty="0">
                  <a:solidFill>
                    <a:srgbClr val="2968AF">
                      <a:lumMod val="50000"/>
                    </a:srgbClr>
                  </a:solidFill>
                  <a:latin typeface="Arial"/>
                </a:endParaRPr>
              </a:p>
            </p:txBody>
          </p:sp>
          <p:sp>
            <p:nvSpPr>
              <p:cNvPr id="155" name="Freeform 599"/>
              <p:cNvSpPr>
                <a:spLocks/>
              </p:cNvSpPr>
              <p:nvPr/>
            </p:nvSpPr>
            <p:spPr bwMode="auto">
              <a:xfrm>
                <a:off x="8219" y="2956"/>
                <a:ext cx="721" cy="869"/>
              </a:xfrm>
              <a:custGeom>
                <a:avLst/>
                <a:gdLst>
                  <a:gd name="T0" fmla="*/ 288 w 305"/>
                  <a:gd name="T1" fmla="*/ 4 h 368"/>
                  <a:gd name="T2" fmla="*/ 220 w 305"/>
                  <a:gd name="T3" fmla="*/ 196 h 368"/>
                  <a:gd name="T4" fmla="*/ 152 w 305"/>
                  <a:gd name="T5" fmla="*/ 236 h 368"/>
                  <a:gd name="T6" fmla="*/ 0 w 305"/>
                  <a:gd name="T7" fmla="*/ 348 h 368"/>
                  <a:gd name="T8" fmla="*/ 52 w 305"/>
                  <a:gd name="T9" fmla="*/ 292 h 368"/>
                  <a:gd name="T10" fmla="*/ 172 w 305"/>
                  <a:gd name="T11" fmla="*/ 76 h 368"/>
                  <a:gd name="T12" fmla="*/ 208 w 305"/>
                  <a:gd name="T13" fmla="*/ 4 h 368"/>
                  <a:gd name="T14" fmla="*/ 176 w 305"/>
                  <a:gd name="T15" fmla="*/ 164 h 368"/>
                  <a:gd name="T16" fmla="*/ 276 w 305"/>
                  <a:gd name="T17" fmla="*/ 0 h 368"/>
                  <a:gd name="T18" fmla="*/ 288 w 305"/>
                  <a:gd name="T19" fmla="*/ 4 h 36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05"/>
                  <a:gd name="T31" fmla="*/ 0 h 368"/>
                  <a:gd name="T32" fmla="*/ 305 w 305"/>
                  <a:gd name="T33" fmla="*/ 368 h 36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05" h="368">
                    <a:moveTo>
                      <a:pt x="288" y="4"/>
                    </a:moveTo>
                    <a:cubicBezTo>
                      <a:pt x="305" y="75"/>
                      <a:pt x="265" y="155"/>
                      <a:pt x="220" y="196"/>
                    </a:cubicBezTo>
                    <a:cubicBezTo>
                      <a:pt x="202" y="213"/>
                      <a:pt x="173" y="218"/>
                      <a:pt x="152" y="236"/>
                    </a:cubicBezTo>
                    <a:cubicBezTo>
                      <a:pt x="106" y="276"/>
                      <a:pt x="76" y="368"/>
                      <a:pt x="0" y="348"/>
                    </a:cubicBezTo>
                    <a:cubicBezTo>
                      <a:pt x="0" y="310"/>
                      <a:pt x="31" y="310"/>
                      <a:pt x="52" y="292"/>
                    </a:cubicBezTo>
                    <a:cubicBezTo>
                      <a:pt x="106" y="246"/>
                      <a:pt x="151" y="153"/>
                      <a:pt x="172" y="76"/>
                    </a:cubicBezTo>
                    <a:cubicBezTo>
                      <a:pt x="179" y="52"/>
                      <a:pt x="177" y="14"/>
                      <a:pt x="208" y="4"/>
                    </a:cubicBezTo>
                    <a:cubicBezTo>
                      <a:pt x="247" y="48"/>
                      <a:pt x="187" y="118"/>
                      <a:pt x="176" y="164"/>
                    </a:cubicBezTo>
                    <a:cubicBezTo>
                      <a:pt x="233" y="149"/>
                      <a:pt x="235" y="44"/>
                      <a:pt x="276" y="0"/>
                    </a:cubicBezTo>
                    <a:cubicBezTo>
                      <a:pt x="279" y="2"/>
                      <a:pt x="283" y="4"/>
                      <a:pt x="288" y="4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rtlCol="0" anchor="ctr"/>
              <a:lstStyle/>
              <a:p>
                <a:pPr algn="ctr" defTabSz="456706"/>
                <a:endParaRPr lang="en-US" kern="0" dirty="0">
                  <a:solidFill>
                    <a:srgbClr val="2968AF">
                      <a:lumMod val="50000"/>
                    </a:srgbClr>
                  </a:solidFill>
                  <a:latin typeface="Arial"/>
                </a:endParaRPr>
              </a:p>
            </p:txBody>
          </p:sp>
          <p:sp>
            <p:nvSpPr>
              <p:cNvPr id="156" name="Freeform 600"/>
              <p:cNvSpPr>
                <a:spLocks/>
              </p:cNvSpPr>
              <p:nvPr/>
            </p:nvSpPr>
            <p:spPr bwMode="auto">
              <a:xfrm>
                <a:off x="8059" y="3410"/>
                <a:ext cx="788" cy="614"/>
              </a:xfrm>
              <a:custGeom>
                <a:avLst/>
                <a:gdLst>
                  <a:gd name="T0" fmla="*/ 328 w 334"/>
                  <a:gd name="T1" fmla="*/ 0 h 260"/>
                  <a:gd name="T2" fmla="*/ 252 w 334"/>
                  <a:gd name="T3" fmla="*/ 100 h 260"/>
                  <a:gd name="T4" fmla="*/ 288 w 334"/>
                  <a:gd name="T5" fmla="*/ 92 h 260"/>
                  <a:gd name="T6" fmla="*/ 252 w 334"/>
                  <a:gd name="T7" fmla="*/ 148 h 260"/>
                  <a:gd name="T8" fmla="*/ 0 w 334"/>
                  <a:gd name="T9" fmla="*/ 260 h 260"/>
                  <a:gd name="T10" fmla="*/ 92 w 334"/>
                  <a:gd name="T11" fmla="*/ 188 h 260"/>
                  <a:gd name="T12" fmla="*/ 196 w 334"/>
                  <a:gd name="T13" fmla="*/ 120 h 260"/>
                  <a:gd name="T14" fmla="*/ 316 w 334"/>
                  <a:gd name="T15" fmla="*/ 0 h 260"/>
                  <a:gd name="T16" fmla="*/ 328 w 334"/>
                  <a:gd name="T17" fmla="*/ 0 h 26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34"/>
                  <a:gd name="T28" fmla="*/ 0 h 260"/>
                  <a:gd name="T29" fmla="*/ 334 w 334"/>
                  <a:gd name="T30" fmla="*/ 260 h 26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34" h="260">
                    <a:moveTo>
                      <a:pt x="328" y="0"/>
                    </a:moveTo>
                    <a:cubicBezTo>
                      <a:pt x="334" y="49"/>
                      <a:pt x="277" y="69"/>
                      <a:pt x="252" y="100"/>
                    </a:cubicBezTo>
                    <a:cubicBezTo>
                      <a:pt x="263" y="112"/>
                      <a:pt x="269" y="85"/>
                      <a:pt x="288" y="92"/>
                    </a:cubicBezTo>
                    <a:cubicBezTo>
                      <a:pt x="289" y="123"/>
                      <a:pt x="264" y="129"/>
                      <a:pt x="252" y="148"/>
                    </a:cubicBezTo>
                    <a:cubicBezTo>
                      <a:pt x="148" y="163"/>
                      <a:pt x="101" y="255"/>
                      <a:pt x="0" y="260"/>
                    </a:cubicBezTo>
                    <a:cubicBezTo>
                      <a:pt x="16" y="222"/>
                      <a:pt x="60" y="207"/>
                      <a:pt x="92" y="188"/>
                    </a:cubicBezTo>
                    <a:cubicBezTo>
                      <a:pt x="126" y="168"/>
                      <a:pt x="168" y="148"/>
                      <a:pt x="196" y="120"/>
                    </a:cubicBezTo>
                    <a:cubicBezTo>
                      <a:pt x="235" y="82"/>
                      <a:pt x="259" y="24"/>
                      <a:pt x="316" y="0"/>
                    </a:cubicBezTo>
                    <a:cubicBezTo>
                      <a:pt x="320" y="0"/>
                      <a:pt x="324" y="0"/>
                      <a:pt x="328" y="0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rtlCol="0" anchor="ctr"/>
              <a:lstStyle/>
              <a:p>
                <a:pPr algn="ctr" defTabSz="456706"/>
                <a:endParaRPr lang="en-US" kern="0" dirty="0">
                  <a:solidFill>
                    <a:srgbClr val="2968AF">
                      <a:lumMod val="50000"/>
                    </a:srgbClr>
                  </a:solidFill>
                  <a:latin typeface="Arial"/>
                </a:endParaRPr>
              </a:p>
            </p:txBody>
          </p:sp>
          <p:sp>
            <p:nvSpPr>
              <p:cNvPr id="157" name="Freeform 601"/>
              <p:cNvSpPr>
                <a:spLocks/>
              </p:cNvSpPr>
              <p:nvPr/>
            </p:nvSpPr>
            <p:spPr bwMode="auto">
              <a:xfrm>
                <a:off x="7227" y="3870"/>
                <a:ext cx="321" cy="210"/>
              </a:xfrm>
              <a:custGeom>
                <a:avLst/>
                <a:gdLst>
                  <a:gd name="T0" fmla="*/ 136 w 136"/>
                  <a:gd name="T1" fmla="*/ 9 h 89"/>
                  <a:gd name="T2" fmla="*/ 0 w 136"/>
                  <a:gd name="T3" fmla="*/ 53 h 89"/>
                  <a:gd name="T4" fmla="*/ 136 w 136"/>
                  <a:gd name="T5" fmla="*/ 9 h 89"/>
                  <a:gd name="T6" fmla="*/ 0 60000 65536"/>
                  <a:gd name="T7" fmla="*/ 0 60000 65536"/>
                  <a:gd name="T8" fmla="*/ 0 60000 65536"/>
                  <a:gd name="T9" fmla="*/ 0 w 136"/>
                  <a:gd name="T10" fmla="*/ 0 h 89"/>
                  <a:gd name="T11" fmla="*/ 136 w 136"/>
                  <a:gd name="T12" fmla="*/ 89 h 8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6" h="89">
                    <a:moveTo>
                      <a:pt x="136" y="9"/>
                    </a:moveTo>
                    <a:cubicBezTo>
                      <a:pt x="122" y="49"/>
                      <a:pt x="38" y="89"/>
                      <a:pt x="0" y="53"/>
                    </a:cubicBezTo>
                    <a:cubicBezTo>
                      <a:pt x="9" y="6"/>
                      <a:pt x="98" y="0"/>
                      <a:pt x="136" y="9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rtlCol="0" anchor="ctr"/>
              <a:lstStyle/>
              <a:p>
                <a:pPr algn="ctr" defTabSz="456706"/>
                <a:endParaRPr lang="en-US" kern="0" dirty="0">
                  <a:solidFill>
                    <a:srgbClr val="2968AF">
                      <a:lumMod val="50000"/>
                    </a:srgbClr>
                  </a:solidFill>
                  <a:latin typeface="Arial"/>
                </a:endParaRPr>
              </a:p>
            </p:txBody>
          </p:sp>
          <p:sp>
            <p:nvSpPr>
              <p:cNvPr id="158" name="Freeform 602"/>
              <p:cNvSpPr>
                <a:spLocks/>
              </p:cNvSpPr>
              <p:nvPr/>
            </p:nvSpPr>
            <p:spPr bwMode="auto">
              <a:xfrm>
                <a:off x="7593" y="3976"/>
                <a:ext cx="333" cy="152"/>
              </a:xfrm>
              <a:custGeom>
                <a:avLst/>
                <a:gdLst>
                  <a:gd name="T0" fmla="*/ 77 w 141"/>
                  <a:gd name="T1" fmla="*/ 64 h 64"/>
                  <a:gd name="T2" fmla="*/ 37 w 141"/>
                  <a:gd name="T3" fmla="*/ 64 h 64"/>
                  <a:gd name="T4" fmla="*/ 141 w 141"/>
                  <a:gd name="T5" fmla="*/ 24 h 64"/>
                  <a:gd name="T6" fmla="*/ 77 w 141"/>
                  <a:gd name="T7" fmla="*/ 64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1"/>
                  <a:gd name="T13" fmla="*/ 0 h 64"/>
                  <a:gd name="T14" fmla="*/ 141 w 141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1" h="64">
                    <a:moveTo>
                      <a:pt x="77" y="64"/>
                    </a:moveTo>
                    <a:cubicBezTo>
                      <a:pt x="64" y="64"/>
                      <a:pt x="50" y="64"/>
                      <a:pt x="37" y="64"/>
                    </a:cubicBezTo>
                    <a:cubicBezTo>
                      <a:pt x="0" y="28"/>
                      <a:pt x="107" y="0"/>
                      <a:pt x="141" y="24"/>
                    </a:cubicBezTo>
                    <a:cubicBezTo>
                      <a:pt x="135" y="53"/>
                      <a:pt x="101" y="53"/>
                      <a:pt x="77" y="64"/>
                    </a:cubicBezTo>
                    <a:close/>
                  </a:path>
                </a:pathLst>
              </a:custGeom>
              <a:grpFill/>
              <a:ln w="25400" cap="flat" cmpd="sng" algn="ctr">
                <a:noFill/>
                <a:prstDash val="solid"/>
              </a:ln>
              <a:effectLst/>
            </p:spPr>
            <p:txBody>
              <a:bodyPr lIns="91420" tIns="45710" rIns="91420" bIns="45710" rtlCol="0" anchor="ctr"/>
              <a:lstStyle/>
              <a:p>
                <a:pPr algn="ctr" defTabSz="456706"/>
                <a:endParaRPr lang="en-US" kern="0" dirty="0">
                  <a:solidFill>
                    <a:srgbClr val="2968AF">
                      <a:lumMod val="50000"/>
                    </a:srgbClr>
                  </a:solidFill>
                  <a:latin typeface="Arial"/>
                </a:endParaRPr>
              </a:p>
            </p:txBody>
          </p:sp>
        </p:grpSp>
      </p:grpSp>
      <p:grpSp>
        <p:nvGrpSpPr>
          <p:cNvPr id="159" name="Group 158"/>
          <p:cNvGrpSpPr/>
          <p:nvPr/>
        </p:nvGrpSpPr>
        <p:grpSpPr>
          <a:xfrm>
            <a:off x="3119991" y="1377298"/>
            <a:ext cx="322331" cy="320040"/>
            <a:chOff x="2965881" y="1377298"/>
            <a:chExt cx="322331" cy="320040"/>
          </a:xfrm>
        </p:grpSpPr>
        <p:sp>
          <p:nvSpPr>
            <p:cNvPr id="160" name="Rounded Rectangle 159"/>
            <p:cNvSpPr/>
            <p:nvPr/>
          </p:nvSpPr>
          <p:spPr bwMode="auto">
            <a:xfrm>
              <a:off x="2965881" y="1377298"/>
              <a:ext cx="322331" cy="320040"/>
            </a:xfrm>
            <a:prstGeom prst="roundRect">
              <a:avLst>
                <a:gd name="adj" fmla="val 4802"/>
              </a:avLst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sz="900" kern="0" dirty="0" err="1">
                <a:solidFill>
                  <a:srgbClr val="2968AF">
                    <a:lumMod val="50000"/>
                  </a:srgbClr>
                </a:solidFill>
                <a:latin typeface="Arial"/>
                <a:sym typeface="Arial" pitchFamily="-107" charset="0"/>
              </a:endParaRPr>
            </a:p>
          </p:txBody>
        </p:sp>
        <p:sp>
          <p:nvSpPr>
            <p:cNvPr id="161" name="Rectangle 17"/>
            <p:cNvSpPr>
              <a:spLocks noChangeAspect="1" noChangeArrowheads="1"/>
            </p:cNvSpPr>
            <p:nvPr/>
          </p:nvSpPr>
          <p:spPr bwMode="auto">
            <a:xfrm>
              <a:off x="3008237" y="1417995"/>
              <a:ext cx="246888" cy="246888"/>
            </a:xfrm>
            <a:custGeom>
              <a:avLst/>
              <a:gdLst/>
              <a:ahLst/>
              <a:cxnLst/>
              <a:rect l="l" t="t" r="r" b="b"/>
              <a:pathLst>
                <a:path w="1099079" h="704991">
                  <a:moveTo>
                    <a:pt x="954808" y="626357"/>
                  </a:moveTo>
                  <a:lnTo>
                    <a:pt x="1099079" y="626357"/>
                  </a:lnTo>
                  <a:lnTo>
                    <a:pt x="1099079" y="704991"/>
                  </a:lnTo>
                  <a:lnTo>
                    <a:pt x="954808" y="704991"/>
                  </a:lnTo>
                  <a:close/>
                  <a:moveTo>
                    <a:pt x="571836" y="626357"/>
                  </a:moveTo>
                  <a:lnTo>
                    <a:pt x="907593" y="626357"/>
                  </a:lnTo>
                  <a:lnTo>
                    <a:pt x="907593" y="704991"/>
                  </a:lnTo>
                  <a:lnTo>
                    <a:pt x="571836" y="704991"/>
                  </a:lnTo>
                  <a:close/>
                  <a:moveTo>
                    <a:pt x="191486" y="626357"/>
                  </a:moveTo>
                  <a:lnTo>
                    <a:pt x="527243" y="626357"/>
                  </a:lnTo>
                  <a:lnTo>
                    <a:pt x="527243" y="704991"/>
                  </a:lnTo>
                  <a:lnTo>
                    <a:pt x="191486" y="704991"/>
                  </a:lnTo>
                  <a:close/>
                  <a:moveTo>
                    <a:pt x="0" y="626357"/>
                  </a:moveTo>
                  <a:lnTo>
                    <a:pt x="144271" y="626357"/>
                  </a:lnTo>
                  <a:lnTo>
                    <a:pt x="144271" y="704991"/>
                  </a:lnTo>
                  <a:lnTo>
                    <a:pt x="0" y="704991"/>
                  </a:lnTo>
                  <a:close/>
                  <a:moveTo>
                    <a:pt x="763322" y="501628"/>
                  </a:moveTo>
                  <a:lnTo>
                    <a:pt x="1099079" y="501628"/>
                  </a:lnTo>
                  <a:lnTo>
                    <a:pt x="1099079" y="577550"/>
                  </a:lnTo>
                  <a:lnTo>
                    <a:pt x="763322" y="577550"/>
                  </a:lnTo>
                  <a:close/>
                  <a:moveTo>
                    <a:pt x="382973" y="501628"/>
                  </a:moveTo>
                  <a:lnTo>
                    <a:pt x="718730" y="501628"/>
                  </a:lnTo>
                  <a:lnTo>
                    <a:pt x="718730" y="577550"/>
                  </a:lnTo>
                  <a:lnTo>
                    <a:pt x="382973" y="577550"/>
                  </a:lnTo>
                  <a:close/>
                  <a:moveTo>
                    <a:pt x="0" y="501628"/>
                  </a:moveTo>
                  <a:lnTo>
                    <a:pt x="335757" y="501628"/>
                  </a:lnTo>
                  <a:lnTo>
                    <a:pt x="335757" y="577550"/>
                  </a:lnTo>
                  <a:lnTo>
                    <a:pt x="0" y="577550"/>
                  </a:lnTo>
                  <a:close/>
                  <a:moveTo>
                    <a:pt x="954808" y="376899"/>
                  </a:moveTo>
                  <a:lnTo>
                    <a:pt x="1099079" y="376899"/>
                  </a:lnTo>
                  <a:lnTo>
                    <a:pt x="1099079" y="452821"/>
                  </a:lnTo>
                  <a:lnTo>
                    <a:pt x="954808" y="452821"/>
                  </a:lnTo>
                  <a:close/>
                  <a:moveTo>
                    <a:pt x="571836" y="376899"/>
                  </a:moveTo>
                  <a:lnTo>
                    <a:pt x="907593" y="376899"/>
                  </a:lnTo>
                  <a:lnTo>
                    <a:pt x="907593" y="452821"/>
                  </a:lnTo>
                  <a:lnTo>
                    <a:pt x="571836" y="452821"/>
                  </a:lnTo>
                  <a:close/>
                  <a:moveTo>
                    <a:pt x="191486" y="376899"/>
                  </a:moveTo>
                  <a:lnTo>
                    <a:pt x="527243" y="376899"/>
                  </a:lnTo>
                  <a:lnTo>
                    <a:pt x="527243" y="452821"/>
                  </a:lnTo>
                  <a:lnTo>
                    <a:pt x="191486" y="452821"/>
                  </a:lnTo>
                  <a:close/>
                  <a:moveTo>
                    <a:pt x="0" y="376899"/>
                  </a:moveTo>
                  <a:lnTo>
                    <a:pt x="144271" y="376899"/>
                  </a:lnTo>
                  <a:lnTo>
                    <a:pt x="144271" y="452821"/>
                  </a:lnTo>
                  <a:lnTo>
                    <a:pt x="0" y="452821"/>
                  </a:lnTo>
                  <a:close/>
                  <a:moveTo>
                    <a:pt x="763322" y="249458"/>
                  </a:moveTo>
                  <a:lnTo>
                    <a:pt x="1099079" y="249458"/>
                  </a:lnTo>
                  <a:lnTo>
                    <a:pt x="1099079" y="328092"/>
                  </a:lnTo>
                  <a:lnTo>
                    <a:pt x="763322" y="328092"/>
                  </a:lnTo>
                  <a:close/>
                  <a:moveTo>
                    <a:pt x="382973" y="249458"/>
                  </a:moveTo>
                  <a:lnTo>
                    <a:pt x="718730" y="249458"/>
                  </a:lnTo>
                  <a:lnTo>
                    <a:pt x="718730" y="328092"/>
                  </a:lnTo>
                  <a:lnTo>
                    <a:pt x="382973" y="328092"/>
                  </a:lnTo>
                  <a:close/>
                  <a:moveTo>
                    <a:pt x="0" y="249458"/>
                  </a:moveTo>
                  <a:lnTo>
                    <a:pt x="335757" y="249458"/>
                  </a:lnTo>
                  <a:lnTo>
                    <a:pt x="335757" y="328092"/>
                  </a:lnTo>
                  <a:lnTo>
                    <a:pt x="0" y="328092"/>
                  </a:lnTo>
                  <a:close/>
                  <a:moveTo>
                    <a:pt x="954808" y="124729"/>
                  </a:moveTo>
                  <a:lnTo>
                    <a:pt x="1099079" y="124729"/>
                  </a:lnTo>
                  <a:lnTo>
                    <a:pt x="1099079" y="203363"/>
                  </a:lnTo>
                  <a:lnTo>
                    <a:pt x="954808" y="203363"/>
                  </a:lnTo>
                  <a:close/>
                  <a:moveTo>
                    <a:pt x="571836" y="124729"/>
                  </a:moveTo>
                  <a:lnTo>
                    <a:pt x="907593" y="124729"/>
                  </a:lnTo>
                  <a:lnTo>
                    <a:pt x="907593" y="203363"/>
                  </a:lnTo>
                  <a:lnTo>
                    <a:pt x="571836" y="203363"/>
                  </a:lnTo>
                  <a:close/>
                  <a:moveTo>
                    <a:pt x="191486" y="124729"/>
                  </a:moveTo>
                  <a:lnTo>
                    <a:pt x="527243" y="124729"/>
                  </a:lnTo>
                  <a:lnTo>
                    <a:pt x="527243" y="203363"/>
                  </a:lnTo>
                  <a:lnTo>
                    <a:pt x="191486" y="203363"/>
                  </a:lnTo>
                  <a:close/>
                  <a:moveTo>
                    <a:pt x="0" y="124729"/>
                  </a:moveTo>
                  <a:lnTo>
                    <a:pt x="144271" y="124729"/>
                  </a:lnTo>
                  <a:lnTo>
                    <a:pt x="144271" y="203363"/>
                  </a:lnTo>
                  <a:lnTo>
                    <a:pt x="0" y="203363"/>
                  </a:lnTo>
                  <a:close/>
                  <a:moveTo>
                    <a:pt x="763322" y="0"/>
                  </a:moveTo>
                  <a:lnTo>
                    <a:pt x="1099079" y="0"/>
                  </a:lnTo>
                  <a:lnTo>
                    <a:pt x="1099079" y="75922"/>
                  </a:lnTo>
                  <a:lnTo>
                    <a:pt x="763322" y="75922"/>
                  </a:lnTo>
                  <a:close/>
                  <a:moveTo>
                    <a:pt x="382973" y="0"/>
                  </a:moveTo>
                  <a:lnTo>
                    <a:pt x="718730" y="0"/>
                  </a:lnTo>
                  <a:lnTo>
                    <a:pt x="718730" y="75922"/>
                  </a:lnTo>
                  <a:lnTo>
                    <a:pt x="382973" y="75922"/>
                  </a:lnTo>
                  <a:close/>
                  <a:moveTo>
                    <a:pt x="0" y="0"/>
                  </a:moveTo>
                  <a:lnTo>
                    <a:pt x="335757" y="0"/>
                  </a:lnTo>
                  <a:lnTo>
                    <a:pt x="335757" y="75922"/>
                  </a:lnTo>
                  <a:lnTo>
                    <a:pt x="0" y="75922"/>
                  </a:lnTo>
                  <a:close/>
                </a:path>
              </a:pathLst>
            </a:cu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lIns="91420" tIns="45710" rIns="91420" bIns="45710" rtlCol="0" anchor="ctr"/>
            <a:lstStyle/>
            <a:p>
              <a:pPr algn="ctr" defTabSz="456706"/>
              <a:endParaRPr lang="en-US" kern="0" dirty="0">
                <a:solidFill>
                  <a:srgbClr val="2968AF">
                    <a:lumMod val="50000"/>
                  </a:srgbClr>
                </a:solidFill>
                <a:latin typeface="Arial"/>
              </a:endParaRPr>
            </a:p>
          </p:txBody>
        </p:sp>
      </p:grpSp>
      <p:grpSp>
        <p:nvGrpSpPr>
          <p:cNvPr id="162" name="Group 161"/>
          <p:cNvGrpSpPr/>
          <p:nvPr/>
        </p:nvGrpSpPr>
        <p:grpSpPr>
          <a:xfrm>
            <a:off x="1559740" y="1376008"/>
            <a:ext cx="322331" cy="320040"/>
            <a:chOff x="1405630" y="1376008"/>
            <a:chExt cx="322331" cy="320040"/>
          </a:xfrm>
        </p:grpSpPr>
        <p:sp>
          <p:nvSpPr>
            <p:cNvPr id="163" name="Rounded Rectangle 162"/>
            <p:cNvSpPr/>
            <p:nvPr/>
          </p:nvSpPr>
          <p:spPr bwMode="auto">
            <a:xfrm>
              <a:off x="1405630" y="1376008"/>
              <a:ext cx="322331" cy="320040"/>
            </a:xfrm>
            <a:prstGeom prst="roundRect">
              <a:avLst>
                <a:gd name="adj" fmla="val 4802"/>
              </a:avLst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sz="600" kern="0" dirty="0">
                <a:solidFill>
                  <a:srgbClr val="2968AF">
                    <a:lumMod val="50000"/>
                  </a:srgbClr>
                </a:solidFill>
                <a:latin typeface="Arial"/>
                <a:sym typeface="Arial" pitchFamily="-107" charset="0"/>
              </a:endParaRPr>
            </a:p>
          </p:txBody>
        </p:sp>
        <p:sp>
          <p:nvSpPr>
            <p:cNvPr id="164" name="Freeform 163"/>
            <p:cNvSpPr>
              <a:spLocks noChangeAspect="1"/>
            </p:cNvSpPr>
            <p:nvPr/>
          </p:nvSpPr>
          <p:spPr>
            <a:xfrm>
              <a:off x="1426057" y="1448633"/>
              <a:ext cx="284095" cy="182880"/>
            </a:xfrm>
            <a:custGeom>
              <a:avLst/>
              <a:gdLst>
                <a:gd name="connsiteX0" fmla="*/ 571365 w 2130711"/>
                <a:gd name="connsiteY0" fmla="*/ 1016018 h 1371600"/>
                <a:gd name="connsiteX1" fmla="*/ 572502 w 2130711"/>
                <a:gd name="connsiteY1" fmla="*/ 1018113 h 1371600"/>
                <a:gd name="connsiteX2" fmla="*/ 1065355 w 2130711"/>
                <a:gd name="connsiteY2" fmla="*/ 1280160 h 1371600"/>
                <a:gd name="connsiteX3" fmla="*/ 1558208 w 2130711"/>
                <a:gd name="connsiteY3" fmla="*/ 1018113 h 1371600"/>
                <a:gd name="connsiteX4" fmla="*/ 1559345 w 2130711"/>
                <a:gd name="connsiteY4" fmla="*/ 1016018 h 1371600"/>
                <a:gd name="connsiteX5" fmla="*/ 0 w 2130711"/>
                <a:gd name="connsiteY5" fmla="*/ 944690 h 1371600"/>
                <a:gd name="connsiteX6" fmla="*/ 0 w 2130711"/>
                <a:gd name="connsiteY6" fmla="*/ 944691 h 1371600"/>
                <a:gd name="connsiteX7" fmla="*/ 0 w 2130711"/>
                <a:gd name="connsiteY7" fmla="*/ 944691 h 1371600"/>
                <a:gd name="connsiteX8" fmla="*/ 496498 w 2130711"/>
                <a:gd name="connsiteY8" fmla="*/ 522758 h 1371600"/>
                <a:gd name="connsiteX9" fmla="*/ 483070 w 2130711"/>
                <a:gd name="connsiteY9" fmla="*/ 566015 h 1371600"/>
                <a:gd name="connsiteX10" fmla="*/ 470995 w 2130711"/>
                <a:gd name="connsiteY10" fmla="*/ 685800 h 1371600"/>
                <a:gd name="connsiteX11" fmla="*/ 483070 w 2130711"/>
                <a:gd name="connsiteY11" fmla="*/ 805584 h 1371600"/>
                <a:gd name="connsiteX12" fmla="*/ 504110 w 2130711"/>
                <a:gd name="connsiteY12" fmla="*/ 873364 h 1371600"/>
                <a:gd name="connsiteX13" fmla="*/ 1626600 w 2130711"/>
                <a:gd name="connsiteY13" fmla="*/ 873364 h 1371600"/>
                <a:gd name="connsiteX14" fmla="*/ 1647640 w 2130711"/>
                <a:gd name="connsiteY14" fmla="*/ 805584 h 1371600"/>
                <a:gd name="connsiteX15" fmla="*/ 1659715 w 2130711"/>
                <a:gd name="connsiteY15" fmla="*/ 685800 h 1371600"/>
                <a:gd name="connsiteX16" fmla="*/ 1647640 w 2130711"/>
                <a:gd name="connsiteY16" fmla="*/ 566015 h 1371600"/>
                <a:gd name="connsiteX17" fmla="*/ 1634212 w 2130711"/>
                <a:gd name="connsiteY17" fmla="*/ 522759 h 1371600"/>
                <a:gd name="connsiteX18" fmla="*/ 1065355 w 2130711"/>
                <a:gd name="connsiteY18" fmla="*/ 91440 h 1371600"/>
                <a:gd name="connsiteX19" fmla="*/ 572502 w 2130711"/>
                <a:gd name="connsiteY19" fmla="*/ 353487 h 1371600"/>
                <a:gd name="connsiteX20" fmla="*/ 558055 w 2130711"/>
                <a:gd name="connsiteY20" fmla="*/ 380105 h 1371600"/>
                <a:gd name="connsiteX21" fmla="*/ 1572655 w 2130711"/>
                <a:gd name="connsiteY21" fmla="*/ 380105 h 1371600"/>
                <a:gd name="connsiteX22" fmla="*/ 1558208 w 2130711"/>
                <a:gd name="connsiteY22" fmla="*/ 353487 h 1371600"/>
                <a:gd name="connsiteX23" fmla="*/ 1065355 w 2130711"/>
                <a:gd name="connsiteY23" fmla="*/ 91440 h 1371600"/>
                <a:gd name="connsiteX24" fmla="*/ 1065355 w 2130711"/>
                <a:gd name="connsiteY24" fmla="*/ 0 h 1371600"/>
                <a:gd name="connsiteX25" fmla="*/ 1634031 w 2130711"/>
                <a:gd name="connsiteY25" fmla="*/ 302362 h 1371600"/>
                <a:gd name="connsiteX26" fmla="*/ 1676228 w 2130711"/>
                <a:gd name="connsiteY26" fmla="*/ 380105 h 1371600"/>
                <a:gd name="connsiteX27" fmla="*/ 2059384 w 2130711"/>
                <a:gd name="connsiteY27" fmla="*/ 380105 h 1371600"/>
                <a:gd name="connsiteX28" fmla="*/ 2130711 w 2130711"/>
                <a:gd name="connsiteY28" fmla="*/ 451432 h 1371600"/>
                <a:gd name="connsiteX29" fmla="*/ 2130710 w 2130711"/>
                <a:gd name="connsiteY29" fmla="*/ 451432 h 1371600"/>
                <a:gd name="connsiteX30" fmla="*/ 2059383 w 2130711"/>
                <a:gd name="connsiteY30" fmla="*/ 522759 h 1371600"/>
                <a:gd name="connsiteX31" fmla="*/ 1729515 w 2130711"/>
                <a:gd name="connsiteY31" fmla="*/ 522759 h 1371600"/>
                <a:gd name="connsiteX32" fmla="*/ 1737222 w 2130711"/>
                <a:gd name="connsiteY32" fmla="*/ 547587 h 1371600"/>
                <a:gd name="connsiteX33" fmla="*/ 1751155 w 2130711"/>
                <a:gd name="connsiteY33" fmla="*/ 685800 h 1371600"/>
                <a:gd name="connsiteX34" fmla="*/ 1737222 w 2130711"/>
                <a:gd name="connsiteY34" fmla="*/ 824012 h 1371600"/>
                <a:gd name="connsiteX35" fmla="*/ 1721903 w 2130711"/>
                <a:gd name="connsiteY35" fmla="*/ 873364 h 1371600"/>
                <a:gd name="connsiteX36" fmla="*/ 1898172 w 2130711"/>
                <a:gd name="connsiteY36" fmla="*/ 873364 h 1371600"/>
                <a:gd name="connsiteX37" fmla="*/ 1854831 w 2130711"/>
                <a:gd name="connsiteY37" fmla="*/ 828964 h 1371600"/>
                <a:gd name="connsiteX38" fmla="*/ 1856023 w 2130711"/>
                <a:gd name="connsiteY38" fmla="*/ 730188 h 1371600"/>
                <a:gd name="connsiteX39" fmla="*/ 1905658 w 2130711"/>
                <a:gd name="connsiteY39" fmla="*/ 710327 h 1371600"/>
                <a:gd name="connsiteX40" fmla="*/ 1954799 w 2130711"/>
                <a:gd name="connsiteY40" fmla="*/ 731380 h 1371600"/>
                <a:gd name="connsiteX41" fmla="*/ 2110844 w 2130711"/>
                <a:gd name="connsiteY41" fmla="*/ 891238 h 1371600"/>
                <a:gd name="connsiteX42" fmla="*/ 2125274 w 2130711"/>
                <a:gd name="connsiteY42" fmla="*/ 967094 h 1371600"/>
                <a:gd name="connsiteX43" fmla="*/ 2111651 w 2130711"/>
                <a:gd name="connsiteY43" fmla="*/ 987081 h 1371600"/>
                <a:gd name="connsiteX44" fmla="*/ 2104495 w 2130711"/>
                <a:gd name="connsiteY44" fmla="*/ 998145 h 1371600"/>
                <a:gd name="connsiteX45" fmla="*/ 1948448 w 2130711"/>
                <a:gd name="connsiteY45" fmla="*/ 1158002 h 1371600"/>
                <a:gd name="connsiteX46" fmla="*/ 1849672 w 2130711"/>
                <a:gd name="connsiteY46" fmla="*/ 1159194 h 1371600"/>
                <a:gd name="connsiteX47" fmla="*/ 1849674 w 2130711"/>
                <a:gd name="connsiteY47" fmla="*/ 1159194 h 1371600"/>
                <a:gd name="connsiteX48" fmla="*/ 1848482 w 2130711"/>
                <a:gd name="connsiteY48" fmla="*/ 1060418 h 1371600"/>
                <a:gd name="connsiteX49" fmla="*/ 1891822 w 2130711"/>
                <a:gd name="connsiteY49" fmla="*/ 1016018 h 1371600"/>
                <a:gd name="connsiteX50" fmla="*/ 1662918 w 2130711"/>
                <a:gd name="connsiteY50" fmla="*/ 1016018 h 1371600"/>
                <a:gd name="connsiteX51" fmla="*/ 1634031 w 2130711"/>
                <a:gd name="connsiteY51" fmla="*/ 1069238 h 1371600"/>
                <a:gd name="connsiteX52" fmla="*/ 1065355 w 2130711"/>
                <a:gd name="connsiteY52" fmla="*/ 1371600 h 1371600"/>
                <a:gd name="connsiteX53" fmla="*/ 496679 w 2130711"/>
                <a:gd name="connsiteY53" fmla="*/ 1069238 h 1371600"/>
                <a:gd name="connsiteX54" fmla="*/ 467792 w 2130711"/>
                <a:gd name="connsiteY54" fmla="*/ 1016017 h 1371600"/>
                <a:gd name="connsiteX55" fmla="*/ 71327 w 2130711"/>
                <a:gd name="connsiteY55" fmla="*/ 1016017 h 1371600"/>
                <a:gd name="connsiteX56" fmla="*/ 20891 w 2130711"/>
                <a:gd name="connsiteY56" fmla="*/ 995126 h 1371600"/>
                <a:gd name="connsiteX57" fmla="*/ 0 w 2130711"/>
                <a:gd name="connsiteY57" fmla="*/ 944691 h 1371600"/>
                <a:gd name="connsiteX58" fmla="*/ 20891 w 2130711"/>
                <a:gd name="connsiteY58" fmla="*/ 894255 h 1371600"/>
                <a:gd name="connsiteX59" fmla="*/ 71327 w 2130711"/>
                <a:gd name="connsiteY59" fmla="*/ 873364 h 1371600"/>
                <a:gd name="connsiteX60" fmla="*/ 408808 w 2130711"/>
                <a:gd name="connsiteY60" fmla="*/ 873364 h 1371600"/>
                <a:gd name="connsiteX61" fmla="*/ 393488 w 2130711"/>
                <a:gd name="connsiteY61" fmla="*/ 824012 h 1371600"/>
                <a:gd name="connsiteX62" fmla="*/ 379555 w 2130711"/>
                <a:gd name="connsiteY62" fmla="*/ 685800 h 1371600"/>
                <a:gd name="connsiteX63" fmla="*/ 393488 w 2130711"/>
                <a:gd name="connsiteY63" fmla="*/ 547587 h 1371600"/>
                <a:gd name="connsiteX64" fmla="*/ 401196 w 2130711"/>
                <a:gd name="connsiteY64" fmla="*/ 522758 h 1371600"/>
                <a:gd name="connsiteX65" fmla="*/ 238887 w 2130711"/>
                <a:gd name="connsiteY65" fmla="*/ 522758 h 1371600"/>
                <a:gd name="connsiteX66" fmla="*/ 282229 w 2130711"/>
                <a:gd name="connsiteY66" fmla="*/ 567158 h 1371600"/>
                <a:gd name="connsiteX67" fmla="*/ 281037 w 2130711"/>
                <a:gd name="connsiteY67" fmla="*/ 665934 h 1371600"/>
                <a:gd name="connsiteX68" fmla="*/ 281039 w 2130711"/>
                <a:gd name="connsiteY68" fmla="*/ 665934 h 1371600"/>
                <a:gd name="connsiteX69" fmla="*/ 182263 w 2130711"/>
                <a:gd name="connsiteY69" fmla="*/ 664742 h 1371600"/>
                <a:gd name="connsiteX70" fmla="*/ 26216 w 2130711"/>
                <a:gd name="connsiteY70" fmla="*/ 504885 h 1371600"/>
                <a:gd name="connsiteX71" fmla="*/ 19060 w 2130711"/>
                <a:gd name="connsiteY71" fmla="*/ 493821 h 1371600"/>
                <a:gd name="connsiteX72" fmla="*/ 5437 w 2130711"/>
                <a:gd name="connsiteY72" fmla="*/ 473834 h 1371600"/>
                <a:gd name="connsiteX73" fmla="*/ 19867 w 2130711"/>
                <a:gd name="connsiteY73" fmla="*/ 397978 h 1371600"/>
                <a:gd name="connsiteX74" fmla="*/ 175912 w 2130711"/>
                <a:gd name="connsiteY74" fmla="*/ 238121 h 1371600"/>
                <a:gd name="connsiteX75" fmla="*/ 225053 w 2130711"/>
                <a:gd name="connsiteY75" fmla="*/ 217068 h 1371600"/>
                <a:gd name="connsiteX76" fmla="*/ 274688 w 2130711"/>
                <a:gd name="connsiteY76" fmla="*/ 236929 h 1371600"/>
                <a:gd name="connsiteX77" fmla="*/ 275880 w 2130711"/>
                <a:gd name="connsiteY77" fmla="*/ 335705 h 1371600"/>
                <a:gd name="connsiteX78" fmla="*/ 232538 w 2130711"/>
                <a:gd name="connsiteY78" fmla="*/ 380105 h 1371600"/>
                <a:gd name="connsiteX79" fmla="*/ 454482 w 2130711"/>
                <a:gd name="connsiteY79" fmla="*/ 380105 h 1371600"/>
                <a:gd name="connsiteX80" fmla="*/ 496679 w 2130711"/>
                <a:gd name="connsiteY80" fmla="*/ 302362 h 1371600"/>
                <a:gd name="connsiteX81" fmla="*/ 1065355 w 2130711"/>
                <a:gd name="connsiteY81" fmla="*/ 0 h 137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2130711" h="1371600">
                  <a:moveTo>
                    <a:pt x="571365" y="1016018"/>
                  </a:moveTo>
                  <a:lnTo>
                    <a:pt x="572502" y="1018113"/>
                  </a:lnTo>
                  <a:cubicBezTo>
                    <a:pt x="679313" y="1176213"/>
                    <a:pt x="860195" y="1280160"/>
                    <a:pt x="1065355" y="1280160"/>
                  </a:cubicBezTo>
                  <a:cubicBezTo>
                    <a:pt x="1270515" y="1280160"/>
                    <a:pt x="1451397" y="1176213"/>
                    <a:pt x="1558208" y="1018113"/>
                  </a:cubicBezTo>
                  <a:lnTo>
                    <a:pt x="1559345" y="1016018"/>
                  </a:lnTo>
                  <a:close/>
                  <a:moveTo>
                    <a:pt x="0" y="944690"/>
                  </a:moveTo>
                  <a:lnTo>
                    <a:pt x="0" y="944691"/>
                  </a:lnTo>
                  <a:lnTo>
                    <a:pt x="0" y="944691"/>
                  </a:lnTo>
                  <a:close/>
                  <a:moveTo>
                    <a:pt x="496498" y="522758"/>
                  </a:moveTo>
                  <a:lnTo>
                    <a:pt x="483070" y="566015"/>
                  </a:lnTo>
                  <a:cubicBezTo>
                    <a:pt x="475153" y="604707"/>
                    <a:pt x="470995" y="644768"/>
                    <a:pt x="470995" y="685800"/>
                  </a:cubicBezTo>
                  <a:cubicBezTo>
                    <a:pt x="470995" y="726832"/>
                    <a:pt x="475153" y="766893"/>
                    <a:pt x="483070" y="805584"/>
                  </a:cubicBezTo>
                  <a:lnTo>
                    <a:pt x="504110" y="873364"/>
                  </a:lnTo>
                  <a:lnTo>
                    <a:pt x="1626600" y="873364"/>
                  </a:lnTo>
                  <a:lnTo>
                    <a:pt x="1647640" y="805584"/>
                  </a:lnTo>
                  <a:cubicBezTo>
                    <a:pt x="1655557" y="766893"/>
                    <a:pt x="1659715" y="726832"/>
                    <a:pt x="1659715" y="685800"/>
                  </a:cubicBezTo>
                  <a:cubicBezTo>
                    <a:pt x="1659715" y="644768"/>
                    <a:pt x="1655557" y="604707"/>
                    <a:pt x="1647640" y="566015"/>
                  </a:cubicBezTo>
                  <a:lnTo>
                    <a:pt x="1634212" y="522759"/>
                  </a:lnTo>
                  <a:close/>
                  <a:moveTo>
                    <a:pt x="1065355" y="91440"/>
                  </a:moveTo>
                  <a:cubicBezTo>
                    <a:pt x="860195" y="91440"/>
                    <a:pt x="679313" y="195387"/>
                    <a:pt x="572502" y="353487"/>
                  </a:cubicBezTo>
                  <a:lnTo>
                    <a:pt x="558055" y="380105"/>
                  </a:lnTo>
                  <a:lnTo>
                    <a:pt x="1572655" y="380105"/>
                  </a:lnTo>
                  <a:lnTo>
                    <a:pt x="1558208" y="353487"/>
                  </a:lnTo>
                  <a:cubicBezTo>
                    <a:pt x="1451397" y="195387"/>
                    <a:pt x="1270515" y="91440"/>
                    <a:pt x="1065355" y="91440"/>
                  </a:cubicBezTo>
                  <a:close/>
                  <a:moveTo>
                    <a:pt x="1065355" y="0"/>
                  </a:moveTo>
                  <a:cubicBezTo>
                    <a:pt x="1302078" y="0"/>
                    <a:pt x="1510788" y="119938"/>
                    <a:pt x="1634031" y="302362"/>
                  </a:cubicBezTo>
                  <a:lnTo>
                    <a:pt x="1676228" y="380105"/>
                  </a:lnTo>
                  <a:lnTo>
                    <a:pt x="2059384" y="380105"/>
                  </a:lnTo>
                  <a:cubicBezTo>
                    <a:pt x="2098777" y="380105"/>
                    <a:pt x="2130711" y="412039"/>
                    <a:pt x="2130711" y="451432"/>
                  </a:cubicBezTo>
                  <a:lnTo>
                    <a:pt x="2130710" y="451432"/>
                  </a:lnTo>
                  <a:cubicBezTo>
                    <a:pt x="2130710" y="490825"/>
                    <a:pt x="2098776" y="522759"/>
                    <a:pt x="2059383" y="522759"/>
                  </a:cubicBezTo>
                  <a:lnTo>
                    <a:pt x="1729515" y="522759"/>
                  </a:lnTo>
                  <a:lnTo>
                    <a:pt x="1737222" y="547587"/>
                  </a:lnTo>
                  <a:cubicBezTo>
                    <a:pt x="1746358" y="592231"/>
                    <a:pt x="1751155" y="638455"/>
                    <a:pt x="1751155" y="685800"/>
                  </a:cubicBezTo>
                  <a:cubicBezTo>
                    <a:pt x="1751155" y="733144"/>
                    <a:pt x="1746358" y="779368"/>
                    <a:pt x="1737222" y="824012"/>
                  </a:cubicBezTo>
                  <a:lnTo>
                    <a:pt x="1721903" y="873364"/>
                  </a:lnTo>
                  <a:lnTo>
                    <a:pt x="1898172" y="873364"/>
                  </a:lnTo>
                  <a:lnTo>
                    <a:pt x="1854831" y="828964"/>
                  </a:lnTo>
                  <a:cubicBezTo>
                    <a:pt x="1827884" y="801358"/>
                    <a:pt x="1828418" y="757135"/>
                    <a:pt x="1856023" y="730188"/>
                  </a:cubicBezTo>
                  <a:cubicBezTo>
                    <a:pt x="1869825" y="716714"/>
                    <a:pt x="1887783" y="710111"/>
                    <a:pt x="1905658" y="710327"/>
                  </a:cubicBezTo>
                  <a:cubicBezTo>
                    <a:pt x="1923532" y="710542"/>
                    <a:pt x="1941325" y="717577"/>
                    <a:pt x="1954799" y="731380"/>
                  </a:cubicBezTo>
                  <a:lnTo>
                    <a:pt x="2110844" y="891238"/>
                  </a:lnTo>
                  <a:cubicBezTo>
                    <a:pt x="2131054" y="911942"/>
                    <a:pt x="2135807" y="941994"/>
                    <a:pt x="2125274" y="967094"/>
                  </a:cubicBezTo>
                  <a:lnTo>
                    <a:pt x="2111651" y="987081"/>
                  </a:lnTo>
                  <a:lnTo>
                    <a:pt x="2104495" y="998145"/>
                  </a:lnTo>
                  <a:cubicBezTo>
                    <a:pt x="2052479" y="1051431"/>
                    <a:pt x="2000464" y="1104716"/>
                    <a:pt x="1948448" y="1158002"/>
                  </a:cubicBezTo>
                  <a:cubicBezTo>
                    <a:pt x="1921501" y="1185607"/>
                    <a:pt x="1877278" y="1186141"/>
                    <a:pt x="1849672" y="1159194"/>
                  </a:cubicBezTo>
                  <a:lnTo>
                    <a:pt x="1849674" y="1159194"/>
                  </a:lnTo>
                  <a:cubicBezTo>
                    <a:pt x="1822069" y="1132247"/>
                    <a:pt x="1821535" y="1088023"/>
                    <a:pt x="1848482" y="1060418"/>
                  </a:cubicBezTo>
                  <a:lnTo>
                    <a:pt x="1891822" y="1016018"/>
                  </a:lnTo>
                  <a:lnTo>
                    <a:pt x="1662918" y="1016018"/>
                  </a:lnTo>
                  <a:lnTo>
                    <a:pt x="1634031" y="1069238"/>
                  </a:lnTo>
                  <a:cubicBezTo>
                    <a:pt x="1510788" y="1251662"/>
                    <a:pt x="1302078" y="1371600"/>
                    <a:pt x="1065355" y="1371600"/>
                  </a:cubicBezTo>
                  <a:cubicBezTo>
                    <a:pt x="828632" y="1371600"/>
                    <a:pt x="619922" y="1251662"/>
                    <a:pt x="496679" y="1069238"/>
                  </a:cubicBezTo>
                  <a:lnTo>
                    <a:pt x="467792" y="1016017"/>
                  </a:lnTo>
                  <a:lnTo>
                    <a:pt x="71327" y="1016017"/>
                  </a:lnTo>
                  <a:cubicBezTo>
                    <a:pt x="51631" y="1016017"/>
                    <a:pt x="33799" y="1008034"/>
                    <a:pt x="20891" y="995126"/>
                  </a:cubicBezTo>
                  <a:lnTo>
                    <a:pt x="0" y="944691"/>
                  </a:lnTo>
                  <a:lnTo>
                    <a:pt x="20891" y="894255"/>
                  </a:lnTo>
                  <a:cubicBezTo>
                    <a:pt x="33799" y="881348"/>
                    <a:pt x="51631" y="873364"/>
                    <a:pt x="71327" y="873364"/>
                  </a:cubicBezTo>
                  <a:lnTo>
                    <a:pt x="408808" y="873364"/>
                  </a:lnTo>
                  <a:lnTo>
                    <a:pt x="393488" y="824012"/>
                  </a:lnTo>
                  <a:cubicBezTo>
                    <a:pt x="384353" y="779368"/>
                    <a:pt x="379555" y="733144"/>
                    <a:pt x="379555" y="685800"/>
                  </a:cubicBezTo>
                  <a:cubicBezTo>
                    <a:pt x="379555" y="638455"/>
                    <a:pt x="384353" y="592231"/>
                    <a:pt x="393488" y="547587"/>
                  </a:cubicBezTo>
                  <a:lnTo>
                    <a:pt x="401196" y="522758"/>
                  </a:lnTo>
                  <a:lnTo>
                    <a:pt x="238887" y="522758"/>
                  </a:lnTo>
                  <a:lnTo>
                    <a:pt x="282229" y="567158"/>
                  </a:lnTo>
                  <a:cubicBezTo>
                    <a:pt x="309176" y="594763"/>
                    <a:pt x="308642" y="638987"/>
                    <a:pt x="281037" y="665934"/>
                  </a:cubicBezTo>
                  <a:lnTo>
                    <a:pt x="281039" y="665934"/>
                  </a:lnTo>
                  <a:cubicBezTo>
                    <a:pt x="253433" y="692881"/>
                    <a:pt x="209210" y="692347"/>
                    <a:pt x="182263" y="664742"/>
                  </a:cubicBezTo>
                  <a:cubicBezTo>
                    <a:pt x="130247" y="611456"/>
                    <a:pt x="78232" y="558171"/>
                    <a:pt x="26216" y="504885"/>
                  </a:cubicBezTo>
                  <a:lnTo>
                    <a:pt x="19060" y="493821"/>
                  </a:lnTo>
                  <a:lnTo>
                    <a:pt x="5437" y="473834"/>
                  </a:lnTo>
                  <a:cubicBezTo>
                    <a:pt x="-5097" y="448734"/>
                    <a:pt x="-344" y="418682"/>
                    <a:pt x="19867" y="397978"/>
                  </a:cubicBezTo>
                  <a:lnTo>
                    <a:pt x="175912" y="238121"/>
                  </a:lnTo>
                  <a:cubicBezTo>
                    <a:pt x="189386" y="224318"/>
                    <a:pt x="207179" y="217283"/>
                    <a:pt x="225053" y="217068"/>
                  </a:cubicBezTo>
                  <a:cubicBezTo>
                    <a:pt x="242928" y="216852"/>
                    <a:pt x="260886" y="223455"/>
                    <a:pt x="274688" y="236929"/>
                  </a:cubicBezTo>
                  <a:cubicBezTo>
                    <a:pt x="302293" y="263876"/>
                    <a:pt x="302827" y="308099"/>
                    <a:pt x="275880" y="335705"/>
                  </a:cubicBezTo>
                  <a:lnTo>
                    <a:pt x="232538" y="380105"/>
                  </a:lnTo>
                  <a:lnTo>
                    <a:pt x="454482" y="380105"/>
                  </a:lnTo>
                  <a:lnTo>
                    <a:pt x="496679" y="302362"/>
                  </a:lnTo>
                  <a:cubicBezTo>
                    <a:pt x="619922" y="119938"/>
                    <a:pt x="828632" y="0"/>
                    <a:pt x="1065355" y="0"/>
                  </a:cubicBezTo>
                  <a:close/>
                </a:path>
              </a:pathLst>
            </a:cu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kern="0">
                <a:solidFill>
                  <a:srgbClr val="2968AF">
                    <a:lumMod val="50000"/>
                  </a:srgbClr>
                </a:solidFill>
                <a:latin typeface="Arial"/>
              </a:endParaRPr>
            </a:p>
          </p:txBody>
        </p:sp>
      </p:grpSp>
      <p:sp>
        <p:nvSpPr>
          <p:cNvPr id="165" name="Rounded Rectangle 164"/>
          <p:cNvSpPr/>
          <p:nvPr/>
        </p:nvSpPr>
        <p:spPr bwMode="auto">
          <a:xfrm>
            <a:off x="605228" y="1271938"/>
            <a:ext cx="3023592" cy="530843"/>
          </a:xfrm>
          <a:prstGeom prst="roundRect">
            <a:avLst>
              <a:gd name="adj" fmla="val 12796"/>
            </a:avLst>
          </a:prstGeom>
          <a:noFill/>
          <a:ln w="12700" cap="rnd">
            <a:solidFill>
              <a:schemeClr val="accent1"/>
            </a:solidFill>
            <a:prstDash val="sysDash"/>
            <a:miter lim="800000"/>
            <a:headEnd type="none" w="med" len="med"/>
            <a:tailEnd type="none" w="med" len="med"/>
          </a:ln>
        </p:spPr>
        <p:txBody>
          <a:bodyPr wrap="square" lIns="91440" tIns="45720" rIns="91440" bIns="45720" rtlCol="0" anchor="ctr">
            <a:noAutofit/>
          </a:bodyPr>
          <a:lstStyle/>
          <a:p>
            <a:pPr algn="ctr" defTabSz="514350"/>
            <a:endParaRPr lang="en-US" sz="1400" dirty="0" err="1">
              <a:solidFill>
                <a:srgbClr val="FFFFFF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grpSp>
        <p:nvGrpSpPr>
          <p:cNvPr id="166" name="Group 165"/>
          <p:cNvGrpSpPr/>
          <p:nvPr/>
        </p:nvGrpSpPr>
        <p:grpSpPr>
          <a:xfrm>
            <a:off x="1160619" y="3750327"/>
            <a:ext cx="1153854" cy="203133"/>
            <a:chOff x="1006509" y="3750327"/>
            <a:chExt cx="1153854" cy="203133"/>
          </a:xfrm>
        </p:grpSpPr>
        <p:sp>
          <p:nvSpPr>
            <p:cNvPr id="167" name="Round Same Side Corner Rectangle 166"/>
            <p:cNvSpPr/>
            <p:nvPr/>
          </p:nvSpPr>
          <p:spPr bwMode="auto">
            <a:xfrm flipV="1">
              <a:off x="1006509" y="3762688"/>
              <a:ext cx="1153854" cy="151666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>
                <a:lumMod val="50000"/>
              </a:schemeClr>
            </a:solidFill>
            <a:ln w="19050" cap="rnd">
              <a:noFill/>
              <a:prstDash val="sysDot"/>
              <a:miter lim="800000"/>
              <a:headEnd type="none" w="med" len="med"/>
              <a:tailEnd type="none" w="med" len="med"/>
            </a:ln>
          </p:spPr>
          <p:txBody>
            <a:bodyPr wrap="square" lIns="91440" tIns="45720" rIns="91440" bIns="45720" rtlCol="0" anchor="ctr">
              <a:noAutofit/>
            </a:bodyPr>
            <a:lstStyle/>
            <a:p>
              <a:pPr algn="ctr" defTabSz="514350"/>
              <a:endParaRPr lang="en-US" sz="1400" dirty="0">
                <a:solidFill>
                  <a:srgbClr val="FFFFFF"/>
                </a:solidFill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  <p:sp>
          <p:nvSpPr>
            <p:cNvPr id="168" name="TextBox 167"/>
            <p:cNvSpPr txBox="1"/>
            <p:nvPr/>
          </p:nvSpPr>
          <p:spPr>
            <a:xfrm>
              <a:off x="1130724" y="3750327"/>
              <a:ext cx="918841" cy="2031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US" sz="800" b="1" smtClean="0">
                  <a:solidFill>
                    <a:srgbClr val="FFFFFF"/>
                  </a:solidFill>
                </a:rPr>
                <a:t>DATA CENTER</a:t>
              </a:r>
              <a:endParaRPr lang="en-US" sz="800" b="1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4371005" y="4693277"/>
            <a:ext cx="1187470" cy="203133"/>
            <a:chOff x="1006509" y="3750327"/>
            <a:chExt cx="1187470" cy="203133"/>
          </a:xfrm>
        </p:grpSpPr>
        <p:sp>
          <p:nvSpPr>
            <p:cNvPr id="170" name="Round Same Side Corner Rectangle 169"/>
            <p:cNvSpPr/>
            <p:nvPr/>
          </p:nvSpPr>
          <p:spPr bwMode="auto">
            <a:xfrm flipV="1">
              <a:off x="1006509" y="3762688"/>
              <a:ext cx="1153854" cy="151666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>
                <a:lumMod val="50000"/>
              </a:schemeClr>
            </a:solidFill>
            <a:ln w="19050" cap="rnd">
              <a:noFill/>
              <a:prstDash val="sysDot"/>
              <a:miter lim="800000"/>
              <a:headEnd type="none" w="med" len="med"/>
              <a:tailEnd type="none" w="med" len="med"/>
            </a:ln>
          </p:spPr>
          <p:txBody>
            <a:bodyPr wrap="square" lIns="91440" tIns="45720" rIns="91440" bIns="45720" rtlCol="0" anchor="ctr">
              <a:noAutofit/>
            </a:bodyPr>
            <a:lstStyle/>
            <a:p>
              <a:pPr algn="ctr" defTabSz="514350"/>
              <a:endParaRPr lang="en-US" sz="1400" dirty="0">
                <a:solidFill>
                  <a:srgbClr val="FFFFFF"/>
                </a:solidFill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  <p:sp>
          <p:nvSpPr>
            <p:cNvPr id="171" name="TextBox 170"/>
            <p:cNvSpPr txBox="1"/>
            <p:nvPr/>
          </p:nvSpPr>
          <p:spPr>
            <a:xfrm>
              <a:off x="1007436" y="3750327"/>
              <a:ext cx="1186543" cy="2031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US" sz="800" b="1" smtClean="0">
                  <a:solidFill>
                    <a:srgbClr val="FFFFFF"/>
                  </a:solidFill>
                </a:rPr>
                <a:t>CAMPUS NETWORK</a:t>
              </a:r>
              <a:endParaRPr lang="en-US" sz="800" b="1" dirty="0" smtClean="0">
                <a:solidFill>
                  <a:srgbClr val="FFFFFF"/>
                </a:solidFill>
              </a:endParaRPr>
            </a:p>
          </p:txBody>
        </p:sp>
      </p:grpSp>
      <p:grpSp>
        <p:nvGrpSpPr>
          <p:cNvPr id="172" name="Group 171"/>
          <p:cNvGrpSpPr/>
          <p:nvPr/>
        </p:nvGrpSpPr>
        <p:grpSpPr>
          <a:xfrm>
            <a:off x="7177773" y="2102372"/>
            <a:ext cx="1153854" cy="203133"/>
            <a:chOff x="1006509" y="3750327"/>
            <a:chExt cx="1153854" cy="203133"/>
          </a:xfrm>
        </p:grpSpPr>
        <p:sp>
          <p:nvSpPr>
            <p:cNvPr id="173" name="Round Same Side Corner Rectangle 172"/>
            <p:cNvSpPr/>
            <p:nvPr/>
          </p:nvSpPr>
          <p:spPr bwMode="auto">
            <a:xfrm flipV="1">
              <a:off x="1006509" y="3762688"/>
              <a:ext cx="1153854" cy="151666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bg1">
                <a:lumMod val="50000"/>
              </a:schemeClr>
            </a:solidFill>
            <a:ln w="19050" cap="rnd">
              <a:noFill/>
              <a:prstDash val="sysDot"/>
              <a:miter lim="800000"/>
              <a:headEnd type="none" w="med" len="med"/>
              <a:tailEnd type="none" w="med" len="med"/>
            </a:ln>
          </p:spPr>
          <p:txBody>
            <a:bodyPr wrap="square" lIns="91440" tIns="45720" rIns="91440" bIns="45720" rtlCol="0" anchor="ctr">
              <a:noAutofit/>
            </a:bodyPr>
            <a:lstStyle/>
            <a:p>
              <a:pPr algn="ctr" defTabSz="514350"/>
              <a:endParaRPr lang="en-US" sz="1400" dirty="0">
                <a:solidFill>
                  <a:srgbClr val="FFFFFF"/>
                </a:solidFill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  <p:sp>
          <p:nvSpPr>
            <p:cNvPr id="174" name="TextBox 173"/>
            <p:cNvSpPr txBox="1"/>
            <p:nvPr/>
          </p:nvSpPr>
          <p:spPr>
            <a:xfrm>
              <a:off x="1089628" y="3750327"/>
              <a:ext cx="1032655" cy="20313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US" sz="800" b="1" smtClean="0">
                  <a:solidFill>
                    <a:srgbClr val="FFFFFF"/>
                  </a:solidFill>
                </a:rPr>
                <a:t>BRANCH OFFICE</a:t>
              </a:r>
              <a:endParaRPr lang="en-US" sz="800" b="1" dirty="0" smtClean="0">
                <a:solidFill>
                  <a:srgbClr val="FFFFFF"/>
                </a:solidFill>
              </a:endParaRPr>
            </a:p>
          </p:txBody>
        </p:sp>
      </p:grpSp>
      <p:sp>
        <p:nvSpPr>
          <p:cNvPr id="175" name="Rectangle 27"/>
          <p:cNvSpPr>
            <a:spLocks noChangeAspect="1"/>
          </p:cNvSpPr>
          <p:nvPr/>
        </p:nvSpPr>
        <p:spPr>
          <a:xfrm>
            <a:off x="4135711" y="2537687"/>
            <a:ext cx="274320" cy="373484"/>
          </a:xfrm>
          <a:custGeom>
            <a:avLst/>
            <a:gdLst>
              <a:gd name="connsiteX0" fmla="*/ 1511300 w 1511300"/>
              <a:gd name="connsiteY0" fmla="*/ 1237501 h 1250809"/>
              <a:gd name="connsiteX1" fmla="*/ 1511300 w 1511300"/>
              <a:gd name="connsiteY1" fmla="*/ 1250809 h 1250809"/>
              <a:gd name="connsiteX2" fmla="*/ 1487557 w 1511300"/>
              <a:gd name="connsiteY2" fmla="*/ 1250809 h 1250809"/>
              <a:gd name="connsiteX3" fmla="*/ 1504156 w 1511300"/>
              <a:gd name="connsiteY3" fmla="*/ 1241283 h 1250809"/>
              <a:gd name="connsiteX4" fmla="*/ 1511300 w 1511300"/>
              <a:gd name="connsiteY4" fmla="*/ 1237501 h 1250809"/>
              <a:gd name="connsiteX5" fmla="*/ 1319212 w 1511300"/>
              <a:gd name="connsiteY5" fmla="*/ 1046020 h 1250809"/>
              <a:gd name="connsiteX6" fmla="*/ 1319212 w 1511300"/>
              <a:gd name="connsiteY6" fmla="*/ 1122220 h 1250809"/>
              <a:gd name="connsiteX7" fmla="*/ 1395412 w 1511300"/>
              <a:gd name="connsiteY7" fmla="*/ 1122220 h 1250809"/>
              <a:gd name="connsiteX8" fmla="*/ 1395412 w 1511300"/>
              <a:gd name="connsiteY8" fmla="*/ 1046020 h 1250809"/>
              <a:gd name="connsiteX9" fmla="*/ 1319212 w 1511300"/>
              <a:gd name="connsiteY9" fmla="*/ 1046020 h 1250809"/>
              <a:gd name="connsiteX10" fmla="*/ 1150937 w 1511300"/>
              <a:gd name="connsiteY10" fmla="*/ 1046020 h 1250809"/>
              <a:gd name="connsiteX11" fmla="*/ 1150937 w 1511300"/>
              <a:gd name="connsiteY11" fmla="*/ 1122220 h 1250809"/>
              <a:gd name="connsiteX12" fmla="*/ 1227137 w 1511300"/>
              <a:gd name="connsiteY12" fmla="*/ 1122220 h 1250809"/>
              <a:gd name="connsiteX13" fmla="*/ 1227137 w 1511300"/>
              <a:gd name="connsiteY13" fmla="*/ 1046020 h 1250809"/>
              <a:gd name="connsiteX14" fmla="*/ 1150937 w 1511300"/>
              <a:gd name="connsiteY14" fmla="*/ 1046020 h 1250809"/>
              <a:gd name="connsiteX15" fmla="*/ 984250 w 1511300"/>
              <a:gd name="connsiteY15" fmla="*/ 1046020 h 1250809"/>
              <a:gd name="connsiteX16" fmla="*/ 984250 w 1511300"/>
              <a:gd name="connsiteY16" fmla="*/ 1122220 h 1250809"/>
              <a:gd name="connsiteX17" fmla="*/ 1057275 w 1511300"/>
              <a:gd name="connsiteY17" fmla="*/ 1122220 h 1250809"/>
              <a:gd name="connsiteX18" fmla="*/ 1057275 w 1511300"/>
              <a:gd name="connsiteY18" fmla="*/ 1046020 h 1250809"/>
              <a:gd name="connsiteX19" fmla="*/ 984250 w 1511300"/>
              <a:gd name="connsiteY19" fmla="*/ 1046020 h 1250809"/>
              <a:gd name="connsiteX20" fmla="*/ 438150 w 1511300"/>
              <a:gd name="connsiteY20" fmla="*/ 1046020 h 1250809"/>
              <a:gd name="connsiteX21" fmla="*/ 438150 w 1511300"/>
              <a:gd name="connsiteY21" fmla="*/ 1122220 h 1250809"/>
              <a:gd name="connsiteX22" fmla="*/ 514350 w 1511300"/>
              <a:gd name="connsiteY22" fmla="*/ 1122220 h 1250809"/>
              <a:gd name="connsiteX23" fmla="*/ 514350 w 1511300"/>
              <a:gd name="connsiteY23" fmla="*/ 1046020 h 1250809"/>
              <a:gd name="connsiteX24" fmla="*/ 438150 w 1511300"/>
              <a:gd name="connsiteY24" fmla="*/ 1046020 h 1250809"/>
              <a:gd name="connsiteX25" fmla="*/ 277812 w 1511300"/>
              <a:gd name="connsiteY25" fmla="*/ 1046020 h 1250809"/>
              <a:gd name="connsiteX26" fmla="*/ 277812 w 1511300"/>
              <a:gd name="connsiteY26" fmla="*/ 1122220 h 1250809"/>
              <a:gd name="connsiteX27" fmla="*/ 352425 w 1511300"/>
              <a:gd name="connsiteY27" fmla="*/ 1122220 h 1250809"/>
              <a:gd name="connsiteX28" fmla="*/ 352425 w 1511300"/>
              <a:gd name="connsiteY28" fmla="*/ 1046020 h 1250809"/>
              <a:gd name="connsiteX29" fmla="*/ 277812 w 1511300"/>
              <a:gd name="connsiteY29" fmla="*/ 1046020 h 1250809"/>
              <a:gd name="connsiteX30" fmla="*/ 117475 w 1511300"/>
              <a:gd name="connsiteY30" fmla="*/ 1046020 h 1250809"/>
              <a:gd name="connsiteX31" fmla="*/ 117475 w 1511300"/>
              <a:gd name="connsiteY31" fmla="*/ 1122220 h 1250809"/>
              <a:gd name="connsiteX32" fmla="*/ 193675 w 1511300"/>
              <a:gd name="connsiteY32" fmla="*/ 1122220 h 1250809"/>
              <a:gd name="connsiteX33" fmla="*/ 193675 w 1511300"/>
              <a:gd name="connsiteY33" fmla="*/ 1046020 h 1250809"/>
              <a:gd name="connsiteX34" fmla="*/ 117475 w 1511300"/>
              <a:gd name="connsiteY34" fmla="*/ 1046020 h 1250809"/>
              <a:gd name="connsiteX35" fmla="*/ 1319212 w 1511300"/>
              <a:gd name="connsiteY35" fmla="*/ 788845 h 1250809"/>
              <a:gd name="connsiteX36" fmla="*/ 1319212 w 1511300"/>
              <a:gd name="connsiteY36" fmla="*/ 865045 h 1250809"/>
              <a:gd name="connsiteX37" fmla="*/ 1395412 w 1511300"/>
              <a:gd name="connsiteY37" fmla="*/ 865045 h 1250809"/>
              <a:gd name="connsiteX38" fmla="*/ 1395412 w 1511300"/>
              <a:gd name="connsiteY38" fmla="*/ 788845 h 1250809"/>
              <a:gd name="connsiteX39" fmla="*/ 1319212 w 1511300"/>
              <a:gd name="connsiteY39" fmla="*/ 788845 h 1250809"/>
              <a:gd name="connsiteX40" fmla="*/ 1150937 w 1511300"/>
              <a:gd name="connsiteY40" fmla="*/ 788845 h 1250809"/>
              <a:gd name="connsiteX41" fmla="*/ 1150937 w 1511300"/>
              <a:gd name="connsiteY41" fmla="*/ 865045 h 1250809"/>
              <a:gd name="connsiteX42" fmla="*/ 1227137 w 1511300"/>
              <a:gd name="connsiteY42" fmla="*/ 865045 h 1250809"/>
              <a:gd name="connsiteX43" fmla="*/ 1227137 w 1511300"/>
              <a:gd name="connsiteY43" fmla="*/ 788845 h 1250809"/>
              <a:gd name="connsiteX44" fmla="*/ 1150937 w 1511300"/>
              <a:gd name="connsiteY44" fmla="*/ 788845 h 1250809"/>
              <a:gd name="connsiteX45" fmla="*/ 989012 w 1511300"/>
              <a:gd name="connsiteY45" fmla="*/ 788845 h 1250809"/>
              <a:gd name="connsiteX46" fmla="*/ 989012 w 1511300"/>
              <a:gd name="connsiteY46" fmla="*/ 865045 h 1250809"/>
              <a:gd name="connsiteX47" fmla="*/ 1063625 w 1511300"/>
              <a:gd name="connsiteY47" fmla="*/ 865045 h 1250809"/>
              <a:gd name="connsiteX48" fmla="*/ 1063625 w 1511300"/>
              <a:gd name="connsiteY48" fmla="*/ 788845 h 1250809"/>
              <a:gd name="connsiteX49" fmla="*/ 989012 w 1511300"/>
              <a:gd name="connsiteY49" fmla="*/ 788845 h 1250809"/>
              <a:gd name="connsiteX50" fmla="*/ 820737 w 1511300"/>
              <a:gd name="connsiteY50" fmla="*/ 788845 h 1250809"/>
              <a:gd name="connsiteX51" fmla="*/ 820737 w 1511300"/>
              <a:gd name="connsiteY51" fmla="*/ 865045 h 1250809"/>
              <a:gd name="connsiteX52" fmla="*/ 896937 w 1511300"/>
              <a:gd name="connsiteY52" fmla="*/ 865045 h 1250809"/>
              <a:gd name="connsiteX53" fmla="*/ 896937 w 1511300"/>
              <a:gd name="connsiteY53" fmla="*/ 788845 h 1250809"/>
              <a:gd name="connsiteX54" fmla="*/ 820737 w 1511300"/>
              <a:gd name="connsiteY54" fmla="*/ 788845 h 1250809"/>
              <a:gd name="connsiteX55" fmla="*/ 660400 w 1511300"/>
              <a:gd name="connsiteY55" fmla="*/ 788845 h 1250809"/>
              <a:gd name="connsiteX56" fmla="*/ 660400 w 1511300"/>
              <a:gd name="connsiteY56" fmla="*/ 865045 h 1250809"/>
              <a:gd name="connsiteX57" fmla="*/ 736600 w 1511300"/>
              <a:gd name="connsiteY57" fmla="*/ 865045 h 1250809"/>
              <a:gd name="connsiteX58" fmla="*/ 736600 w 1511300"/>
              <a:gd name="connsiteY58" fmla="*/ 788845 h 1250809"/>
              <a:gd name="connsiteX59" fmla="*/ 660400 w 1511300"/>
              <a:gd name="connsiteY59" fmla="*/ 788845 h 1250809"/>
              <a:gd name="connsiteX60" fmla="*/ 1319212 w 1511300"/>
              <a:gd name="connsiteY60" fmla="*/ 631683 h 1250809"/>
              <a:gd name="connsiteX61" fmla="*/ 1319212 w 1511300"/>
              <a:gd name="connsiteY61" fmla="*/ 707883 h 1250809"/>
              <a:gd name="connsiteX62" fmla="*/ 1395412 w 1511300"/>
              <a:gd name="connsiteY62" fmla="*/ 707883 h 1250809"/>
              <a:gd name="connsiteX63" fmla="*/ 1395412 w 1511300"/>
              <a:gd name="connsiteY63" fmla="*/ 631683 h 1250809"/>
              <a:gd name="connsiteX64" fmla="*/ 1319212 w 1511300"/>
              <a:gd name="connsiteY64" fmla="*/ 631683 h 1250809"/>
              <a:gd name="connsiteX65" fmla="*/ 1150937 w 1511300"/>
              <a:gd name="connsiteY65" fmla="*/ 631683 h 1250809"/>
              <a:gd name="connsiteX66" fmla="*/ 1150937 w 1511300"/>
              <a:gd name="connsiteY66" fmla="*/ 707883 h 1250809"/>
              <a:gd name="connsiteX67" fmla="*/ 1227137 w 1511300"/>
              <a:gd name="connsiteY67" fmla="*/ 707883 h 1250809"/>
              <a:gd name="connsiteX68" fmla="*/ 1227137 w 1511300"/>
              <a:gd name="connsiteY68" fmla="*/ 631683 h 1250809"/>
              <a:gd name="connsiteX69" fmla="*/ 1150937 w 1511300"/>
              <a:gd name="connsiteY69" fmla="*/ 631683 h 1250809"/>
              <a:gd name="connsiteX70" fmla="*/ 989012 w 1511300"/>
              <a:gd name="connsiteY70" fmla="*/ 631683 h 1250809"/>
              <a:gd name="connsiteX71" fmla="*/ 989012 w 1511300"/>
              <a:gd name="connsiteY71" fmla="*/ 707883 h 1250809"/>
              <a:gd name="connsiteX72" fmla="*/ 1063625 w 1511300"/>
              <a:gd name="connsiteY72" fmla="*/ 707883 h 1250809"/>
              <a:gd name="connsiteX73" fmla="*/ 1063625 w 1511300"/>
              <a:gd name="connsiteY73" fmla="*/ 631683 h 1250809"/>
              <a:gd name="connsiteX74" fmla="*/ 989012 w 1511300"/>
              <a:gd name="connsiteY74" fmla="*/ 631683 h 1250809"/>
              <a:gd name="connsiteX75" fmla="*/ 820737 w 1511300"/>
              <a:gd name="connsiteY75" fmla="*/ 631683 h 1250809"/>
              <a:gd name="connsiteX76" fmla="*/ 820737 w 1511300"/>
              <a:gd name="connsiteY76" fmla="*/ 707883 h 1250809"/>
              <a:gd name="connsiteX77" fmla="*/ 896937 w 1511300"/>
              <a:gd name="connsiteY77" fmla="*/ 707883 h 1250809"/>
              <a:gd name="connsiteX78" fmla="*/ 896937 w 1511300"/>
              <a:gd name="connsiteY78" fmla="*/ 631683 h 1250809"/>
              <a:gd name="connsiteX79" fmla="*/ 820737 w 1511300"/>
              <a:gd name="connsiteY79" fmla="*/ 631683 h 1250809"/>
              <a:gd name="connsiteX80" fmla="*/ 660400 w 1511300"/>
              <a:gd name="connsiteY80" fmla="*/ 631683 h 1250809"/>
              <a:gd name="connsiteX81" fmla="*/ 660400 w 1511300"/>
              <a:gd name="connsiteY81" fmla="*/ 707883 h 1250809"/>
              <a:gd name="connsiteX82" fmla="*/ 736600 w 1511300"/>
              <a:gd name="connsiteY82" fmla="*/ 707883 h 1250809"/>
              <a:gd name="connsiteX83" fmla="*/ 736600 w 1511300"/>
              <a:gd name="connsiteY83" fmla="*/ 631683 h 1250809"/>
              <a:gd name="connsiteX84" fmla="*/ 660400 w 1511300"/>
              <a:gd name="connsiteY84" fmla="*/ 631683 h 1250809"/>
              <a:gd name="connsiteX85" fmla="*/ 1319212 w 1511300"/>
              <a:gd name="connsiteY85" fmla="*/ 463408 h 1250809"/>
              <a:gd name="connsiteX86" fmla="*/ 1319212 w 1511300"/>
              <a:gd name="connsiteY86" fmla="*/ 539608 h 1250809"/>
              <a:gd name="connsiteX87" fmla="*/ 1395412 w 1511300"/>
              <a:gd name="connsiteY87" fmla="*/ 539608 h 1250809"/>
              <a:gd name="connsiteX88" fmla="*/ 1395412 w 1511300"/>
              <a:gd name="connsiteY88" fmla="*/ 463408 h 1250809"/>
              <a:gd name="connsiteX89" fmla="*/ 1319212 w 1511300"/>
              <a:gd name="connsiteY89" fmla="*/ 463408 h 1250809"/>
              <a:gd name="connsiteX90" fmla="*/ 1150937 w 1511300"/>
              <a:gd name="connsiteY90" fmla="*/ 463408 h 1250809"/>
              <a:gd name="connsiteX91" fmla="*/ 1150937 w 1511300"/>
              <a:gd name="connsiteY91" fmla="*/ 539608 h 1250809"/>
              <a:gd name="connsiteX92" fmla="*/ 1227137 w 1511300"/>
              <a:gd name="connsiteY92" fmla="*/ 539608 h 1250809"/>
              <a:gd name="connsiteX93" fmla="*/ 1227137 w 1511300"/>
              <a:gd name="connsiteY93" fmla="*/ 463408 h 1250809"/>
              <a:gd name="connsiteX94" fmla="*/ 1150937 w 1511300"/>
              <a:gd name="connsiteY94" fmla="*/ 463408 h 1250809"/>
              <a:gd name="connsiteX95" fmla="*/ 1319212 w 1511300"/>
              <a:gd name="connsiteY95" fmla="*/ 296720 h 1250809"/>
              <a:gd name="connsiteX96" fmla="*/ 1319212 w 1511300"/>
              <a:gd name="connsiteY96" fmla="*/ 371333 h 1250809"/>
              <a:gd name="connsiteX97" fmla="*/ 1395412 w 1511300"/>
              <a:gd name="connsiteY97" fmla="*/ 371333 h 1250809"/>
              <a:gd name="connsiteX98" fmla="*/ 1395412 w 1511300"/>
              <a:gd name="connsiteY98" fmla="*/ 296720 h 1250809"/>
              <a:gd name="connsiteX99" fmla="*/ 1319212 w 1511300"/>
              <a:gd name="connsiteY99" fmla="*/ 296720 h 1250809"/>
              <a:gd name="connsiteX100" fmla="*/ 1150937 w 1511300"/>
              <a:gd name="connsiteY100" fmla="*/ 296720 h 1250809"/>
              <a:gd name="connsiteX101" fmla="*/ 1150937 w 1511300"/>
              <a:gd name="connsiteY101" fmla="*/ 371333 h 1250809"/>
              <a:gd name="connsiteX102" fmla="*/ 1227137 w 1511300"/>
              <a:gd name="connsiteY102" fmla="*/ 371333 h 1250809"/>
              <a:gd name="connsiteX103" fmla="*/ 1227137 w 1511300"/>
              <a:gd name="connsiteY103" fmla="*/ 296720 h 1250809"/>
              <a:gd name="connsiteX104" fmla="*/ 1150937 w 1511300"/>
              <a:gd name="connsiteY104" fmla="*/ 296720 h 1250809"/>
              <a:gd name="connsiteX105" fmla="*/ 1130495 w 1511300"/>
              <a:gd name="connsiteY105" fmla="*/ 0 h 1250809"/>
              <a:gd name="connsiteX106" fmla="*/ 1401025 w 1511300"/>
              <a:gd name="connsiteY106" fmla="*/ 0 h 1250809"/>
              <a:gd name="connsiteX107" fmla="*/ 1401025 w 1511300"/>
              <a:gd name="connsiteY107" fmla="*/ 146946 h 1250809"/>
              <a:gd name="connsiteX108" fmla="*/ 1511300 w 1511300"/>
              <a:gd name="connsiteY108" fmla="*/ 146946 h 1250809"/>
              <a:gd name="connsiteX109" fmla="*/ 1511300 w 1511300"/>
              <a:gd name="connsiteY109" fmla="*/ 1234123 h 1250809"/>
              <a:gd name="connsiteX110" fmla="*/ 877888 w 1511300"/>
              <a:gd name="connsiteY110" fmla="*/ 1232551 h 1250809"/>
              <a:gd name="connsiteX111" fmla="*/ 877888 w 1511300"/>
              <a:gd name="connsiteY111" fmla="*/ 1023795 h 1250809"/>
              <a:gd name="connsiteX112" fmla="*/ 785019 w 1511300"/>
              <a:gd name="connsiteY112" fmla="*/ 1023795 h 1250809"/>
              <a:gd name="connsiteX113" fmla="*/ 785019 w 1511300"/>
              <a:gd name="connsiteY113" fmla="*/ 1233345 h 1250809"/>
              <a:gd name="connsiteX114" fmla="*/ 729456 w 1511300"/>
              <a:gd name="connsiteY114" fmla="*/ 1233345 h 1250809"/>
              <a:gd name="connsiteX115" fmla="*/ 729456 w 1511300"/>
              <a:gd name="connsiteY115" fmla="*/ 1023795 h 1250809"/>
              <a:gd name="connsiteX116" fmla="*/ 637381 w 1511300"/>
              <a:gd name="connsiteY116" fmla="*/ 1023795 h 1250809"/>
              <a:gd name="connsiteX117" fmla="*/ 637381 w 1511300"/>
              <a:gd name="connsiteY117" fmla="*/ 1232551 h 1250809"/>
              <a:gd name="connsiteX118" fmla="*/ 0 w 1511300"/>
              <a:gd name="connsiteY118" fmla="*/ 1229376 h 1250809"/>
              <a:gd name="connsiteX119" fmla="*/ 0 w 1511300"/>
              <a:gd name="connsiteY119" fmla="*/ 935740 h 1250809"/>
              <a:gd name="connsiteX120" fmla="*/ 531521 w 1511300"/>
              <a:gd name="connsiteY120" fmla="*/ 936483 h 1250809"/>
              <a:gd name="connsiteX121" fmla="*/ 531521 w 1511300"/>
              <a:gd name="connsiteY121" fmla="*/ 506765 h 1250809"/>
              <a:gd name="connsiteX122" fmla="*/ 1017840 w 1511300"/>
              <a:gd name="connsiteY122" fmla="*/ 506765 h 1250809"/>
              <a:gd name="connsiteX123" fmla="*/ 1017840 w 1511300"/>
              <a:gd name="connsiteY123" fmla="*/ 146946 h 1250809"/>
              <a:gd name="connsiteX124" fmla="*/ 1130495 w 1511300"/>
              <a:gd name="connsiteY124" fmla="*/ 146946 h 1250809"/>
              <a:gd name="connsiteX125" fmla="*/ 1130495 w 1511300"/>
              <a:gd name="connsiteY125" fmla="*/ 0 h 1250809"/>
              <a:gd name="connsiteX0" fmla="*/ 1511300 w 1511300"/>
              <a:gd name="connsiteY0" fmla="*/ 1237501 h 1250809"/>
              <a:gd name="connsiteX1" fmla="*/ 1511300 w 1511300"/>
              <a:gd name="connsiteY1" fmla="*/ 1250809 h 1250809"/>
              <a:gd name="connsiteX2" fmla="*/ 1504156 w 1511300"/>
              <a:gd name="connsiteY2" fmla="*/ 1241283 h 1250809"/>
              <a:gd name="connsiteX3" fmla="*/ 1511300 w 1511300"/>
              <a:gd name="connsiteY3" fmla="*/ 1237501 h 1250809"/>
              <a:gd name="connsiteX4" fmla="*/ 1319212 w 1511300"/>
              <a:gd name="connsiteY4" fmla="*/ 1046020 h 1250809"/>
              <a:gd name="connsiteX5" fmla="*/ 1319212 w 1511300"/>
              <a:gd name="connsiteY5" fmla="*/ 1122220 h 1250809"/>
              <a:gd name="connsiteX6" fmla="*/ 1395412 w 1511300"/>
              <a:gd name="connsiteY6" fmla="*/ 1122220 h 1250809"/>
              <a:gd name="connsiteX7" fmla="*/ 1395412 w 1511300"/>
              <a:gd name="connsiteY7" fmla="*/ 1046020 h 1250809"/>
              <a:gd name="connsiteX8" fmla="*/ 1319212 w 1511300"/>
              <a:gd name="connsiteY8" fmla="*/ 1046020 h 1250809"/>
              <a:gd name="connsiteX9" fmla="*/ 1150937 w 1511300"/>
              <a:gd name="connsiteY9" fmla="*/ 1046020 h 1250809"/>
              <a:gd name="connsiteX10" fmla="*/ 1150937 w 1511300"/>
              <a:gd name="connsiteY10" fmla="*/ 1122220 h 1250809"/>
              <a:gd name="connsiteX11" fmla="*/ 1227137 w 1511300"/>
              <a:gd name="connsiteY11" fmla="*/ 1122220 h 1250809"/>
              <a:gd name="connsiteX12" fmla="*/ 1227137 w 1511300"/>
              <a:gd name="connsiteY12" fmla="*/ 1046020 h 1250809"/>
              <a:gd name="connsiteX13" fmla="*/ 1150937 w 1511300"/>
              <a:gd name="connsiteY13" fmla="*/ 1046020 h 1250809"/>
              <a:gd name="connsiteX14" fmla="*/ 984250 w 1511300"/>
              <a:gd name="connsiteY14" fmla="*/ 1046020 h 1250809"/>
              <a:gd name="connsiteX15" fmla="*/ 984250 w 1511300"/>
              <a:gd name="connsiteY15" fmla="*/ 1122220 h 1250809"/>
              <a:gd name="connsiteX16" fmla="*/ 1057275 w 1511300"/>
              <a:gd name="connsiteY16" fmla="*/ 1122220 h 1250809"/>
              <a:gd name="connsiteX17" fmla="*/ 1057275 w 1511300"/>
              <a:gd name="connsiteY17" fmla="*/ 1046020 h 1250809"/>
              <a:gd name="connsiteX18" fmla="*/ 984250 w 1511300"/>
              <a:gd name="connsiteY18" fmla="*/ 1046020 h 1250809"/>
              <a:gd name="connsiteX19" fmla="*/ 438150 w 1511300"/>
              <a:gd name="connsiteY19" fmla="*/ 1046020 h 1250809"/>
              <a:gd name="connsiteX20" fmla="*/ 438150 w 1511300"/>
              <a:gd name="connsiteY20" fmla="*/ 1122220 h 1250809"/>
              <a:gd name="connsiteX21" fmla="*/ 514350 w 1511300"/>
              <a:gd name="connsiteY21" fmla="*/ 1122220 h 1250809"/>
              <a:gd name="connsiteX22" fmla="*/ 514350 w 1511300"/>
              <a:gd name="connsiteY22" fmla="*/ 1046020 h 1250809"/>
              <a:gd name="connsiteX23" fmla="*/ 438150 w 1511300"/>
              <a:gd name="connsiteY23" fmla="*/ 1046020 h 1250809"/>
              <a:gd name="connsiteX24" fmla="*/ 277812 w 1511300"/>
              <a:gd name="connsiteY24" fmla="*/ 1046020 h 1250809"/>
              <a:gd name="connsiteX25" fmla="*/ 277812 w 1511300"/>
              <a:gd name="connsiteY25" fmla="*/ 1122220 h 1250809"/>
              <a:gd name="connsiteX26" fmla="*/ 352425 w 1511300"/>
              <a:gd name="connsiteY26" fmla="*/ 1122220 h 1250809"/>
              <a:gd name="connsiteX27" fmla="*/ 352425 w 1511300"/>
              <a:gd name="connsiteY27" fmla="*/ 1046020 h 1250809"/>
              <a:gd name="connsiteX28" fmla="*/ 277812 w 1511300"/>
              <a:gd name="connsiteY28" fmla="*/ 1046020 h 1250809"/>
              <a:gd name="connsiteX29" fmla="*/ 117475 w 1511300"/>
              <a:gd name="connsiteY29" fmla="*/ 1046020 h 1250809"/>
              <a:gd name="connsiteX30" fmla="*/ 117475 w 1511300"/>
              <a:gd name="connsiteY30" fmla="*/ 1122220 h 1250809"/>
              <a:gd name="connsiteX31" fmla="*/ 193675 w 1511300"/>
              <a:gd name="connsiteY31" fmla="*/ 1122220 h 1250809"/>
              <a:gd name="connsiteX32" fmla="*/ 193675 w 1511300"/>
              <a:gd name="connsiteY32" fmla="*/ 1046020 h 1250809"/>
              <a:gd name="connsiteX33" fmla="*/ 117475 w 1511300"/>
              <a:gd name="connsiteY33" fmla="*/ 1046020 h 1250809"/>
              <a:gd name="connsiteX34" fmla="*/ 1319212 w 1511300"/>
              <a:gd name="connsiteY34" fmla="*/ 788845 h 1250809"/>
              <a:gd name="connsiteX35" fmla="*/ 1319212 w 1511300"/>
              <a:gd name="connsiteY35" fmla="*/ 865045 h 1250809"/>
              <a:gd name="connsiteX36" fmla="*/ 1395412 w 1511300"/>
              <a:gd name="connsiteY36" fmla="*/ 865045 h 1250809"/>
              <a:gd name="connsiteX37" fmla="*/ 1395412 w 1511300"/>
              <a:gd name="connsiteY37" fmla="*/ 788845 h 1250809"/>
              <a:gd name="connsiteX38" fmla="*/ 1319212 w 1511300"/>
              <a:gd name="connsiteY38" fmla="*/ 788845 h 1250809"/>
              <a:gd name="connsiteX39" fmla="*/ 1150937 w 1511300"/>
              <a:gd name="connsiteY39" fmla="*/ 788845 h 1250809"/>
              <a:gd name="connsiteX40" fmla="*/ 1150937 w 1511300"/>
              <a:gd name="connsiteY40" fmla="*/ 865045 h 1250809"/>
              <a:gd name="connsiteX41" fmla="*/ 1227137 w 1511300"/>
              <a:gd name="connsiteY41" fmla="*/ 865045 h 1250809"/>
              <a:gd name="connsiteX42" fmla="*/ 1227137 w 1511300"/>
              <a:gd name="connsiteY42" fmla="*/ 788845 h 1250809"/>
              <a:gd name="connsiteX43" fmla="*/ 1150937 w 1511300"/>
              <a:gd name="connsiteY43" fmla="*/ 788845 h 1250809"/>
              <a:gd name="connsiteX44" fmla="*/ 989012 w 1511300"/>
              <a:gd name="connsiteY44" fmla="*/ 788845 h 1250809"/>
              <a:gd name="connsiteX45" fmla="*/ 989012 w 1511300"/>
              <a:gd name="connsiteY45" fmla="*/ 865045 h 1250809"/>
              <a:gd name="connsiteX46" fmla="*/ 1063625 w 1511300"/>
              <a:gd name="connsiteY46" fmla="*/ 865045 h 1250809"/>
              <a:gd name="connsiteX47" fmla="*/ 1063625 w 1511300"/>
              <a:gd name="connsiteY47" fmla="*/ 788845 h 1250809"/>
              <a:gd name="connsiteX48" fmla="*/ 989012 w 1511300"/>
              <a:gd name="connsiteY48" fmla="*/ 788845 h 1250809"/>
              <a:gd name="connsiteX49" fmla="*/ 820737 w 1511300"/>
              <a:gd name="connsiteY49" fmla="*/ 788845 h 1250809"/>
              <a:gd name="connsiteX50" fmla="*/ 820737 w 1511300"/>
              <a:gd name="connsiteY50" fmla="*/ 865045 h 1250809"/>
              <a:gd name="connsiteX51" fmla="*/ 896937 w 1511300"/>
              <a:gd name="connsiteY51" fmla="*/ 865045 h 1250809"/>
              <a:gd name="connsiteX52" fmla="*/ 896937 w 1511300"/>
              <a:gd name="connsiteY52" fmla="*/ 788845 h 1250809"/>
              <a:gd name="connsiteX53" fmla="*/ 820737 w 1511300"/>
              <a:gd name="connsiteY53" fmla="*/ 788845 h 1250809"/>
              <a:gd name="connsiteX54" fmla="*/ 660400 w 1511300"/>
              <a:gd name="connsiteY54" fmla="*/ 788845 h 1250809"/>
              <a:gd name="connsiteX55" fmla="*/ 660400 w 1511300"/>
              <a:gd name="connsiteY55" fmla="*/ 865045 h 1250809"/>
              <a:gd name="connsiteX56" fmla="*/ 736600 w 1511300"/>
              <a:gd name="connsiteY56" fmla="*/ 865045 h 1250809"/>
              <a:gd name="connsiteX57" fmla="*/ 736600 w 1511300"/>
              <a:gd name="connsiteY57" fmla="*/ 788845 h 1250809"/>
              <a:gd name="connsiteX58" fmla="*/ 660400 w 1511300"/>
              <a:gd name="connsiteY58" fmla="*/ 788845 h 1250809"/>
              <a:gd name="connsiteX59" fmla="*/ 1319212 w 1511300"/>
              <a:gd name="connsiteY59" fmla="*/ 631683 h 1250809"/>
              <a:gd name="connsiteX60" fmla="*/ 1319212 w 1511300"/>
              <a:gd name="connsiteY60" fmla="*/ 707883 h 1250809"/>
              <a:gd name="connsiteX61" fmla="*/ 1395412 w 1511300"/>
              <a:gd name="connsiteY61" fmla="*/ 707883 h 1250809"/>
              <a:gd name="connsiteX62" fmla="*/ 1395412 w 1511300"/>
              <a:gd name="connsiteY62" fmla="*/ 631683 h 1250809"/>
              <a:gd name="connsiteX63" fmla="*/ 1319212 w 1511300"/>
              <a:gd name="connsiteY63" fmla="*/ 631683 h 1250809"/>
              <a:gd name="connsiteX64" fmla="*/ 1150937 w 1511300"/>
              <a:gd name="connsiteY64" fmla="*/ 631683 h 1250809"/>
              <a:gd name="connsiteX65" fmla="*/ 1150937 w 1511300"/>
              <a:gd name="connsiteY65" fmla="*/ 707883 h 1250809"/>
              <a:gd name="connsiteX66" fmla="*/ 1227137 w 1511300"/>
              <a:gd name="connsiteY66" fmla="*/ 707883 h 1250809"/>
              <a:gd name="connsiteX67" fmla="*/ 1227137 w 1511300"/>
              <a:gd name="connsiteY67" fmla="*/ 631683 h 1250809"/>
              <a:gd name="connsiteX68" fmla="*/ 1150937 w 1511300"/>
              <a:gd name="connsiteY68" fmla="*/ 631683 h 1250809"/>
              <a:gd name="connsiteX69" fmla="*/ 989012 w 1511300"/>
              <a:gd name="connsiteY69" fmla="*/ 631683 h 1250809"/>
              <a:gd name="connsiteX70" fmla="*/ 989012 w 1511300"/>
              <a:gd name="connsiteY70" fmla="*/ 707883 h 1250809"/>
              <a:gd name="connsiteX71" fmla="*/ 1063625 w 1511300"/>
              <a:gd name="connsiteY71" fmla="*/ 707883 h 1250809"/>
              <a:gd name="connsiteX72" fmla="*/ 1063625 w 1511300"/>
              <a:gd name="connsiteY72" fmla="*/ 631683 h 1250809"/>
              <a:gd name="connsiteX73" fmla="*/ 989012 w 1511300"/>
              <a:gd name="connsiteY73" fmla="*/ 631683 h 1250809"/>
              <a:gd name="connsiteX74" fmla="*/ 820737 w 1511300"/>
              <a:gd name="connsiteY74" fmla="*/ 631683 h 1250809"/>
              <a:gd name="connsiteX75" fmla="*/ 820737 w 1511300"/>
              <a:gd name="connsiteY75" fmla="*/ 707883 h 1250809"/>
              <a:gd name="connsiteX76" fmla="*/ 896937 w 1511300"/>
              <a:gd name="connsiteY76" fmla="*/ 707883 h 1250809"/>
              <a:gd name="connsiteX77" fmla="*/ 896937 w 1511300"/>
              <a:gd name="connsiteY77" fmla="*/ 631683 h 1250809"/>
              <a:gd name="connsiteX78" fmla="*/ 820737 w 1511300"/>
              <a:gd name="connsiteY78" fmla="*/ 631683 h 1250809"/>
              <a:gd name="connsiteX79" fmla="*/ 660400 w 1511300"/>
              <a:gd name="connsiteY79" fmla="*/ 631683 h 1250809"/>
              <a:gd name="connsiteX80" fmla="*/ 660400 w 1511300"/>
              <a:gd name="connsiteY80" fmla="*/ 707883 h 1250809"/>
              <a:gd name="connsiteX81" fmla="*/ 736600 w 1511300"/>
              <a:gd name="connsiteY81" fmla="*/ 707883 h 1250809"/>
              <a:gd name="connsiteX82" fmla="*/ 736600 w 1511300"/>
              <a:gd name="connsiteY82" fmla="*/ 631683 h 1250809"/>
              <a:gd name="connsiteX83" fmla="*/ 660400 w 1511300"/>
              <a:gd name="connsiteY83" fmla="*/ 631683 h 1250809"/>
              <a:gd name="connsiteX84" fmla="*/ 1319212 w 1511300"/>
              <a:gd name="connsiteY84" fmla="*/ 463408 h 1250809"/>
              <a:gd name="connsiteX85" fmla="*/ 1319212 w 1511300"/>
              <a:gd name="connsiteY85" fmla="*/ 539608 h 1250809"/>
              <a:gd name="connsiteX86" fmla="*/ 1395412 w 1511300"/>
              <a:gd name="connsiteY86" fmla="*/ 539608 h 1250809"/>
              <a:gd name="connsiteX87" fmla="*/ 1395412 w 1511300"/>
              <a:gd name="connsiteY87" fmla="*/ 463408 h 1250809"/>
              <a:gd name="connsiteX88" fmla="*/ 1319212 w 1511300"/>
              <a:gd name="connsiteY88" fmla="*/ 463408 h 1250809"/>
              <a:gd name="connsiteX89" fmla="*/ 1150937 w 1511300"/>
              <a:gd name="connsiteY89" fmla="*/ 463408 h 1250809"/>
              <a:gd name="connsiteX90" fmla="*/ 1150937 w 1511300"/>
              <a:gd name="connsiteY90" fmla="*/ 539608 h 1250809"/>
              <a:gd name="connsiteX91" fmla="*/ 1227137 w 1511300"/>
              <a:gd name="connsiteY91" fmla="*/ 539608 h 1250809"/>
              <a:gd name="connsiteX92" fmla="*/ 1227137 w 1511300"/>
              <a:gd name="connsiteY92" fmla="*/ 463408 h 1250809"/>
              <a:gd name="connsiteX93" fmla="*/ 1150937 w 1511300"/>
              <a:gd name="connsiteY93" fmla="*/ 463408 h 1250809"/>
              <a:gd name="connsiteX94" fmla="*/ 1319212 w 1511300"/>
              <a:gd name="connsiteY94" fmla="*/ 296720 h 1250809"/>
              <a:gd name="connsiteX95" fmla="*/ 1319212 w 1511300"/>
              <a:gd name="connsiteY95" fmla="*/ 371333 h 1250809"/>
              <a:gd name="connsiteX96" fmla="*/ 1395412 w 1511300"/>
              <a:gd name="connsiteY96" fmla="*/ 371333 h 1250809"/>
              <a:gd name="connsiteX97" fmla="*/ 1395412 w 1511300"/>
              <a:gd name="connsiteY97" fmla="*/ 296720 h 1250809"/>
              <a:gd name="connsiteX98" fmla="*/ 1319212 w 1511300"/>
              <a:gd name="connsiteY98" fmla="*/ 296720 h 1250809"/>
              <a:gd name="connsiteX99" fmla="*/ 1150937 w 1511300"/>
              <a:gd name="connsiteY99" fmla="*/ 296720 h 1250809"/>
              <a:gd name="connsiteX100" fmla="*/ 1150937 w 1511300"/>
              <a:gd name="connsiteY100" fmla="*/ 371333 h 1250809"/>
              <a:gd name="connsiteX101" fmla="*/ 1227137 w 1511300"/>
              <a:gd name="connsiteY101" fmla="*/ 371333 h 1250809"/>
              <a:gd name="connsiteX102" fmla="*/ 1227137 w 1511300"/>
              <a:gd name="connsiteY102" fmla="*/ 296720 h 1250809"/>
              <a:gd name="connsiteX103" fmla="*/ 1150937 w 1511300"/>
              <a:gd name="connsiteY103" fmla="*/ 296720 h 1250809"/>
              <a:gd name="connsiteX104" fmla="*/ 1130495 w 1511300"/>
              <a:gd name="connsiteY104" fmla="*/ 0 h 1250809"/>
              <a:gd name="connsiteX105" fmla="*/ 1401025 w 1511300"/>
              <a:gd name="connsiteY105" fmla="*/ 0 h 1250809"/>
              <a:gd name="connsiteX106" fmla="*/ 1401025 w 1511300"/>
              <a:gd name="connsiteY106" fmla="*/ 146946 h 1250809"/>
              <a:gd name="connsiteX107" fmla="*/ 1511300 w 1511300"/>
              <a:gd name="connsiteY107" fmla="*/ 146946 h 1250809"/>
              <a:gd name="connsiteX108" fmla="*/ 1511300 w 1511300"/>
              <a:gd name="connsiteY108" fmla="*/ 1234123 h 1250809"/>
              <a:gd name="connsiteX109" fmla="*/ 877888 w 1511300"/>
              <a:gd name="connsiteY109" fmla="*/ 1232551 h 1250809"/>
              <a:gd name="connsiteX110" fmla="*/ 877888 w 1511300"/>
              <a:gd name="connsiteY110" fmla="*/ 1023795 h 1250809"/>
              <a:gd name="connsiteX111" fmla="*/ 785019 w 1511300"/>
              <a:gd name="connsiteY111" fmla="*/ 1023795 h 1250809"/>
              <a:gd name="connsiteX112" fmla="*/ 785019 w 1511300"/>
              <a:gd name="connsiteY112" fmla="*/ 1233345 h 1250809"/>
              <a:gd name="connsiteX113" fmla="*/ 729456 w 1511300"/>
              <a:gd name="connsiteY113" fmla="*/ 1233345 h 1250809"/>
              <a:gd name="connsiteX114" fmla="*/ 729456 w 1511300"/>
              <a:gd name="connsiteY114" fmla="*/ 1023795 h 1250809"/>
              <a:gd name="connsiteX115" fmla="*/ 637381 w 1511300"/>
              <a:gd name="connsiteY115" fmla="*/ 1023795 h 1250809"/>
              <a:gd name="connsiteX116" fmla="*/ 637381 w 1511300"/>
              <a:gd name="connsiteY116" fmla="*/ 1232551 h 1250809"/>
              <a:gd name="connsiteX117" fmla="*/ 0 w 1511300"/>
              <a:gd name="connsiteY117" fmla="*/ 1229376 h 1250809"/>
              <a:gd name="connsiteX118" fmla="*/ 0 w 1511300"/>
              <a:gd name="connsiteY118" fmla="*/ 935740 h 1250809"/>
              <a:gd name="connsiteX119" fmla="*/ 531521 w 1511300"/>
              <a:gd name="connsiteY119" fmla="*/ 936483 h 1250809"/>
              <a:gd name="connsiteX120" fmla="*/ 531521 w 1511300"/>
              <a:gd name="connsiteY120" fmla="*/ 506765 h 1250809"/>
              <a:gd name="connsiteX121" fmla="*/ 1017840 w 1511300"/>
              <a:gd name="connsiteY121" fmla="*/ 506765 h 1250809"/>
              <a:gd name="connsiteX122" fmla="*/ 1017840 w 1511300"/>
              <a:gd name="connsiteY122" fmla="*/ 146946 h 1250809"/>
              <a:gd name="connsiteX123" fmla="*/ 1130495 w 1511300"/>
              <a:gd name="connsiteY123" fmla="*/ 146946 h 1250809"/>
              <a:gd name="connsiteX124" fmla="*/ 1130495 w 1511300"/>
              <a:gd name="connsiteY124" fmla="*/ 0 h 1250809"/>
              <a:gd name="connsiteX0" fmla="*/ 1511300 w 1511300"/>
              <a:gd name="connsiteY0" fmla="*/ 1237501 h 1241283"/>
              <a:gd name="connsiteX1" fmla="*/ 1504156 w 1511300"/>
              <a:gd name="connsiteY1" fmla="*/ 1241283 h 1241283"/>
              <a:gd name="connsiteX2" fmla="*/ 1511300 w 1511300"/>
              <a:gd name="connsiteY2" fmla="*/ 1237501 h 1241283"/>
              <a:gd name="connsiteX3" fmla="*/ 1319212 w 1511300"/>
              <a:gd name="connsiteY3" fmla="*/ 1046020 h 1241283"/>
              <a:gd name="connsiteX4" fmla="*/ 1319212 w 1511300"/>
              <a:gd name="connsiteY4" fmla="*/ 1122220 h 1241283"/>
              <a:gd name="connsiteX5" fmla="*/ 1395412 w 1511300"/>
              <a:gd name="connsiteY5" fmla="*/ 1122220 h 1241283"/>
              <a:gd name="connsiteX6" fmla="*/ 1395412 w 1511300"/>
              <a:gd name="connsiteY6" fmla="*/ 1046020 h 1241283"/>
              <a:gd name="connsiteX7" fmla="*/ 1319212 w 1511300"/>
              <a:gd name="connsiteY7" fmla="*/ 1046020 h 1241283"/>
              <a:gd name="connsiteX8" fmla="*/ 1150937 w 1511300"/>
              <a:gd name="connsiteY8" fmla="*/ 1046020 h 1241283"/>
              <a:gd name="connsiteX9" fmla="*/ 1150937 w 1511300"/>
              <a:gd name="connsiteY9" fmla="*/ 1122220 h 1241283"/>
              <a:gd name="connsiteX10" fmla="*/ 1227137 w 1511300"/>
              <a:gd name="connsiteY10" fmla="*/ 1122220 h 1241283"/>
              <a:gd name="connsiteX11" fmla="*/ 1227137 w 1511300"/>
              <a:gd name="connsiteY11" fmla="*/ 1046020 h 1241283"/>
              <a:gd name="connsiteX12" fmla="*/ 1150937 w 1511300"/>
              <a:gd name="connsiteY12" fmla="*/ 1046020 h 1241283"/>
              <a:gd name="connsiteX13" fmla="*/ 984250 w 1511300"/>
              <a:gd name="connsiteY13" fmla="*/ 1046020 h 1241283"/>
              <a:gd name="connsiteX14" fmla="*/ 984250 w 1511300"/>
              <a:gd name="connsiteY14" fmla="*/ 1122220 h 1241283"/>
              <a:gd name="connsiteX15" fmla="*/ 1057275 w 1511300"/>
              <a:gd name="connsiteY15" fmla="*/ 1122220 h 1241283"/>
              <a:gd name="connsiteX16" fmla="*/ 1057275 w 1511300"/>
              <a:gd name="connsiteY16" fmla="*/ 1046020 h 1241283"/>
              <a:gd name="connsiteX17" fmla="*/ 984250 w 1511300"/>
              <a:gd name="connsiteY17" fmla="*/ 1046020 h 1241283"/>
              <a:gd name="connsiteX18" fmla="*/ 438150 w 1511300"/>
              <a:gd name="connsiteY18" fmla="*/ 1046020 h 1241283"/>
              <a:gd name="connsiteX19" fmla="*/ 438150 w 1511300"/>
              <a:gd name="connsiteY19" fmla="*/ 1122220 h 1241283"/>
              <a:gd name="connsiteX20" fmla="*/ 514350 w 1511300"/>
              <a:gd name="connsiteY20" fmla="*/ 1122220 h 1241283"/>
              <a:gd name="connsiteX21" fmla="*/ 514350 w 1511300"/>
              <a:gd name="connsiteY21" fmla="*/ 1046020 h 1241283"/>
              <a:gd name="connsiteX22" fmla="*/ 438150 w 1511300"/>
              <a:gd name="connsiteY22" fmla="*/ 1046020 h 1241283"/>
              <a:gd name="connsiteX23" fmla="*/ 277812 w 1511300"/>
              <a:gd name="connsiteY23" fmla="*/ 1046020 h 1241283"/>
              <a:gd name="connsiteX24" fmla="*/ 277812 w 1511300"/>
              <a:gd name="connsiteY24" fmla="*/ 1122220 h 1241283"/>
              <a:gd name="connsiteX25" fmla="*/ 352425 w 1511300"/>
              <a:gd name="connsiteY25" fmla="*/ 1122220 h 1241283"/>
              <a:gd name="connsiteX26" fmla="*/ 352425 w 1511300"/>
              <a:gd name="connsiteY26" fmla="*/ 1046020 h 1241283"/>
              <a:gd name="connsiteX27" fmla="*/ 277812 w 1511300"/>
              <a:gd name="connsiteY27" fmla="*/ 1046020 h 1241283"/>
              <a:gd name="connsiteX28" fmla="*/ 117475 w 1511300"/>
              <a:gd name="connsiteY28" fmla="*/ 1046020 h 1241283"/>
              <a:gd name="connsiteX29" fmla="*/ 117475 w 1511300"/>
              <a:gd name="connsiteY29" fmla="*/ 1122220 h 1241283"/>
              <a:gd name="connsiteX30" fmla="*/ 193675 w 1511300"/>
              <a:gd name="connsiteY30" fmla="*/ 1122220 h 1241283"/>
              <a:gd name="connsiteX31" fmla="*/ 193675 w 1511300"/>
              <a:gd name="connsiteY31" fmla="*/ 1046020 h 1241283"/>
              <a:gd name="connsiteX32" fmla="*/ 117475 w 1511300"/>
              <a:gd name="connsiteY32" fmla="*/ 1046020 h 1241283"/>
              <a:gd name="connsiteX33" fmla="*/ 1319212 w 1511300"/>
              <a:gd name="connsiteY33" fmla="*/ 788845 h 1241283"/>
              <a:gd name="connsiteX34" fmla="*/ 1319212 w 1511300"/>
              <a:gd name="connsiteY34" fmla="*/ 865045 h 1241283"/>
              <a:gd name="connsiteX35" fmla="*/ 1395412 w 1511300"/>
              <a:gd name="connsiteY35" fmla="*/ 865045 h 1241283"/>
              <a:gd name="connsiteX36" fmla="*/ 1395412 w 1511300"/>
              <a:gd name="connsiteY36" fmla="*/ 788845 h 1241283"/>
              <a:gd name="connsiteX37" fmla="*/ 1319212 w 1511300"/>
              <a:gd name="connsiteY37" fmla="*/ 788845 h 1241283"/>
              <a:gd name="connsiteX38" fmla="*/ 1150937 w 1511300"/>
              <a:gd name="connsiteY38" fmla="*/ 788845 h 1241283"/>
              <a:gd name="connsiteX39" fmla="*/ 1150937 w 1511300"/>
              <a:gd name="connsiteY39" fmla="*/ 865045 h 1241283"/>
              <a:gd name="connsiteX40" fmla="*/ 1227137 w 1511300"/>
              <a:gd name="connsiteY40" fmla="*/ 865045 h 1241283"/>
              <a:gd name="connsiteX41" fmla="*/ 1227137 w 1511300"/>
              <a:gd name="connsiteY41" fmla="*/ 788845 h 1241283"/>
              <a:gd name="connsiteX42" fmla="*/ 1150937 w 1511300"/>
              <a:gd name="connsiteY42" fmla="*/ 788845 h 1241283"/>
              <a:gd name="connsiteX43" fmla="*/ 989012 w 1511300"/>
              <a:gd name="connsiteY43" fmla="*/ 788845 h 1241283"/>
              <a:gd name="connsiteX44" fmla="*/ 989012 w 1511300"/>
              <a:gd name="connsiteY44" fmla="*/ 865045 h 1241283"/>
              <a:gd name="connsiteX45" fmla="*/ 1063625 w 1511300"/>
              <a:gd name="connsiteY45" fmla="*/ 865045 h 1241283"/>
              <a:gd name="connsiteX46" fmla="*/ 1063625 w 1511300"/>
              <a:gd name="connsiteY46" fmla="*/ 788845 h 1241283"/>
              <a:gd name="connsiteX47" fmla="*/ 989012 w 1511300"/>
              <a:gd name="connsiteY47" fmla="*/ 788845 h 1241283"/>
              <a:gd name="connsiteX48" fmla="*/ 820737 w 1511300"/>
              <a:gd name="connsiteY48" fmla="*/ 788845 h 1241283"/>
              <a:gd name="connsiteX49" fmla="*/ 820737 w 1511300"/>
              <a:gd name="connsiteY49" fmla="*/ 865045 h 1241283"/>
              <a:gd name="connsiteX50" fmla="*/ 896937 w 1511300"/>
              <a:gd name="connsiteY50" fmla="*/ 865045 h 1241283"/>
              <a:gd name="connsiteX51" fmla="*/ 896937 w 1511300"/>
              <a:gd name="connsiteY51" fmla="*/ 788845 h 1241283"/>
              <a:gd name="connsiteX52" fmla="*/ 820737 w 1511300"/>
              <a:gd name="connsiteY52" fmla="*/ 788845 h 1241283"/>
              <a:gd name="connsiteX53" fmla="*/ 660400 w 1511300"/>
              <a:gd name="connsiteY53" fmla="*/ 788845 h 1241283"/>
              <a:gd name="connsiteX54" fmla="*/ 660400 w 1511300"/>
              <a:gd name="connsiteY54" fmla="*/ 865045 h 1241283"/>
              <a:gd name="connsiteX55" fmla="*/ 736600 w 1511300"/>
              <a:gd name="connsiteY55" fmla="*/ 865045 h 1241283"/>
              <a:gd name="connsiteX56" fmla="*/ 736600 w 1511300"/>
              <a:gd name="connsiteY56" fmla="*/ 788845 h 1241283"/>
              <a:gd name="connsiteX57" fmla="*/ 660400 w 1511300"/>
              <a:gd name="connsiteY57" fmla="*/ 788845 h 1241283"/>
              <a:gd name="connsiteX58" fmla="*/ 1319212 w 1511300"/>
              <a:gd name="connsiteY58" fmla="*/ 631683 h 1241283"/>
              <a:gd name="connsiteX59" fmla="*/ 1319212 w 1511300"/>
              <a:gd name="connsiteY59" fmla="*/ 707883 h 1241283"/>
              <a:gd name="connsiteX60" fmla="*/ 1395412 w 1511300"/>
              <a:gd name="connsiteY60" fmla="*/ 707883 h 1241283"/>
              <a:gd name="connsiteX61" fmla="*/ 1395412 w 1511300"/>
              <a:gd name="connsiteY61" fmla="*/ 631683 h 1241283"/>
              <a:gd name="connsiteX62" fmla="*/ 1319212 w 1511300"/>
              <a:gd name="connsiteY62" fmla="*/ 631683 h 1241283"/>
              <a:gd name="connsiteX63" fmla="*/ 1150937 w 1511300"/>
              <a:gd name="connsiteY63" fmla="*/ 631683 h 1241283"/>
              <a:gd name="connsiteX64" fmla="*/ 1150937 w 1511300"/>
              <a:gd name="connsiteY64" fmla="*/ 707883 h 1241283"/>
              <a:gd name="connsiteX65" fmla="*/ 1227137 w 1511300"/>
              <a:gd name="connsiteY65" fmla="*/ 707883 h 1241283"/>
              <a:gd name="connsiteX66" fmla="*/ 1227137 w 1511300"/>
              <a:gd name="connsiteY66" fmla="*/ 631683 h 1241283"/>
              <a:gd name="connsiteX67" fmla="*/ 1150937 w 1511300"/>
              <a:gd name="connsiteY67" fmla="*/ 631683 h 1241283"/>
              <a:gd name="connsiteX68" fmla="*/ 989012 w 1511300"/>
              <a:gd name="connsiteY68" fmla="*/ 631683 h 1241283"/>
              <a:gd name="connsiteX69" fmla="*/ 989012 w 1511300"/>
              <a:gd name="connsiteY69" fmla="*/ 707883 h 1241283"/>
              <a:gd name="connsiteX70" fmla="*/ 1063625 w 1511300"/>
              <a:gd name="connsiteY70" fmla="*/ 707883 h 1241283"/>
              <a:gd name="connsiteX71" fmla="*/ 1063625 w 1511300"/>
              <a:gd name="connsiteY71" fmla="*/ 631683 h 1241283"/>
              <a:gd name="connsiteX72" fmla="*/ 989012 w 1511300"/>
              <a:gd name="connsiteY72" fmla="*/ 631683 h 1241283"/>
              <a:gd name="connsiteX73" fmla="*/ 820737 w 1511300"/>
              <a:gd name="connsiteY73" fmla="*/ 631683 h 1241283"/>
              <a:gd name="connsiteX74" fmla="*/ 820737 w 1511300"/>
              <a:gd name="connsiteY74" fmla="*/ 707883 h 1241283"/>
              <a:gd name="connsiteX75" fmla="*/ 896937 w 1511300"/>
              <a:gd name="connsiteY75" fmla="*/ 707883 h 1241283"/>
              <a:gd name="connsiteX76" fmla="*/ 896937 w 1511300"/>
              <a:gd name="connsiteY76" fmla="*/ 631683 h 1241283"/>
              <a:gd name="connsiteX77" fmla="*/ 820737 w 1511300"/>
              <a:gd name="connsiteY77" fmla="*/ 631683 h 1241283"/>
              <a:gd name="connsiteX78" fmla="*/ 660400 w 1511300"/>
              <a:gd name="connsiteY78" fmla="*/ 631683 h 1241283"/>
              <a:gd name="connsiteX79" fmla="*/ 660400 w 1511300"/>
              <a:gd name="connsiteY79" fmla="*/ 707883 h 1241283"/>
              <a:gd name="connsiteX80" fmla="*/ 736600 w 1511300"/>
              <a:gd name="connsiteY80" fmla="*/ 707883 h 1241283"/>
              <a:gd name="connsiteX81" fmla="*/ 736600 w 1511300"/>
              <a:gd name="connsiteY81" fmla="*/ 631683 h 1241283"/>
              <a:gd name="connsiteX82" fmla="*/ 660400 w 1511300"/>
              <a:gd name="connsiteY82" fmla="*/ 631683 h 1241283"/>
              <a:gd name="connsiteX83" fmla="*/ 1319212 w 1511300"/>
              <a:gd name="connsiteY83" fmla="*/ 463408 h 1241283"/>
              <a:gd name="connsiteX84" fmla="*/ 1319212 w 1511300"/>
              <a:gd name="connsiteY84" fmla="*/ 539608 h 1241283"/>
              <a:gd name="connsiteX85" fmla="*/ 1395412 w 1511300"/>
              <a:gd name="connsiteY85" fmla="*/ 539608 h 1241283"/>
              <a:gd name="connsiteX86" fmla="*/ 1395412 w 1511300"/>
              <a:gd name="connsiteY86" fmla="*/ 463408 h 1241283"/>
              <a:gd name="connsiteX87" fmla="*/ 1319212 w 1511300"/>
              <a:gd name="connsiteY87" fmla="*/ 463408 h 1241283"/>
              <a:gd name="connsiteX88" fmla="*/ 1150937 w 1511300"/>
              <a:gd name="connsiteY88" fmla="*/ 463408 h 1241283"/>
              <a:gd name="connsiteX89" fmla="*/ 1150937 w 1511300"/>
              <a:gd name="connsiteY89" fmla="*/ 539608 h 1241283"/>
              <a:gd name="connsiteX90" fmla="*/ 1227137 w 1511300"/>
              <a:gd name="connsiteY90" fmla="*/ 539608 h 1241283"/>
              <a:gd name="connsiteX91" fmla="*/ 1227137 w 1511300"/>
              <a:gd name="connsiteY91" fmla="*/ 463408 h 1241283"/>
              <a:gd name="connsiteX92" fmla="*/ 1150937 w 1511300"/>
              <a:gd name="connsiteY92" fmla="*/ 463408 h 1241283"/>
              <a:gd name="connsiteX93" fmla="*/ 1319212 w 1511300"/>
              <a:gd name="connsiteY93" fmla="*/ 296720 h 1241283"/>
              <a:gd name="connsiteX94" fmla="*/ 1319212 w 1511300"/>
              <a:gd name="connsiteY94" fmla="*/ 371333 h 1241283"/>
              <a:gd name="connsiteX95" fmla="*/ 1395412 w 1511300"/>
              <a:gd name="connsiteY95" fmla="*/ 371333 h 1241283"/>
              <a:gd name="connsiteX96" fmla="*/ 1395412 w 1511300"/>
              <a:gd name="connsiteY96" fmla="*/ 296720 h 1241283"/>
              <a:gd name="connsiteX97" fmla="*/ 1319212 w 1511300"/>
              <a:gd name="connsiteY97" fmla="*/ 296720 h 1241283"/>
              <a:gd name="connsiteX98" fmla="*/ 1150937 w 1511300"/>
              <a:gd name="connsiteY98" fmla="*/ 296720 h 1241283"/>
              <a:gd name="connsiteX99" fmla="*/ 1150937 w 1511300"/>
              <a:gd name="connsiteY99" fmla="*/ 371333 h 1241283"/>
              <a:gd name="connsiteX100" fmla="*/ 1227137 w 1511300"/>
              <a:gd name="connsiteY100" fmla="*/ 371333 h 1241283"/>
              <a:gd name="connsiteX101" fmla="*/ 1227137 w 1511300"/>
              <a:gd name="connsiteY101" fmla="*/ 296720 h 1241283"/>
              <a:gd name="connsiteX102" fmla="*/ 1150937 w 1511300"/>
              <a:gd name="connsiteY102" fmla="*/ 296720 h 1241283"/>
              <a:gd name="connsiteX103" fmla="*/ 1130495 w 1511300"/>
              <a:gd name="connsiteY103" fmla="*/ 0 h 1241283"/>
              <a:gd name="connsiteX104" fmla="*/ 1401025 w 1511300"/>
              <a:gd name="connsiteY104" fmla="*/ 0 h 1241283"/>
              <a:gd name="connsiteX105" fmla="*/ 1401025 w 1511300"/>
              <a:gd name="connsiteY105" fmla="*/ 146946 h 1241283"/>
              <a:gd name="connsiteX106" fmla="*/ 1511300 w 1511300"/>
              <a:gd name="connsiteY106" fmla="*/ 146946 h 1241283"/>
              <a:gd name="connsiteX107" fmla="*/ 1511300 w 1511300"/>
              <a:gd name="connsiteY107" fmla="*/ 1234123 h 1241283"/>
              <a:gd name="connsiteX108" fmla="*/ 877888 w 1511300"/>
              <a:gd name="connsiteY108" fmla="*/ 1232551 h 1241283"/>
              <a:gd name="connsiteX109" fmla="*/ 877888 w 1511300"/>
              <a:gd name="connsiteY109" fmla="*/ 1023795 h 1241283"/>
              <a:gd name="connsiteX110" fmla="*/ 785019 w 1511300"/>
              <a:gd name="connsiteY110" fmla="*/ 1023795 h 1241283"/>
              <a:gd name="connsiteX111" fmla="*/ 785019 w 1511300"/>
              <a:gd name="connsiteY111" fmla="*/ 1233345 h 1241283"/>
              <a:gd name="connsiteX112" fmla="*/ 729456 w 1511300"/>
              <a:gd name="connsiteY112" fmla="*/ 1233345 h 1241283"/>
              <a:gd name="connsiteX113" fmla="*/ 729456 w 1511300"/>
              <a:gd name="connsiteY113" fmla="*/ 1023795 h 1241283"/>
              <a:gd name="connsiteX114" fmla="*/ 637381 w 1511300"/>
              <a:gd name="connsiteY114" fmla="*/ 1023795 h 1241283"/>
              <a:gd name="connsiteX115" fmla="*/ 637381 w 1511300"/>
              <a:gd name="connsiteY115" fmla="*/ 1232551 h 1241283"/>
              <a:gd name="connsiteX116" fmla="*/ 0 w 1511300"/>
              <a:gd name="connsiteY116" fmla="*/ 1229376 h 1241283"/>
              <a:gd name="connsiteX117" fmla="*/ 0 w 1511300"/>
              <a:gd name="connsiteY117" fmla="*/ 935740 h 1241283"/>
              <a:gd name="connsiteX118" fmla="*/ 531521 w 1511300"/>
              <a:gd name="connsiteY118" fmla="*/ 936483 h 1241283"/>
              <a:gd name="connsiteX119" fmla="*/ 531521 w 1511300"/>
              <a:gd name="connsiteY119" fmla="*/ 506765 h 1241283"/>
              <a:gd name="connsiteX120" fmla="*/ 1017840 w 1511300"/>
              <a:gd name="connsiteY120" fmla="*/ 506765 h 1241283"/>
              <a:gd name="connsiteX121" fmla="*/ 1017840 w 1511300"/>
              <a:gd name="connsiteY121" fmla="*/ 146946 h 1241283"/>
              <a:gd name="connsiteX122" fmla="*/ 1130495 w 1511300"/>
              <a:gd name="connsiteY122" fmla="*/ 146946 h 1241283"/>
              <a:gd name="connsiteX123" fmla="*/ 1130495 w 1511300"/>
              <a:gd name="connsiteY123" fmla="*/ 0 h 12412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</a:cxnLst>
            <a:rect l="l" t="t" r="r" b="b"/>
            <a:pathLst>
              <a:path w="1511300" h="1241283">
                <a:moveTo>
                  <a:pt x="1511300" y="1237501"/>
                </a:moveTo>
                <a:lnTo>
                  <a:pt x="1504156" y="1241283"/>
                </a:lnTo>
                <a:lnTo>
                  <a:pt x="1511300" y="1237501"/>
                </a:lnTo>
                <a:close/>
                <a:moveTo>
                  <a:pt x="1319212" y="1046020"/>
                </a:moveTo>
                <a:lnTo>
                  <a:pt x="1319212" y="1122220"/>
                </a:lnTo>
                <a:lnTo>
                  <a:pt x="1395412" y="1122220"/>
                </a:lnTo>
                <a:lnTo>
                  <a:pt x="1395412" y="1046020"/>
                </a:lnTo>
                <a:lnTo>
                  <a:pt x="1319212" y="1046020"/>
                </a:lnTo>
                <a:close/>
                <a:moveTo>
                  <a:pt x="1150937" y="1046020"/>
                </a:moveTo>
                <a:lnTo>
                  <a:pt x="1150937" y="1122220"/>
                </a:lnTo>
                <a:lnTo>
                  <a:pt x="1227137" y="1122220"/>
                </a:lnTo>
                <a:lnTo>
                  <a:pt x="1227137" y="1046020"/>
                </a:lnTo>
                <a:lnTo>
                  <a:pt x="1150937" y="1046020"/>
                </a:lnTo>
                <a:close/>
                <a:moveTo>
                  <a:pt x="984250" y="1046020"/>
                </a:moveTo>
                <a:lnTo>
                  <a:pt x="984250" y="1122220"/>
                </a:lnTo>
                <a:lnTo>
                  <a:pt x="1057275" y="1122220"/>
                </a:lnTo>
                <a:lnTo>
                  <a:pt x="1057275" y="1046020"/>
                </a:lnTo>
                <a:lnTo>
                  <a:pt x="984250" y="1046020"/>
                </a:lnTo>
                <a:close/>
                <a:moveTo>
                  <a:pt x="438150" y="1046020"/>
                </a:moveTo>
                <a:lnTo>
                  <a:pt x="438150" y="1122220"/>
                </a:lnTo>
                <a:lnTo>
                  <a:pt x="514350" y="1122220"/>
                </a:lnTo>
                <a:lnTo>
                  <a:pt x="514350" y="1046020"/>
                </a:lnTo>
                <a:lnTo>
                  <a:pt x="438150" y="1046020"/>
                </a:lnTo>
                <a:close/>
                <a:moveTo>
                  <a:pt x="277812" y="1046020"/>
                </a:moveTo>
                <a:lnTo>
                  <a:pt x="277812" y="1122220"/>
                </a:lnTo>
                <a:lnTo>
                  <a:pt x="352425" y="1122220"/>
                </a:lnTo>
                <a:lnTo>
                  <a:pt x="352425" y="1046020"/>
                </a:lnTo>
                <a:lnTo>
                  <a:pt x="277812" y="1046020"/>
                </a:lnTo>
                <a:close/>
                <a:moveTo>
                  <a:pt x="117475" y="1046020"/>
                </a:moveTo>
                <a:lnTo>
                  <a:pt x="117475" y="1122220"/>
                </a:lnTo>
                <a:lnTo>
                  <a:pt x="193675" y="1122220"/>
                </a:lnTo>
                <a:lnTo>
                  <a:pt x="193675" y="1046020"/>
                </a:lnTo>
                <a:lnTo>
                  <a:pt x="117475" y="1046020"/>
                </a:lnTo>
                <a:close/>
                <a:moveTo>
                  <a:pt x="1319212" y="788845"/>
                </a:moveTo>
                <a:lnTo>
                  <a:pt x="1319212" y="865045"/>
                </a:lnTo>
                <a:lnTo>
                  <a:pt x="1395412" y="865045"/>
                </a:lnTo>
                <a:lnTo>
                  <a:pt x="1395412" y="788845"/>
                </a:lnTo>
                <a:lnTo>
                  <a:pt x="1319212" y="788845"/>
                </a:lnTo>
                <a:close/>
                <a:moveTo>
                  <a:pt x="1150937" y="788845"/>
                </a:moveTo>
                <a:lnTo>
                  <a:pt x="1150937" y="865045"/>
                </a:lnTo>
                <a:lnTo>
                  <a:pt x="1227137" y="865045"/>
                </a:lnTo>
                <a:lnTo>
                  <a:pt x="1227137" y="788845"/>
                </a:lnTo>
                <a:lnTo>
                  <a:pt x="1150937" y="788845"/>
                </a:lnTo>
                <a:close/>
                <a:moveTo>
                  <a:pt x="989012" y="788845"/>
                </a:moveTo>
                <a:lnTo>
                  <a:pt x="989012" y="865045"/>
                </a:lnTo>
                <a:lnTo>
                  <a:pt x="1063625" y="865045"/>
                </a:lnTo>
                <a:lnTo>
                  <a:pt x="1063625" y="788845"/>
                </a:lnTo>
                <a:lnTo>
                  <a:pt x="989012" y="788845"/>
                </a:lnTo>
                <a:close/>
                <a:moveTo>
                  <a:pt x="820737" y="788845"/>
                </a:moveTo>
                <a:lnTo>
                  <a:pt x="820737" y="865045"/>
                </a:lnTo>
                <a:lnTo>
                  <a:pt x="896937" y="865045"/>
                </a:lnTo>
                <a:lnTo>
                  <a:pt x="896937" y="788845"/>
                </a:lnTo>
                <a:lnTo>
                  <a:pt x="820737" y="788845"/>
                </a:lnTo>
                <a:close/>
                <a:moveTo>
                  <a:pt x="660400" y="788845"/>
                </a:moveTo>
                <a:lnTo>
                  <a:pt x="660400" y="865045"/>
                </a:lnTo>
                <a:lnTo>
                  <a:pt x="736600" y="865045"/>
                </a:lnTo>
                <a:lnTo>
                  <a:pt x="736600" y="788845"/>
                </a:lnTo>
                <a:lnTo>
                  <a:pt x="660400" y="788845"/>
                </a:lnTo>
                <a:close/>
                <a:moveTo>
                  <a:pt x="1319212" y="631683"/>
                </a:moveTo>
                <a:lnTo>
                  <a:pt x="1319212" y="707883"/>
                </a:lnTo>
                <a:lnTo>
                  <a:pt x="1395412" y="707883"/>
                </a:lnTo>
                <a:lnTo>
                  <a:pt x="1395412" y="631683"/>
                </a:lnTo>
                <a:lnTo>
                  <a:pt x="1319212" y="631683"/>
                </a:lnTo>
                <a:close/>
                <a:moveTo>
                  <a:pt x="1150937" y="631683"/>
                </a:moveTo>
                <a:lnTo>
                  <a:pt x="1150937" y="707883"/>
                </a:lnTo>
                <a:lnTo>
                  <a:pt x="1227137" y="707883"/>
                </a:lnTo>
                <a:lnTo>
                  <a:pt x="1227137" y="631683"/>
                </a:lnTo>
                <a:lnTo>
                  <a:pt x="1150937" y="631683"/>
                </a:lnTo>
                <a:close/>
                <a:moveTo>
                  <a:pt x="989012" y="631683"/>
                </a:moveTo>
                <a:lnTo>
                  <a:pt x="989012" y="707883"/>
                </a:lnTo>
                <a:lnTo>
                  <a:pt x="1063625" y="707883"/>
                </a:lnTo>
                <a:lnTo>
                  <a:pt x="1063625" y="631683"/>
                </a:lnTo>
                <a:lnTo>
                  <a:pt x="989012" y="631683"/>
                </a:lnTo>
                <a:close/>
                <a:moveTo>
                  <a:pt x="820737" y="631683"/>
                </a:moveTo>
                <a:lnTo>
                  <a:pt x="820737" y="707883"/>
                </a:lnTo>
                <a:lnTo>
                  <a:pt x="896937" y="707883"/>
                </a:lnTo>
                <a:lnTo>
                  <a:pt x="896937" y="631683"/>
                </a:lnTo>
                <a:lnTo>
                  <a:pt x="820737" y="631683"/>
                </a:lnTo>
                <a:close/>
                <a:moveTo>
                  <a:pt x="660400" y="631683"/>
                </a:moveTo>
                <a:lnTo>
                  <a:pt x="660400" y="707883"/>
                </a:lnTo>
                <a:lnTo>
                  <a:pt x="736600" y="707883"/>
                </a:lnTo>
                <a:lnTo>
                  <a:pt x="736600" y="631683"/>
                </a:lnTo>
                <a:lnTo>
                  <a:pt x="660400" y="631683"/>
                </a:lnTo>
                <a:close/>
                <a:moveTo>
                  <a:pt x="1319212" y="463408"/>
                </a:moveTo>
                <a:lnTo>
                  <a:pt x="1319212" y="539608"/>
                </a:lnTo>
                <a:lnTo>
                  <a:pt x="1395412" y="539608"/>
                </a:lnTo>
                <a:lnTo>
                  <a:pt x="1395412" y="463408"/>
                </a:lnTo>
                <a:lnTo>
                  <a:pt x="1319212" y="463408"/>
                </a:lnTo>
                <a:close/>
                <a:moveTo>
                  <a:pt x="1150937" y="463408"/>
                </a:moveTo>
                <a:lnTo>
                  <a:pt x="1150937" y="539608"/>
                </a:lnTo>
                <a:lnTo>
                  <a:pt x="1227137" y="539608"/>
                </a:lnTo>
                <a:lnTo>
                  <a:pt x="1227137" y="463408"/>
                </a:lnTo>
                <a:lnTo>
                  <a:pt x="1150937" y="463408"/>
                </a:lnTo>
                <a:close/>
                <a:moveTo>
                  <a:pt x="1319212" y="296720"/>
                </a:moveTo>
                <a:lnTo>
                  <a:pt x="1319212" y="371333"/>
                </a:lnTo>
                <a:lnTo>
                  <a:pt x="1395412" y="371333"/>
                </a:lnTo>
                <a:lnTo>
                  <a:pt x="1395412" y="296720"/>
                </a:lnTo>
                <a:lnTo>
                  <a:pt x="1319212" y="296720"/>
                </a:lnTo>
                <a:close/>
                <a:moveTo>
                  <a:pt x="1150937" y="296720"/>
                </a:moveTo>
                <a:lnTo>
                  <a:pt x="1150937" y="371333"/>
                </a:lnTo>
                <a:lnTo>
                  <a:pt x="1227137" y="371333"/>
                </a:lnTo>
                <a:lnTo>
                  <a:pt x="1227137" y="296720"/>
                </a:lnTo>
                <a:lnTo>
                  <a:pt x="1150937" y="296720"/>
                </a:lnTo>
                <a:close/>
                <a:moveTo>
                  <a:pt x="1130495" y="0"/>
                </a:moveTo>
                <a:lnTo>
                  <a:pt x="1401025" y="0"/>
                </a:lnTo>
                <a:lnTo>
                  <a:pt x="1401025" y="146946"/>
                </a:lnTo>
                <a:lnTo>
                  <a:pt x="1511300" y="146946"/>
                </a:lnTo>
                <a:lnTo>
                  <a:pt x="1511300" y="1234123"/>
                </a:lnTo>
                <a:lnTo>
                  <a:pt x="877888" y="1232551"/>
                </a:lnTo>
                <a:lnTo>
                  <a:pt x="877888" y="1023795"/>
                </a:lnTo>
                <a:lnTo>
                  <a:pt x="785019" y="1023795"/>
                </a:lnTo>
                <a:lnTo>
                  <a:pt x="785019" y="1233345"/>
                </a:lnTo>
                <a:lnTo>
                  <a:pt x="729456" y="1233345"/>
                </a:lnTo>
                <a:lnTo>
                  <a:pt x="729456" y="1023795"/>
                </a:lnTo>
                <a:lnTo>
                  <a:pt x="637381" y="1023795"/>
                </a:lnTo>
                <a:lnTo>
                  <a:pt x="637381" y="1232551"/>
                </a:lnTo>
                <a:lnTo>
                  <a:pt x="0" y="1229376"/>
                </a:lnTo>
                <a:lnTo>
                  <a:pt x="0" y="935740"/>
                </a:lnTo>
                <a:lnTo>
                  <a:pt x="531521" y="936483"/>
                </a:lnTo>
                <a:lnTo>
                  <a:pt x="531521" y="506765"/>
                </a:lnTo>
                <a:lnTo>
                  <a:pt x="1017840" y="506765"/>
                </a:lnTo>
                <a:lnTo>
                  <a:pt x="1017840" y="146946"/>
                </a:lnTo>
                <a:lnTo>
                  <a:pt x="1130495" y="146946"/>
                </a:lnTo>
                <a:lnTo>
                  <a:pt x="1130495" y="0"/>
                </a:lnTo>
                <a:close/>
              </a:path>
            </a:pathLst>
          </a:custGeom>
          <a:solidFill>
            <a:schemeClr val="accent1"/>
          </a:solidFill>
          <a:ln w="28575" cap="flat" cmpd="sng" algn="ctr">
            <a:noFill/>
            <a:prstDash val="solid"/>
          </a:ln>
          <a:effectLst/>
        </p:spPr>
        <p:txBody>
          <a:bodyPr lIns="91420" tIns="45710" rIns="91420" bIns="45710" rtlCol="0" anchor="ctr"/>
          <a:lstStyle/>
          <a:p>
            <a:pPr algn="ctr" defTabSz="456706"/>
            <a:endParaRPr lang="en-US" sz="1400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6" name="Rounded Rectangle 175"/>
          <p:cNvSpPr/>
          <p:nvPr/>
        </p:nvSpPr>
        <p:spPr bwMode="auto">
          <a:xfrm>
            <a:off x="2423999" y="3150970"/>
            <a:ext cx="317736" cy="480306"/>
          </a:xfrm>
          <a:prstGeom prst="roundRect">
            <a:avLst>
              <a:gd name="adj" fmla="val 7674"/>
            </a:avLst>
          </a:prstGeom>
          <a:noFill/>
          <a:ln w="9525" cap="rnd">
            <a:solidFill>
              <a:schemeClr val="accent1"/>
            </a:solidFill>
            <a:prstDash val="sysDash"/>
            <a:miter lim="800000"/>
            <a:headEnd type="none" w="med" len="med"/>
            <a:tailEnd type="none" w="med" len="med"/>
          </a:ln>
        </p:spPr>
        <p:txBody>
          <a:bodyPr lIns="91440" tIns="45720" rIns="91440" bIns="45720" rtlCol="0" anchor="ctr"/>
          <a:lstStyle/>
          <a:p>
            <a:pPr algn="ctr" defTabSz="514350"/>
            <a:endParaRPr lang="en-US" sz="1400" dirty="0" err="1" smtClean="0">
              <a:solidFill>
                <a:srgbClr val="FFFFFF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177" name="Rounded Rectangle 176"/>
          <p:cNvSpPr/>
          <p:nvPr/>
        </p:nvSpPr>
        <p:spPr bwMode="auto">
          <a:xfrm>
            <a:off x="740401" y="3150970"/>
            <a:ext cx="317736" cy="480306"/>
          </a:xfrm>
          <a:prstGeom prst="roundRect">
            <a:avLst>
              <a:gd name="adj" fmla="val 7674"/>
            </a:avLst>
          </a:prstGeom>
          <a:noFill/>
          <a:ln w="9525" cap="rnd">
            <a:solidFill>
              <a:schemeClr val="accent1"/>
            </a:solidFill>
            <a:prstDash val="sysDash"/>
            <a:miter lim="800000"/>
            <a:headEnd type="none" w="med" len="med"/>
            <a:tailEnd type="none" w="med" len="med"/>
          </a:ln>
        </p:spPr>
        <p:txBody>
          <a:bodyPr lIns="91440" tIns="45720" rIns="91440" bIns="45720" rtlCol="0" anchor="ctr"/>
          <a:lstStyle/>
          <a:p>
            <a:pPr algn="ctr" defTabSz="514350"/>
            <a:endParaRPr lang="en-US" sz="1400" dirty="0" err="1" smtClean="0">
              <a:solidFill>
                <a:srgbClr val="FFFFFF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181" name="Freeform 180"/>
          <p:cNvSpPr>
            <a:spLocks noChangeAspect="1"/>
          </p:cNvSpPr>
          <p:nvPr/>
        </p:nvSpPr>
        <p:spPr>
          <a:xfrm rot="5400000">
            <a:off x="7815621" y="1410079"/>
            <a:ext cx="320040" cy="416452"/>
          </a:xfrm>
          <a:custGeom>
            <a:avLst/>
            <a:gdLst>
              <a:gd name="connsiteX0" fmla="*/ 1373511 w 2056668"/>
              <a:gd name="connsiteY0" fmla="*/ 1074533 h 2676243"/>
              <a:gd name="connsiteX1" fmla="*/ 1375435 w 2056668"/>
              <a:gd name="connsiteY1" fmla="*/ 1073843 h 2676243"/>
              <a:gd name="connsiteX2" fmla="*/ 1374137 w 2056668"/>
              <a:gd name="connsiteY2" fmla="*/ 1073384 h 2676243"/>
              <a:gd name="connsiteX3" fmla="*/ 1168982 w 2056668"/>
              <a:gd name="connsiteY3" fmla="*/ 2286569 h 2676243"/>
              <a:gd name="connsiteX4" fmla="*/ 1223115 w 2056668"/>
              <a:gd name="connsiteY4" fmla="*/ 2232436 h 2676243"/>
              <a:gd name="connsiteX5" fmla="*/ 1338867 w 2056668"/>
              <a:gd name="connsiteY5" fmla="*/ 2232436 h 2676243"/>
              <a:gd name="connsiteX6" fmla="*/ 1393000 w 2056668"/>
              <a:gd name="connsiteY6" fmla="*/ 2286569 h 2676243"/>
              <a:gd name="connsiteX7" fmla="*/ 1338867 w 2056668"/>
              <a:gd name="connsiteY7" fmla="*/ 2340702 h 2676243"/>
              <a:gd name="connsiteX8" fmla="*/ 1223115 w 2056668"/>
              <a:gd name="connsiteY8" fmla="*/ 2340702 h 2676243"/>
              <a:gd name="connsiteX9" fmla="*/ 1168982 w 2056668"/>
              <a:gd name="connsiteY9" fmla="*/ 2286569 h 2676243"/>
              <a:gd name="connsiteX10" fmla="*/ 454918 w 2056668"/>
              <a:gd name="connsiteY10" fmla="*/ 2452888 h 2676243"/>
              <a:gd name="connsiteX11" fmla="*/ 454918 w 2056668"/>
              <a:gd name="connsiteY11" fmla="*/ 2119122 h 2676243"/>
              <a:gd name="connsiteX12" fmla="*/ 509051 w 2056668"/>
              <a:gd name="connsiteY12" fmla="*/ 2064989 h 2676243"/>
              <a:gd name="connsiteX13" fmla="*/ 563184 w 2056668"/>
              <a:gd name="connsiteY13" fmla="*/ 2119122 h 2676243"/>
              <a:gd name="connsiteX14" fmla="*/ 563184 w 2056668"/>
              <a:gd name="connsiteY14" fmla="*/ 2452888 h 2676243"/>
              <a:gd name="connsiteX15" fmla="*/ 509051 w 2056668"/>
              <a:gd name="connsiteY15" fmla="*/ 2507021 h 2676243"/>
              <a:gd name="connsiteX16" fmla="*/ 454918 w 2056668"/>
              <a:gd name="connsiteY16" fmla="*/ 2452888 h 2676243"/>
              <a:gd name="connsiteX17" fmla="*/ 390456 w 2056668"/>
              <a:gd name="connsiteY17" fmla="*/ 924195 h 2676243"/>
              <a:gd name="connsiteX18" fmla="*/ 746922 w 2056668"/>
              <a:gd name="connsiteY18" fmla="*/ 1231417 h 2676243"/>
              <a:gd name="connsiteX19" fmla="*/ 885676 w 2056668"/>
              <a:gd name="connsiteY19" fmla="*/ 1207273 h 2676243"/>
              <a:gd name="connsiteX20" fmla="*/ 918455 w 2056668"/>
              <a:gd name="connsiteY20" fmla="*/ 1191939 h 2676243"/>
              <a:gd name="connsiteX21" fmla="*/ 920850 w 2056668"/>
              <a:gd name="connsiteY21" fmla="*/ 1194488 h 2676243"/>
              <a:gd name="connsiteX22" fmla="*/ 1111639 w 2056668"/>
              <a:gd name="connsiteY22" fmla="*/ 1169525 h 2676243"/>
              <a:gd name="connsiteX23" fmla="*/ 1121942 w 2056668"/>
              <a:gd name="connsiteY23" fmla="*/ 1149024 h 2676243"/>
              <a:gd name="connsiteX24" fmla="*/ 1150824 w 2056668"/>
              <a:gd name="connsiteY24" fmla="*/ 1145987 h 2676243"/>
              <a:gd name="connsiteX25" fmla="*/ 1231259 w 2056668"/>
              <a:gd name="connsiteY25" fmla="*/ 1113052 h 2676243"/>
              <a:gd name="connsiteX26" fmla="*/ 1231259 w 2056668"/>
              <a:gd name="connsiteY26" fmla="*/ 1113784 h 2676243"/>
              <a:gd name="connsiteX27" fmla="*/ 1231488 w 2056668"/>
              <a:gd name="connsiteY27" fmla="*/ 1113670 h 2676243"/>
              <a:gd name="connsiteX28" fmla="*/ 1299462 w 2056668"/>
              <a:gd name="connsiteY28" fmla="*/ 1054799 h 2676243"/>
              <a:gd name="connsiteX29" fmla="*/ 1318999 w 2056668"/>
              <a:gd name="connsiteY29" fmla="*/ 1020733 h 2676243"/>
              <a:gd name="connsiteX30" fmla="*/ 1387727 w 2056668"/>
              <a:gd name="connsiteY30" fmla="*/ 1029992 h 2676243"/>
              <a:gd name="connsiteX31" fmla="*/ 1410367 w 2056668"/>
              <a:gd name="connsiteY31" fmla="*/ 1035607 h 2676243"/>
              <a:gd name="connsiteX32" fmla="*/ 1445780 w 2056668"/>
              <a:gd name="connsiteY32" fmla="*/ 1046512 h 2676243"/>
              <a:gd name="connsiteX33" fmla="*/ 1445780 w 2056668"/>
              <a:gd name="connsiteY33" fmla="*/ 1046776 h 2676243"/>
              <a:gd name="connsiteX34" fmla="*/ 1451131 w 2056668"/>
              <a:gd name="connsiteY34" fmla="*/ 1048160 h 2676243"/>
              <a:gd name="connsiteX35" fmla="*/ 1456571 w 2056668"/>
              <a:gd name="connsiteY35" fmla="*/ 1049835 h 2676243"/>
              <a:gd name="connsiteX36" fmla="*/ 1545970 w 2056668"/>
              <a:gd name="connsiteY36" fmla="*/ 1086725 h 2676243"/>
              <a:gd name="connsiteX37" fmla="*/ 1607308 w 2056668"/>
              <a:gd name="connsiteY37" fmla="*/ 1132847 h 2676243"/>
              <a:gd name="connsiteX38" fmla="*/ 1625127 w 2056668"/>
              <a:gd name="connsiteY38" fmla="*/ 1159128 h 2676243"/>
              <a:gd name="connsiteX39" fmla="*/ 1626259 w 2056668"/>
              <a:gd name="connsiteY39" fmla="*/ 1166196 h 2676243"/>
              <a:gd name="connsiteX40" fmla="*/ 1966482 w 2056668"/>
              <a:gd name="connsiteY40" fmla="*/ 1603461 h 2676243"/>
              <a:gd name="connsiteX41" fmla="*/ 1966482 w 2056668"/>
              <a:gd name="connsiteY41" fmla="*/ 171576 h 2676243"/>
              <a:gd name="connsiteX42" fmla="*/ 1626259 w 2056668"/>
              <a:gd name="connsiteY42" fmla="*/ 608842 h 2676243"/>
              <a:gd name="connsiteX43" fmla="*/ 1621704 w 2056668"/>
              <a:gd name="connsiteY43" fmla="*/ 637297 h 2676243"/>
              <a:gd name="connsiteX44" fmla="*/ 1616156 w 2056668"/>
              <a:gd name="connsiteY44" fmla="*/ 650621 h 2676243"/>
              <a:gd name="connsiteX45" fmla="*/ 1607308 w 2056668"/>
              <a:gd name="connsiteY45" fmla="*/ 663669 h 2676243"/>
              <a:gd name="connsiteX46" fmla="*/ 1454827 w 2056668"/>
              <a:gd name="connsiteY46" fmla="*/ 747402 h 2676243"/>
              <a:gd name="connsiteX47" fmla="*/ 1445780 w 2056668"/>
              <a:gd name="connsiteY47" fmla="*/ 749741 h 2676243"/>
              <a:gd name="connsiteX48" fmla="*/ 1445780 w 2056668"/>
              <a:gd name="connsiteY48" fmla="*/ 750130 h 2676243"/>
              <a:gd name="connsiteX49" fmla="*/ 1387727 w 2056668"/>
              <a:gd name="connsiteY49" fmla="*/ 764528 h 2676243"/>
              <a:gd name="connsiteX50" fmla="*/ 1333211 w 2056668"/>
              <a:gd name="connsiteY50" fmla="*/ 771872 h 2676243"/>
              <a:gd name="connsiteX51" fmla="*/ 1299462 w 2056668"/>
              <a:gd name="connsiteY51" fmla="*/ 713025 h 2676243"/>
              <a:gd name="connsiteX52" fmla="*/ 1282931 w 2056668"/>
              <a:gd name="connsiteY52" fmla="*/ 698708 h 2676243"/>
              <a:gd name="connsiteX53" fmla="*/ 1249102 w 2056668"/>
              <a:gd name="connsiteY53" fmla="*/ 659353 h 2676243"/>
              <a:gd name="connsiteX54" fmla="*/ 1195017 w 2056668"/>
              <a:gd name="connsiteY54" fmla="*/ 631377 h 2676243"/>
              <a:gd name="connsiteX55" fmla="*/ 1159737 w 2056668"/>
              <a:gd name="connsiteY55" fmla="*/ 627711 h 2676243"/>
              <a:gd name="connsiteX56" fmla="*/ 1150824 w 2056668"/>
              <a:gd name="connsiteY56" fmla="*/ 624061 h 2676243"/>
              <a:gd name="connsiteX57" fmla="*/ 1118583 w 2056668"/>
              <a:gd name="connsiteY57" fmla="*/ 620671 h 2676243"/>
              <a:gd name="connsiteX58" fmla="*/ 1084763 w 2056668"/>
              <a:gd name="connsiteY58" fmla="*/ 584667 h 2676243"/>
              <a:gd name="connsiteX59" fmla="*/ 934326 w 2056668"/>
              <a:gd name="connsiteY59" fmla="*/ 575713 h 2676243"/>
              <a:gd name="connsiteX60" fmla="*/ 918990 w 2056668"/>
              <a:gd name="connsiteY60" fmla="*/ 588603 h 2676243"/>
              <a:gd name="connsiteX61" fmla="*/ 886448 w 2056668"/>
              <a:gd name="connsiteY61" fmla="*/ 576097 h 2676243"/>
              <a:gd name="connsiteX62" fmla="*/ 468889 w 2056668"/>
              <a:gd name="connsiteY62" fmla="*/ 701626 h 2676243"/>
              <a:gd name="connsiteX63" fmla="*/ 461483 w 2056668"/>
              <a:gd name="connsiteY63" fmla="*/ 741822 h 2676243"/>
              <a:gd name="connsiteX64" fmla="*/ 451335 w 2056668"/>
              <a:gd name="connsiteY64" fmla="*/ 752424 h 2676243"/>
              <a:gd name="connsiteX65" fmla="*/ 390456 w 2056668"/>
              <a:gd name="connsiteY65" fmla="*/ 924195 h 2676243"/>
              <a:gd name="connsiteX66" fmla="*/ 227459 w 2056668"/>
              <a:gd name="connsiteY66" fmla="*/ 2452888 h 2676243"/>
              <a:gd name="connsiteX67" fmla="*/ 227459 w 2056668"/>
              <a:gd name="connsiteY67" fmla="*/ 2119122 h 2676243"/>
              <a:gd name="connsiteX68" fmla="*/ 281592 w 2056668"/>
              <a:gd name="connsiteY68" fmla="*/ 2064989 h 2676243"/>
              <a:gd name="connsiteX69" fmla="*/ 335725 w 2056668"/>
              <a:gd name="connsiteY69" fmla="*/ 2119122 h 2676243"/>
              <a:gd name="connsiteX70" fmla="*/ 335725 w 2056668"/>
              <a:gd name="connsiteY70" fmla="*/ 2452888 h 2676243"/>
              <a:gd name="connsiteX71" fmla="*/ 281592 w 2056668"/>
              <a:gd name="connsiteY71" fmla="*/ 2507021 h 2676243"/>
              <a:gd name="connsiteX72" fmla="*/ 227459 w 2056668"/>
              <a:gd name="connsiteY72" fmla="*/ 2452888 h 2676243"/>
              <a:gd name="connsiteX73" fmla="*/ 108046 w 2056668"/>
              <a:gd name="connsiteY73" fmla="*/ 1642219 h 2676243"/>
              <a:gd name="connsiteX74" fmla="*/ 149361 w 2056668"/>
              <a:gd name="connsiteY74" fmla="*/ 1683534 h 2676243"/>
              <a:gd name="connsiteX75" fmla="*/ 1192798 w 2056668"/>
              <a:gd name="connsiteY75" fmla="*/ 1683534 h 2676243"/>
              <a:gd name="connsiteX76" fmla="*/ 1234113 w 2056668"/>
              <a:gd name="connsiteY76" fmla="*/ 1642219 h 2676243"/>
              <a:gd name="connsiteX77" fmla="*/ 1234113 w 2056668"/>
              <a:gd name="connsiteY77" fmla="*/ 1181907 h 2676243"/>
              <a:gd name="connsiteX78" fmla="*/ 1191176 w 2056668"/>
              <a:gd name="connsiteY78" fmla="*/ 1200447 h 2676243"/>
              <a:gd name="connsiteX79" fmla="*/ 1157906 w 2056668"/>
              <a:gd name="connsiteY79" fmla="*/ 1204136 h 2676243"/>
              <a:gd name="connsiteX80" fmla="*/ 1146037 w 2056668"/>
              <a:gd name="connsiteY80" fmla="*/ 1229042 h 2676243"/>
              <a:gd name="connsiteX81" fmla="*/ 926256 w 2056668"/>
              <a:gd name="connsiteY81" fmla="*/ 1259367 h 2676243"/>
              <a:gd name="connsiteX82" fmla="*/ 923498 w 2056668"/>
              <a:gd name="connsiteY82" fmla="*/ 1256271 h 2676243"/>
              <a:gd name="connsiteX83" fmla="*/ 885737 w 2056668"/>
              <a:gd name="connsiteY83" fmla="*/ 1274899 h 2676243"/>
              <a:gd name="connsiteX84" fmla="*/ 725899 w 2056668"/>
              <a:gd name="connsiteY84" fmla="*/ 1304229 h 2676243"/>
              <a:gd name="connsiteX85" fmla="*/ 315265 w 2056668"/>
              <a:gd name="connsiteY85" fmla="*/ 931009 h 2676243"/>
              <a:gd name="connsiteX86" fmla="*/ 385395 w 2056668"/>
              <a:gd name="connsiteY86" fmla="*/ 722338 h 2676243"/>
              <a:gd name="connsiteX87" fmla="*/ 397086 w 2056668"/>
              <a:gd name="connsiteY87" fmla="*/ 709459 h 2676243"/>
              <a:gd name="connsiteX88" fmla="*/ 405617 w 2056668"/>
              <a:gd name="connsiteY88" fmla="*/ 660628 h 2676243"/>
              <a:gd name="connsiteX89" fmla="*/ 886627 w 2056668"/>
              <a:gd name="connsiteY89" fmla="*/ 508133 h 2676243"/>
              <a:gd name="connsiteX90" fmla="*/ 924114 w 2056668"/>
              <a:gd name="connsiteY90" fmla="*/ 523325 h 2676243"/>
              <a:gd name="connsiteX91" fmla="*/ 941780 w 2056668"/>
              <a:gd name="connsiteY91" fmla="*/ 507666 h 2676243"/>
              <a:gd name="connsiteX92" fmla="*/ 1115077 w 2056668"/>
              <a:gd name="connsiteY92" fmla="*/ 518543 h 2676243"/>
              <a:gd name="connsiteX93" fmla="*/ 1154036 w 2056668"/>
              <a:gd name="connsiteY93" fmla="*/ 562282 h 2676243"/>
              <a:gd name="connsiteX94" fmla="*/ 1191176 w 2056668"/>
              <a:gd name="connsiteY94" fmla="*/ 566400 h 2676243"/>
              <a:gd name="connsiteX95" fmla="*/ 1234113 w 2056668"/>
              <a:gd name="connsiteY95" fmla="*/ 584941 h 2676243"/>
              <a:gd name="connsiteX96" fmla="*/ 1234113 w 2056668"/>
              <a:gd name="connsiteY96" fmla="*/ 137348 h 2676243"/>
              <a:gd name="connsiteX97" fmla="*/ 1192798 w 2056668"/>
              <a:gd name="connsiteY97" fmla="*/ 96033 h 2676243"/>
              <a:gd name="connsiteX98" fmla="*/ 149361 w 2056668"/>
              <a:gd name="connsiteY98" fmla="*/ 96033 h 2676243"/>
              <a:gd name="connsiteX99" fmla="*/ 108046 w 2056668"/>
              <a:gd name="connsiteY99" fmla="*/ 137348 h 2676243"/>
              <a:gd name="connsiteX100" fmla="*/ 106117 w 2056668"/>
              <a:gd name="connsiteY100" fmla="*/ 2546409 h 2676243"/>
              <a:gd name="connsiteX101" fmla="*/ 145403 w 2056668"/>
              <a:gd name="connsiteY101" fmla="*/ 2585695 h 2676243"/>
              <a:gd name="connsiteX102" fmla="*/ 1535939 w 2056668"/>
              <a:gd name="connsiteY102" fmla="*/ 2585695 h 2676243"/>
              <a:gd name="connsiteX103" fmla="*/ 1575225 w 2056668"/>
              <a:gd name="connsiteY103" fmla="*/ 2546409 h 2676243"/>
              <a:gd name="connsiteX104" fmla="*/ 1575225 w 2056668"/>
              <a:gd name="connsiteY104" fmla="*/ 2031270 h 2676243"/>
              <a:gd name="connsiteX105" fmla="*/ 1535939 w 2056668"/>
              <a:gd name="connsiteY105" fmla="*/ 1991984 h 2676243"/>
              <a:gd name="connsiteX106" fmla="*/ 145403 w 2056668"/>
              <a:gd name="connsiteY106" fmla="*/ 1991984 h 2676243"/>
              <a:gd name="connsiteX107" fmla="*/ 106117 w 2056668"/>
              <a:gd name="connsiteY107" fmla="*/ 2031270 h 2676243"/>
              <a:gd name="connsiteX108" fmla="*/ 0 w 2056668"/>
              <a:gd name="connsiteY108" fmla="*/ 1731898 h 2676243"/>
              <a:gd name="connsiteX109" fmla="*/ 0 w 2056668"/>
              <a:gd name="connsiteY109" fmla="*/ 53046 h 2676243"/>
              <a:gd name="connsiteX110" fmla="*/ 53046 w 2056668"/>
              <a:gd name="connsiteY110" fmla="*/ 0 h 2676243"/>
              <a:gd name="connsiteX111" fmla="*/ 1392734 w 2056668"/>
              <a:gd name="connsiteY111" fmla="*/ 0 h 2676243"/>
              <a:gd name="connsiteX112" fmla="*/ 1445780 w 2056668"/>
              <a:gd name="connsiteY112" fmla="*/ 53046 h 2676243"/>
              <a:gd name="connsiteX113" fmla="*/ 1445780 w 2056668"/>
              <a:gd name="connsiteY113" fmla="*/ 682207 h 2676243"/>
              <a:gd name="connsiteX114" fmla="*/ 1495957 w 2056668"/>
              <a:gd name="connsiteY114" fmla="*/ 646828 h 2676243"/>
              <a:gd name="connsiteX115" fmla="*/ 1577852 w 2056668"/>
              <a:gd name="connsiteY115" fmla="*/ 526624 h 2676243"/>
              <a:gd name="connsiteX116" fmla="*/ 1584002 w 2056668"/>
              <a:gd name="connsiteY116" fmla="*/ 503733 h 2676243"/>
              <a:gd name="connsiteX117" fmla="*/ 1598533 w 2056668"/>
              <a:gd name="connsiteY117" fmla="*/ 468836 h 2676243"/>
              <a:gd name="connsiteX118" fmla="*/ 1604556 w 2056668"/>
              <a:gd name="connsiteY118" fmla="*/ 446345 h 2676243"/>
              <a:gd name="connsiteX119" fmla="*/ 1606932 w 2056668"/>
              <a:gd name="connsiteY119" fmla="*/ 439211 h 2676243"/>
              <a:gd name="connsiteX120" fmla="*/ 1956045 w 2056668"/>
              <a:gd name="connsiteY120" fmla="*/ 88302 h 2676243"/>
              <a:gd name="connsiteX121" fmla="*/ 1998849 w 2056668"/>
              <a:gd name="connsiteY121" fmla="*/ 83901 h 2676243"/>
              <a:gd name="connsiteX122" fmla="*/ 1998849 w 2056668"/>
              <a:gd name="connsiteY122" fmla="*/ 82955 h 2676243"/>
              <a:gd name="connsiteX123" fmla="*/ 2008052 w 2056668"/>
              <a:gd name="connsiteY123" fmla="*/ 82955 h 2676243"/>
              <a:gd name="connsiteX124" fmla="*/ 2019398 w 2056668"/>
              <a:gd name="connsiteY124" fmla="*/ 81788 h 2676243"/>
              <a:gd name="connsiteX125" fmla="*/ 2019398 w 2056668"/>
              <a:gd name="connsiteY125" fmla="*/ 82955 h 2676243"/>
              <a:gd name="connsiteX126" fmla="*/ 2056668 w 2056668"/>
              <a:gd name="connsiteY126" fmla="*/ 82955 h 2676243"/>
              <a:gd name="connsiteX127" fmla="*/ 2056668 w 2056668"/>
              <a:gd name="connsiteY127" fmla="*/ 1702847 h 2676243"/>
              <a:gd name="connsiteX128" fmla="*/ 2019398 w 2056668"/>
              <a:gd name="connsiteY128" fmla="*/ 1702847 h 2676243"/>
              <a:gd name="connsiteX129" fmla="*/ 2019398 w 2056668"/>
              <a:gd name="connsiteY129" fmla="*/ 1703155 h 2676243"/>
              <a:gd name="connsiteX130" fmla="*/ 2016398 w 2056668"/>
              <a:gd name="connsiteY130" fmla="*/ 1702847 h 2676243"/>
              <a:gd name="connsiteX131" fmla="*/ 1998849 w 2056668"/>
              <a:gd name="connsiteY131" fmla="*/ 1702847 h 2676243"/>
              <a:gd name="connsiteX132" fmla="*/ 1998849 w 2056668"/>
              <a:gd name="connsiteY132" fmla="*/ 1701043 h 2676243"/>
              <a:gd name="connsiteX133" fmla="*/ 1956045 w 2056668"/>
              <a:gd name="connsiteY133" fmla="*/ 1696642 h 2676243"/>
              <a:gd name="connsiteX134" fmla="*/ 1606932 w 2056668"/>
              <a:gd name="connsiteY134" fmla="*/ 1345732 h 2676243"/>
              <a:gd name="connsiteX135" fmla="*/ 1599178 w 2056668"/>
              <a:gd name="connsiteY135" fmla="*/ 1322450 h 2676243"/>
              <a:gd name="connsiteX136" fmla="*/ 1598166 w 2056668"/>
              <a:gd name="connsiteY136" fmla="*/ 1320095 h 2676243"/>
              <a:gd name="connsiteX137" fmla="*/ 1597328 w 2056668"/>
              <a:gd name="connsiteY137" fmla="*/ 1319223 h 2676243"/>
              <a:gd name="connsiteX138" fmla="*/ 1588551 w 2056668"/>
              <a:gd name="connsiteY138" fmla="*/ 1298145 h 2676243"/>
              <a:gd name="connsiteX139" fmla="*/ 1577852 w 2056668"/>
              <a:gd name="connsiteY139" fmla="*/ 1258322 h 2676243"/>
              <a:gd name="connsiteX140" fmla="*/ 1495957 w 2056668"/>
              <a:gd name="connsiteY140" fmla="*/ 1138118 h 2676243"/>
              <a:gd name="connsiteX141" fmla="*/ 1445780 w 2056668"/>
              <a:gd name="connsiteY141" fmla="*/ 1102739 h 2676243"/>
              <a:gd name="connsiteX142" fmla="*/ 1445780 w 2056668"/>
              <a:gd name="connsiteY142" fmla="*/ 1731898 h 2676243"/>
              <a:gd name="connsiteX143" fmla="*/ 1392734 w 2056668"/>
              <a:gd name="connsiteY143" fmla="*/ 1784944 h 2676243"/>
              <a:gd name="connsiteX144" fmla="*/ 53046 w 2056668"/>
              <a:gd name="connsiteY144" fmla="*/ 1784944 h 2676243"/>
              <a:gd name="connsiteX145" fmla="*/ 0 w 2056668"/>
              <a:gd name="connsiteY145" fmla="*/ 1731898 h 2676243"/>
              <a:gd name="connsiteX146" fmla="*/ 0 w 2056668"/>
              <a:gd name="connsiteY146" fmla="*/ 2624599 h 2676243"/>
              <a:gd name="connsiteX147" fmla="*/ 0 w 2056668"/>
              <a:gd name="connsiteY147" fmla="*/ 1947411 h 2676243"/>
              <a:gd name="connsiteX148" fmla="*/ 51644 w 2056668"/>
              <a:gd name="connsiteY148" fmla="*/ 1895767 h 2676243"/>
              <a:gd name="connsiteX149" fmla="*/ 1627588 w 2056668"/>
              <a:gd name="connsiteY149" fmla="*/ 1895767 h 2676243"/>
              <a:gd name="connsiteX150" fmla="*/ 1679232 w 2056668"/>
              <a:gd name="connsiteY150" fmla="*/ 1947411 h 2676243"/>
              <a:gd name="connsiteX151" fmla="*/ 1679232 w 2056668"/>
              <a:gd name="connsiteY151" fmla="*/ 2624599 h 2676243"/>
              <a:gd name="connsiteX152" fmla="*/ 1627588 w 2056668"/>
              <a:gd name="connsiteY152" fmla="*/ 2676243 h 2676243"/>
              <a:gd name="connsiteX153" fmla="*/ 51644 w 2056668"/>
              <a:gd name="connsiteY153" fmla="*/ 2676243 h 2676243"/>
              <a:gd name="connsiteX154" fmla="*/ 0 w 2056668"/>
              <a:gd name="connsiteY154" fmla="*/ 2624599 h 267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</a:cxnLst>
            <a:rect l="l" t="t" r="r" b="b"/>
            <a:pathLst>
              <a:path w="2056668" h="2676243">
                <a:moveTo>
                  <a:pt x="1373511" y="1074533"/>
                </a:moveTo>
                <a:lnTo>
                  <a:pt x="1375435" y="1073843"/>
                </a:lnTo>
                <a:lnTo>
                  <a:pt x="1374137" y="1073384"/>
                </a:lnTo>
                <a:close/>
                <a:moveTo>
                  <a:pt x="1168982" y="2286569"/>
                </a:moveTo>
                <a:cubicBezTo>
                  <a:pt x="1168982" y="2256672"/>
                  <a:pt x="1193218" y="2232436"/>
                  <a:pt x="1223115" y="2232436"/>
                </a:cubicBezTo>
                <a:lnTo>
                  <a:pt x="1338867" y="2232436"/>
                </a:lnTo>
                <a:cubicBezTo>
                  <a:pt x="1368764" y="2232436"/>
                  <a:pt x="1393000" y="2256672"/>
                  <a:pt x="1393000" y="2286569"/>
                </a:cubicBezTo>
                <a:cubicBezTo>
                  <a:pt x="1393000" y="2316466"/>
                  <a:pt x="1368764" y="2340702"/>
                  <a:pt x="1338867" y="2340702"/>
                </a:cubicBezTo>
                <a:lnTo>
                  <a:pt x="1223115" y="2340702"/>
                </a:lnTo>
                <a:cubicBezTo>
                  <a:pt x="1193218" y="2340702"/>
                  <a:pt x="1168982" y="2316466"/>
                  <a:pt x="1168982" y="2286569"/>
                </a:cubicBezTo>
                <a:close/>
                <a:moveTo>
                  <a:pt x="454918" y="2452888"/>
                </a:moveTo>
                <a:lnTo>
                  <a:pt x="454918" y="2119122"/>
                </a:lnTo>
                <a:cubicBezTo>
                  <a:pt x="454918" y="2089225"/>
                  <a:pt x="479154" y="2064989"/>
                  <a:pt x="509051" y="2064989"/>
                </a:cubicBezTo>
                <a:cubicBezTo>
                  <a:pt x="538948" y="2064989"/>
                  <a:pt x="563184" y="2089225"/>
                  <a:pt x="563184" y="2119122"/>
                </a:cubicBezTo>
                <a:lnTo>
                  <a:pt x="563184" y="2452888"/>
                </a:lnTo>
                <a:cubicBezTo>
                  <a:pt x="563184" y="2482785"/>
                  <a:pt x="538948" y="2507021"/>
                  <a:pt x="509051" y="2507021"/>
                </a:cubicBezTo>
                <a:cubicBezTo>
                  <a:pt x="479154" y="2507021"/>
                  <a:pt x="454918" y="2482785"/>
                  <a:pt x="454918" y="2452888"/>
                </a:cubicBezTo>
                <a:close/>
                <a:moveTo>
                  <a:pt x="390456" y="924195"/>
                </a:moveTo>
                <a:cubicBezTo>
                  <a:pt x="390456" y="1093869"/>
                  <a:pt x="550051" y="1231417"/>
                  <a:pt x="746922" y="1231417"/>
                </a:cubicBezTo>
                <a:cubicBezTo>
                  <a:pt x="796140" y="1231417"/>
                  <a:pt x="843028" y="1222820"/>
                  <a:pt x="885676" y="1207273"/>
                </a:cubicBezTo>
                <a:lnTo>
                  <a:pt x="918455" y="1191939"/>
                </a:lnTo>
                <a:lnTo>
                  <a:pt x="920850" y="1194488"/>
                </a:lnTo>
                <a:cubicBezTo>
                  <a:pt x="981137" y="1237509"/>
                  <a:pt x="1066556" y="1226333"/>
                  <a:pt x="1111639" y="1169525"/>
                </a:cubicBezTo>
                <a:lnTo>
                  <a:pt x="1121942" y="1149024"/>
                </a:lnTo>
                <a:lnTo>
                  <a:pt x="1150824" y="1145987"/>
                </a:lnTo>
                <a:lnTo>
                  <a:pt x="1231259" y="1113052"/>
                </a:lnTo>
                <a:lnTo>
                  <a:pt x="1231259" y="1113784"/>
                </a:lnTo>
                <a:lnTo>
                  <a:pt x="1231488" y="1113670"/>
                </a:lnTo>
                <a:cubicBezTo>
                  <a:pt x="1257327" y="1097964"/>
                  <a:pt x="1280306" y="1078019"/>
                  <a:pt x="1299462" y="1054799"/>
                </a:cubicBezTo>
                <a:lnTo>
                  <a:pt x="1318999" y="1020733"/>
                </a:lnTo>
                <a:lnTo>
                  <a:pt x="1387727" y="1029992"/>
                </a:lnTo>
                <a:lnTo>
                  <a:pt x="1410367" y="1035607"/>
                </a:lnTo>
                <a:lnTo>
                  <a:pt x="1445780" y="1046512"/>
                </a:lnTo>
                <a:lnTo>
                  <a:pt x="1445780" y="1046776"/>
                </a:lnTo>
                <a:lnTo>
                  <a:pt x="1451131" y="1048160"/>
                </a:lnTo>
                <a:lnTo>
                  <a:pt x="1456571" y="1049835"/>
                </a:lnTo>
                <a:lnTo>
                  <a:pt x="1545970" y="1086725"/>
                </a:lnTo>
                <a:cubicBezTo>
                  <a:pt x="1571706" y="1100804"/>
                  <a:pt x="1592475" y="1116301"/>
                  <a:pt x="1607308" y="1132847"/>
                </a:cubicBezTo>
                <a:lnTo>
                  <a:pt x="1625127" y="1159128"/>
                </a:lnTo>
                <a:lnTo>
                  <a:pt x="1626259" y="1166196"/>
                </a:lnTo>
                <a:cubicBezTo>
                  <a:pt x="1682312" y="1423159"/>
                  <a:pt x="1813538" y="1603461"/>
                  <a:pt x="1966482" y="1603461"/>
                </a:cubicBezTo>
                <a:lnTo>
                  <a:pt x="1966482" y="171576"/>
                </a:lnTo>
                <a:cubicBezTo>
                  <a:pt x="1813538" y="171576"/>
                  <a:pt x="1682312" y="351879"/>
                  <a:pt x="1626259" y="608842"/>
                </a:cubicBezTo>
                <a:lnTo>
                  <a:pt x="1621704" y="637297"/>
                </a:lnTo>
                <a:lnTo>
                  <a:pt x="1616156" y="650621"/>
                </a:lnTo>
                <a:lnTo>
                  <a:pt x="1607308" y="663669"/>
                </a:lnTo>
                <a:cubicBezTo>
                  <a:pt x="1577642" y="696763"/>
                  <a:pt x="1524232" y="725659"/>
                  <a:pt x="1454827" y="747402"/>
                </a:cubicBezTo>
                <a:lnTo>
                  <a:pt x="1445780" y="749741"/>
                </a:lnTo>
                <a:lnTo>
                  <a:pt x="1445780" y="750130"/>
                </a:lnTo>
                <a:lnTo>
                  <a:pt x="1387727" y="764528"/>
                </a:lnTo>
                <a:lnTo>
                  <a:pt x="1333211" y="771872"/>
                </a:lnTo>
                <a:lnTo>
                  <a:pt x="1299462" y="713025"/>
                </a:lnTo>
                <a:lnTo>
                  <a:pt x="1282931" y="698708"/>
                </a:lnTo>
                <a:lnTo>
                  <a:pt x="1249102" y="659353"/>
                </a:lnTo>
                <a:cubicBezTo>
                  <a:pt x="1233344" y="646962"/>
                  <a:pt x="1215004" y="637392"/>
                  <a:pt x="1195017" y="631377"/>
                </a:cubicBezTo>
                <a:lnTo>
                  <a:pt x="1159737" y="627711"/>
                </a:lnTo>
                <a:lnTo>
                  <a:pt x="1150824" y="624061"/>
                </a:lnTo>
                <a:lnTo>
                  <a:pt x="1118583" y="620671"/>
                </a:lnTo>
                <a:lnTo>
                  <a:pt x="1084763" y="584667"/>
                </a:lnTo>
                <a:cubicBezTo>
                  <a:pt x="1039548" y="552401"/>
                  <a:pt x="980196" y="550621"/>
                  <a:pt x="934326" y="575713"/>
                </a:cubicBezTo>
                <a:lnTo>
                  <a:pt x="918990" y="588603"/>
                </a:lnTo>
                <a:lnTo>
                  <a:pt x="886448" y="576097"/>
                </a:lnTo>
                <a:cubicBezTo>
                  <a:pt x="699153" y="518584"/>
                  <a:pt x="512205" y="574785"/>
                  <a:pt x="468889" y="701626"/>
                </a:cubicBezTo>
                <a:lnTo>
                  <a:pt x="461483" y="741822"/>
                </a:lnTo>
                <a:lnTo>
                  <a:pt x="451335" y="752424"/>
                </a:lnTo>
                <a:cubicBezTo>
                  <a:pt x="412899" y="801457"/>
                  <a:pt x="390456" y="860566"/>
                  <a:pt x="390456" y="924195"/>
                </a:cubicBezTo>
                <a:close/>
                <a:moveTo>
                  <a:pt x="227459" y="2452888"/>
                </a:moveTo>
                <a:lnTo>
                  <a:pt x="227459" y="2119122"/>
                </a:lnTo>
                <a:cubicBezTo>
                  <a:pt x="227459" y="2089225"/>
                  <a:pt x="251695" y="2064989"/>
                  <a:pt x="281592" y="2064989"/>
                </a:cubicBezTo>
                <a:cubicBezTo>
                  <a:pt x="311489" y="2064989"/>
                  <a:pt x="335725" y="2089225"/>
                  <a:pt x="335725" y="2119122"/>
                </a:cubicBezTo>
                <a:lnTo>
                  <a:pt x="335725" y="2452888"/>
                </a:lnTo>
                <a:cubicBezTo>
                  <a:pt x="335725" y="2482785"/>
                  <a:pt x="311489" y="2507021"/>
                  <a:pt x="281592" y="2507021"/>
                </a:cubicBezTo>
                <a:cubicBezTo>
                  <a:pt x="251695" y="2507021"/>
                  <a:pt x="227459" y="2482785"/>
                  <a:pt x="227459" y="2452888"/>
                </a:cubicBezTo>
                <a:close/>
                <a:moveTo>
                  <a:pt x="108046" y="1642219"/>
                </a:moveTo>
                <a:cubicBezTo>
                  <a:pt x="108046" y="1665037"/>
                  <a:pt x="126543" y="1683534"/>
                  <a:pt x="149361" y="1683534"/>
                </a:cubicBezTo>
                <a:lnTo>
                  <a:pt x="1192798" y="1683534"/>
                </a:lnTo>
                <a:cubicBezTo>
                  <a:pt x="1215616" y="1683534"/>
                  <a:pt x="1234113" y="1665037"/>
                  <a:pt x="1234113" y="1642219"/>
                </a:cubicBezTo>
                <a:lnTo>
                  <a:pt x="1234113" y="1181907"/>
                </a:lnTo>
                <a:lnTo>
                  <a:pt x="1191176" y="1200447"/>
                </a:lnTo>
                <a:lnTo>
                  <a:pt x="1157906" y="1204136"/>
                </a:lnTo>
                <a:lnTo>
                  <a:pt x="1146037" y="1229042"/>
                </a:lnTo>
                <a:cubicBezTo>
                  <a:pt x="1094104" y="1298053"/>
                  <a:pt x="995704" y="1311630"/>
                  <a:pt x="926256" y="1259367"/>
                </a:cubicBezTo>
                <a:lnTo>
                  <a:pt x="923498" y="1256271"/>
                </a:lnTo>
                <a:lnTo>
                  <a:pt x="885737" y="1274899"/>
                </a:lnTo>
                <a:cubicBezTo>
                  <a:pt x="836609" y="1293785"/>
                  <a:pt x="782596" y="1304229"/>
                  <a:pt x="725899" y="1304229"/>
                </a:cubicBezTo>
                <a:cubicBezTo>
                  <a:pt x="499112" y="1304229"/>
                  <a:pt x="315265" y="1137133"/>
                  <a:pt x="315265" y="931009"/>
                </a:cubicBezTo>
                <a:cubicBezTo>
                  <a:pt x="315265" y="853712"/>
                  <a:pt x="341119" y="781904"/>
                  <a:pt x="385395" y="722338"/>
                </a:cubicBezTo>
                <a:lnTo>
                  <a:pt x="397086" y="709459"/>
                </a:lnTo>
                <a:lnTo>
                  <a:pt x="405617" y="660628"/>
                </a:lnTo>
                <a:cubicBezTo>
                  <a:pt x="455515" y="506538"/>
                  <a:pt x="670871" y="438264"/>
                  <a:pt x="886627" y="508133"/>
                </a:cubicBezTo>
                <a:lnTo>
                  <a:pt x="924114" y="523325"/>
                </a:lnTo>
                <a:lnTo>
                  <a:pt x="941780" y="507666"/>
                </a:lnTo>
                <a:cubicBezTo>
                  <a:pt x="994620" y="477184"/>
                  <a:pt x="1062991" y="479346"/>
                  <a:pt x="1115077" y="518543"/>
                </a:cubicBezTo>
                <a:lnTo>
                  <a:pt x="1154036" y="562282"/>
                </a:lnTo>
                <a:lnTo>
                  <a:pt x="1191176" y="566400"/>
                </a:lnTo>
                <a:lnTo>
                  <a:pt x="1234113" y="584941"/>
                </a:lnTo>
                <a:lnTo>
                  <a:pt x="1234113" y="137348"/>
                </a:lnTo>
                <a:cubicBezTo>
                  <a:pt x="1234113" y="114530"/>
                  <a:pt x="1215616" y="96033"/>
                  <a:pt x="1192798" y="96033"/>
                </a:cubicBezTo>
                <a:lnTo>
                  <a:pt x="149361" y="96033"/>
                </a:lnTo>
                <a:cubicBezTo>
                  <a:pt x="126543" y="96033"/>
                  <a:pt x="108046" y="114530"/>
                  <a:pt x="108046" y="137348"/>
                </a:cubicBezTo>
                <a:close/>
                <a:moveTo>
                  <a:pt x="106117" y="2546409"/>
                </a:moveTo>
                <a:cubicBezTo>
                  <a:pt x="106117" y="2568106"/>
                  <a:pt x="123706" y="2585695"/>
                  <a:pt x="145403" y="2585695"/>
                </a:cubicBezTo>
                <a:lnTo>
                  <a:pt x="1535939" y="2585695"/>
                </a:lnTo>
                <a:cubicBezTo>
                  <a:pt x="1557636" y="2585695"/>
                  <a:pt x="1575225" y="2568106"/>
                  <a:pt x="1575225" y="2546409"/>
                </a:cubicBezTo>
                <a:lnTo>
                  <a:pt x="1575225" y="2031270"/>
                </a:lnTo>
                <a:cubicBezTo>
                  <a:pt x="1575225" y="2009573"/>
                  <a:pt x="1557636" y="1991984"/>
                  <a:pt x="1535939" y="1991984"/>
                </a:cubicBezTo>
                <a:lnTo>
                  <a:pt x="145403" y="1991984"/>
                </a:lnTo>
                <a:cubicBezTo>
                  <a:pt x="123706" y="1991984"/>
                  <a:pt x="106117" y="2009573"/>
                  <a:pt x="106117" y="2031270"/>
                </a:cubicBezTo>
                <a:close/>
                <a:moveTo>
                  <a:pt x="0" y="1731898"/>
                </a:moveTo>
                <a:lnTo>
                  <a:pt x="0" y="53046"/>
                </a:lnTo>
                <a:cubicBezTo>
                  <a:pt x="0" y="23750"/>
                  <a:pt x="23750" y="0"/>
                  <a:pt x="53046" y="0"/>
                </a:cubicBezTo>
                <a:lnTo>
                  <a:pt x="1392734" y="0"/>
                </a:lnTo>
                <a:cubicBezTo>
                  <a:pt x="1422030" y="0"/>
                  <a:pt x="1445780" y="23750"/>
                  <a:pt x="1445780" y="53046"/>
                </a:cubicBezTo>
                <a:lnTo>
                  <a:pt x="1445780" y="682207"/>
                </a:lnTo>
                <a:lnTo>
                  <a:pt x="1495957" y="646828"/>
                </a:lnTo>
                <a:cubicBezTo>
                  <a:pt x="1532458" y="614536"/>
                  <a:pt x="1560892" y="573333"/>
                  <a:pt x="1577852" y="526624"/>
                </a:cubicBezTo>
                <a:lnTo>
                  <a:pt x="1584002" y="503733"/>
                </a:lnTo>
                <a:lnTo>
                  <a:pt x="1598533" y="468836"/>
                </a:lnTo>
                <a:lnTo>
                  <a:pt x="1604556" y="446345"/>
                </a:lnTo>
                <a:lnTo>
                  <a:pt x="1606932" y="439211"/>
                </a:lnTo>
                <a:cubicBezTo>
                  <a:pt x="1685148" y="250524"/>
                  <a:pt x="1810824" y="118387"/>
                  <a:pt x="1956045" y="88302"/>
                </a:cubicBezTo>
                <a:lnTo>
                  <a:pt x="1998849" y="83901"/>
                </a:lnTo>
                <a:lnTo>
                  <a:pt x="1998849" y="82955"/>
                </a:lnTo>
                <a:lnTo>
                  <a:pt x="2008052" y="82955"/>
                </a:lnTo>
                <a:lnTo>
                  <a:pt x="2019398" y="81788"/>
                </a:lnTo>
                <a:lnTo>
                  <a:pt x="2019398" y="82955"/>
                </a:lnTo>
                <a:lnTo>
                  <a:pt x="2056668" y="82955"/>
                </a:lnTo>
                <a:lnTo>
                  <a:pt x="2056668" y="1702847"/>
                </a:lnTo>
                <a:lnTo>
                  <a:pt x="2019398" y="1702847"/>
                </a:lnTo>
                <a:lnTo>
                  <a:pt x="2019398" y="1703155"/>
                </a:lnTo>
                <a:lnTo>
                  <a:pt x="2016398" y="1702847"/>
                </a:lnTo>
                <a:lnTo>
                  <a:pt x="1998849" y="1702847"/>
                </a:lnTo>
                <a:lnTo>
                  <a:pt x="1998849" y="1701043"/>
                </a:lnTo>
                <a:lnTo>
                  <a:pt x="1956045" y="1696642"/>
                </a:lnTo>
                <a:cubicBezTo>
                  <a:pt x="1810824" y="1666556"/>
                  <a:pt x="1685148" y="1534420"/>
                  <a:pt x="1606932" y="1345732"/>
                </a:cubicBezTo>
                <a:lnTo>
                  <a:pt x="1599178" y="1322450"/>
                </a:lnTo>
                <a:lnTo>
                  <a:pt x="1598166" y="1320095"/>
                </a:lnTo>
                <a:lnTo>
                  <a:pt x="1597328" y="1319223"/>
                </a:lnTo>
                <a:lnTo>
                  <a:pt x="1588551" y="1298145"/>
                </a:lnTo>
                <a:lnTo>
                  <a:pt x="1577852" y="1258322"/>
                </a:lnTo>
                <a:cubicBezTo>
                  <a:pt x="1560892" y="1211614"/>
                  <a:pt x="1532458" y="1170410"/>
                  <a:pt x="1495957" y="1138118"/>
                </a:cubicBezTo>
                <a:lnTo>
                  <a:pt x="1445780" y="1102739"/>
                </a:lnTo>
                <a:lnTo>
                  <a:pt x="1445780" y="1731898"/>
                </a:lnTo>
                <a:cubicBezTo>
                  <a:pt x="1445780" y="1761194"/>
                  <a:pt x="1422030" y="1784944"/>
                  <a:pt x="1392734" y="1784944"/>
                </a:cubicBezTo>
                <a:lnTo>
                  <a:pt x="53046" y="1784944"/>
                </a:lnTo>
                <a:cubicBezTo>
                  <a:pt x="23750" y="1784944"/>
                  <a:pt x="0" y="1761194"/>
                  <a:pt x="0" y="1731898"/>
                </a:cubicBezTo>
                <a:close/>
                <a:moveTo>
                  <a:pt x="0" y="2624599"/>
                </a:moveTo>
                <a:lnTo>
                  <a:pt x="0" y="1947411"/>
                </a:lnTo>
                <a:cubicBezTo>
                  <a:pt x="0" y="1918889"/>
                  <a:pt x="23122" y="1895767"/>
                  <a:pt x="51644" y="1895767"/>
                </a:cubicBezTo>
                <a:lnTo>
                  <a:pt x="1627588" y="1895767"/>
                </a:lnTo>
                <a:cubicBezTo>
                  <a:pt x="1656110" y="1895767"/>
                  <a:pt x="1679232" y="1918889"/>
                  <a:pt x="1679232" y="1947411"/>
                </a:cubicBezTo>
                <a:lnTo>
                  <a:pt x="1679232" y="2624599"/>
                </a:lnTo>
                <a:cubicBezTo>
                  <a:pt x="1679232" y="2653121"/>
                  <a:pt x="1656110" y="2676243"/>
                  <a:pt x="1627588" y="2676243"/>
                </a:cubicBezTo>
                <a:lnTo>
                  <a:pt x="51644" y="2676243"/>
                </a:lnTo>
                <a:cubicBezTo>
                  <a:pt x="23122" y="2676243"/>
                  <a:pt x="0" y="2653121"/>
                  <a:pt x="0" y="2624599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187" name="Group 186"/>
          <p:cNvGrpSpPr/>
          <p:nvPr/>
        </p:nvGrpSpPr>
        <p:grpSpPr>
          <a:xfrm>
            <a:off x="4519585" y="3492433"/>
            <a:ext cx="819493" cy="453135"/>
            <a:chOff x="4563636" y="3492433"/>
            <a:chExt cx="722022" cy="453135"/>
          </a:xfrm>
        </p:grpSpPr>
        <p:cxnSp>
          <p:nvCxnSpPr>
            <p:cNvPr id="188" name="Straight Connector 187"/>
            <p:cNvCxnSpPr/>
            <p:nvPr/>
          </p:nvCxnSpPr>
          <p:spPr bwMode="auto">
            <a:xfrm flipV="1">
              <a:off x="4563831" y="3673850"/>
              <a:ext cx="721629" cy="86395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9" name="Straight Connector 188"/>
            <p:cNvCxnSpPr/>
            <p:nvPr/>
          </p:nvCxnSpPr>
          <p:spPr bwMode="auto">
            <a:xfrm flipH="1" flipV="1">
              <a:off x="4563634" y="3675312"/>
              <a:ext cx="721826" cy="87375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0" name="Straight Connector 189"/>
            <p:cNvCxnSpPr/>
            <p:nvPr/>
          </p:nvCxnSpPr>
          <p:spPr bwMode="auto">
            <a:xfrm rot="5400000" flipH="1">
              <a:off x="5194120" y="3586022"/>
              <a:ext cx="182880" cy="197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1" name="Straight Connector 190"/>
            <p:cNvCxnSpPr/>
            <p:nvPr/>
          </p:nvCxnSpPr>
          <p:spPr bwMode="auto">
            <a:xfrm rot="5400000" flipH="1">
              <a:off x="5194119" y="3854029"/>
              <a:ext cx="182880" cy="197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2" name="Straight Connector 191"/>
            <p:cNvCxnSpPr/>
            <p:nvPr/>
          </p:nvCxnSpPr>
          <p:spPr bwMode="auto">
            <a:xfrm rot="5400000" flipH="1">
              <a:off x="4475666" y="3583774"/>
              <a:ext cx="182880" cy="197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3" name="Straight Connector 192"/>
            <p:cNvCxnSpPr/>
            <p:nvPr/>
          </p:nvCxnSpPr>
          <p:spPr bwMode="auto">
            <a:xfrm rot="5400000" flipH="1">
              <a:off x="4475665" y="3851781"/>
              <a:ext cx="182880" cy="197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206" name="Straight Connector 205"/>
          <p:cNvCxnSpPr/>
          <p:nvPr/>
        </p:nvCxnSpPr>
        <p:spPr bwMode="auto">
          <a:xfrm flipH="1">
            <a:off x="1332179" y="2188141"/>
            <a:ext cx="822960" cy="197"/>
          </a:xfrm>
          <a:prstGeom prst="line">
            <a:avLst/>
          </a:prstGeom>
          <a:solidFill>
            <a:srgbClr val="0183B7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7" name="Straight Connector 206"/>
          <p:cNvCxnSpPr/>
          <p:nvPr/>
        </p:nvCxnSpPr>
        <p:spPr bwMode="auto">
          <a:xfrm rot="5400000" flipH="1">
            <a:off x="899024" y="2439740"/>
            <a:ext cx="536387" cy="197"/>
          </a:xfrm>
          <a:prstGeom prst="line">
            <a:avLst/>
          </a:prstGeom>
          <a:solidFill>
            <a:srgbClr val="0183B7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8" name="Straight Connector 207"/>
          <p:cNvCxnSpPr/>
          <p:nvPr/>
        </p:nvCxnSpPr>
        <p:spPr bwMode="auto">
          <a:xfrm rot="5400000" flipH="1">
            <a:off x="2072368" y="2474084"/>
            <a:ext cx="536387" cy="197"/>
          </a:xfrm>
          <a:prstGeom prst="line">
            <a:avLst/>
          </a:prstGeom>
          <a:solidFill>
            <a:srgbClr val="0183B7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09" name="Group 208"/>
          <p:cNvGrpSpPr/>
          <p:nvPr/>
        </p:nvGrpSpPr>
        <p:grpSpPr>
          <a:xfrm>
            <a:off x="1233455" y="2291490"/>
            <a:ext cx="1033723" cy="453135"/>
            <a:chOff x="4049118" y="267339"/>
            <a:chExt cx="722024" cy="453135"/>
          </a:xfrm>
        </p:grpSpPr>
        <p:cxnSp>
          <p:nvCxnSpPr>
            <p:cNvPr id="210" name="Straight Connector 209"/>
            <p:cNvCxnSpPr/>
            <p:nvPr/>
          </p:nvCxnSpPr>
          <p:spPr bwMode="auto">
            <a:xfrm flipV="1">
              <a:off x="4049315" y="448756"/>
              <a:ext cx="721629" cy="86395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1" name="Straight Connector 210"/>
            <p:cNvCxnSpPr/>
            <p:nvPr/>
          </p:nvCxnSpPr>
          <p:spPr bwMode="auto">
            <a:xfrm flipH="1" flipV="1">
              <a:off x="4049118" y="450218"/>
              <a:ext cx="721826" cy="87375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2" name="Straight Connector 211"/>
            <p:cNvCxnSpPr/>
            <p:nvPr/>
          </p:nvCxnSpPr>
          <p:spPr bwMode="auto">
            <a:xfrm rot="5400000" flipH="1">
              <a:off x="4679604" y="360928"/>
              <a:ext cx="182880" cy="197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3" name="Straight Connector 212"/>
            <p:cNvCxnSpPr/>
            <p:nvPr/>
          </p:nvCxnSpPr>
          <p:spPr bwMode="auto">
            <a:xfrm rot="5400000" flipH="1">
              <a:off x="4679603" y="628935"/>
              <a:ext cx="182880" cy="197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4" name="Straight Connector 213"/>
            <p:cNvCxnSpPr/>
            <p:nvPr/>
          </p:nvCxnSpPr>
          <p:spPr bwMode="auto">
            <a:xfrm rot="5400000" flipH="1">
              <a:off x="3961150" y="358680"/>
              <a:ext cx="182880" cy="197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5" name="Straight Connector 214"/>
            <p:cNvCxnSpPr/>
            <p:nvPr/>
          </p:nvCxnSpPr>
          <p:spPr bwMode="auto">
            <a:xfrm rot="5400000" flipH="1">
              <a:off x="3961149" y="626687"/>
              <a:ext cx="182880" cy="197"/>
            </a:xfrm>
            <a:prstGeom prst="line">
              <a:avLst/>
            </a:prstGeom>
            <a:solidFill>
              <a:srgbClr val="0183B7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216" name="Group 215"/>
          <p:cNvGrpSpPr/>
          <p:nvPr/>
        </p:nvGrpSpPr>
        <p:grpSpPr>
          <a:xfrm>
            <a:off x="2127243" y="1927933"/>
            <a:ext cx="331223" cy="480306"/>
            <a:chOff x="1326701" y="3314449"/>
            <a:chExt cx="331223" cy="480306"/>
          </a:xfrm>
        </p:grpSpPr>
        <p:sp>
          <p:nvSpPr>
            <p:cNvPr id="217" name="Rounded Rectangle 216"/>
            <p:cNvSpPr/>
            <p:nvPr/>
          </p:nvSpPr>
          <p:spPr bwMode="auto">
            <a:xfrm>
              <a:off x="1326701" y="3314449"/>
              <a:ext cx="331223" cy="480306"/>
            </a:xfrm>
            <a:prstGeom prst="roundRect">
              <a:avLst>
                <a:gd name="adj" fmla="val 4802"/>
              </a:avLst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kern="0" dirty="0" err="1">
                <a:solidFill>
                  <a:srgbClr val="2968AF">
                    <a:lumMod val="50000"/>
                  </a:srgbClr>
                </a:solidFill>
                <a:latin typeface="Arial"/>
                <a:sym typeface="Arial" pitchFamily="-107" charset="0"/>
              </a:endParaRPr>
            </a:p>
          </p:txBody>
        </p:sp>
        <p:sp>
          <p:nvSpPr>
            <p:cNvPr id="218" name="Freeform 217"/>
            <p:cNvSpPr>
              <a:spLocks noChangeAspect="1"/>
            </p:cNvSpPr>
            <p:nvPr/>
          </p:nvSpPr>
          <p:spPr>
            <a:xfrm>
              <a:off x="1335594" y="3344328"/>
              <a:ext cx="320872" cy="427144"/>
            </a:xfrm>
            <a:custGeom>
              <a:avLst/>
              <a:gdLst>
                <a:gd name="connsiteX0" fmla="*/ 1652616 w 2604807"/>
                <a:gd name="connsiteY0" fmla="*/ 2490730 h 3467518"/>
                <a:gd name="connsiteX1" fmla="*/ 1632470 w 2604807"/>
                <a:gd name="connsiteY1" fmla="*/ 2512169 h 3467518"/>
                <a:gd name="connsiteX2" fmla="*/ 1608537 w 2604807"/>
                <a:gd name="connsiteY2" fmla="*/ 2583085 h 3467518"/>
                <a:gd name="connsiteX3" fmla="*/ 1428950 w 2604807"/>
                <a:gd name="connsiteY3" fmla="*/ 2754162 h 3467518"/>
                <a:gd name="connsiteX4" fmla="*/ 1377054 w 2604807"/>
                <a:gd name="connsiteY4" fmla="*/ 2770273 h 3467518"/>
                <a:gd name="connsiteX5" fmla="*/ 1371377 w 2604807"/>
                <a:gd name="connsiteY5" fmla="*/ 2775717 h 3467518"/>
                <a:gd name="connsiteX6" fmla="*/ 1371377 w 2604807"/>
                <a:gd name="connsiteY6" fmla="*/ 2820399 h 3467518"/>
                <a:gd name="connsiteX7" fmla="*/ 1439686 w 2604807"/>
                <a:gd name="connsiteY7" fmla="*/ 2880849 h 3467518"/>
                <a:gd name="connsiteX8" fmla="*/ 2050891 w 2604807"/>
                <a:gd name="connsiteY8" fmla="*/ 3198631 h 3467518"/>
                <a:gd name="connsiteX9" fmla="*/ 1739344 w 2604807"/>
                <a:gd name="connsiteY9" fmla="*/ 2584224 h 3467518"/>
                <a:gd name="connsiteX10" fmla="*/ 1658286 w 2604807"/>
                <a:gd name="connsiteY10" fmla="*/ 2490730 h 3467518"/>
                <a:gd name="connsiteX11" fmla="*/ 932653 w 2604807"/>
                <a:gd name="connsiteY11" fmla="*/ 2490730 h 3467518"/>
                <a:gd name="connsiteX12" fmla="*/ 851595 w 2604807"/>
                <a:gd name="connsiteY12" fmla="*/ 2584224 h 3467518"/>
                <a:gd name="connsiteX13" fmla="*/ 540047 w 2604807"/>
                <a:gd name="connsiteY13" fmla="*/ 3198631 h 3467518"/>
                <a:gd name="connsiteX14" fmla="*/ 1151253 w 2604807"/>
                <a:gd name="connsiteY14" fmla="*/ 2880849 h 3467518"/>
                <a:gd name="connsiteX15" fmla="*/ 1219364 w 2604807"/>
                <a:gd name="connsiteY15" fmla="*/ 2820574 h 3467518"/>
                <a:gd name="connsiteX16" fmla="*/ 1219364 w 2604807"/>
                <a:gd name="connsiteY16" fmla="*/ 2775527 h 3467518"/>
                <a:gd name="connsiteX17" fmla="*/ 1216767 w 2604807"/>
                <a:gd name="connsiteY17" fmla="*/ 2773037 h 3467518"/>
                <a:gd name="connsiteX18" fmla="*/ 1155963 w 2604807"/>
                <a:gd name="connsiteY18" fmla="*/ 2754162 h 3467518"/>
                <a:gd name="connsiteX19" fmla="*/ 976376 w 2604807"/>
                <a:gd name="connsiteY19" fmla="*/ 2583085 h 3467518"/>
                <a:gd name="connsiteX20" fmla="*/ 949068 w 2604807"/>
                <a:gd name="connsiteY20" fmla="*/ 2502164 h 3467518"/>
                <a:gd name="connsiteX21" fmla="*/ 938323 w 2604807"/>
                <a:gd name="connsiteY21" fmla="*/ 2490730 h 3467518"/>
                <a:gd name="connsiteX22" fmla="*/ 2002768 w 2604807"/>
                <a:gd name="connsiteY22" fmla="*/ 1655407 h 3467518"/>
                <a:gd name="connsiteX23" fmla="*/ 1402466 w 2604807"/>
                <a:gd name="connsiteY23" fmla="*/ 2021898 h 3467518"/>
                <a:gd name="connsiteX24" fmla="*/ 1371377 w 2604807"/>
                <a:gd name="connsiteY24" fmla="*/ 2049888 h 3467518"/>
                <a:gd name="connsiteX25" fmla="*/ 1371377 w 2604807"/>
                <a:gd name="connsiteY25" fmla="*/ 2084924 h 3467518"/>
                <a:gd name="connsiteX26" fmla="*/ 1370396 w 2604807"/>
                <a:gd name="connsiteY26" fmla="*/ 2089779 h 3467518"/>
                <a:gd name="connsiteX27" fmla="*/ 1428950 w 2604807"/>
                <a:gd name="connsiteY27" fmla="*/ 2107955 h 3467518"/>
                <a:gd name="connsiteX28" fmla="*/ 1615560 w 2604807"/>
                <a:gd name="connsiteY28" fmla="*/ 2294565 h 3467518"/>
                <a:gd name="connsiteX29" fmla="*/ 1629265 w 2604807"/>
                <a:gd name="connsiteY29" fmla="*/ 2338718 h 3467518"/>
                <a:gd name="connsiteX30" fmla="*/ 1694285 w 2604807"/>
                <a:gd name="connsiteY30" fmla="*/ 2338718 h 3467518"/>
                <a:gd name="connsiteX31" fmla="*/ 1739340 w 2604807"/>
                <a:gd name="connsiteY31" fmla="*/ 2286749 h 3467518"/>
                <a:gd name="connsiteX32" fmla="*/ 2050887 w 2604807"/>
                <a:gd name="connsiteY32" fmla="*/ 1672344 h 3467518"/>
                <a:gd name="connsiteX33" fmla="*/ 2002768 w 2604807"/>
                <a:gd name="connsiteY33" fmla="*/ 1655407 h 3467518"/>
                <a:gd name="connsiteX34" fmla="*/ 588171 w 2604807"/>
                <a:gd name="connsiteY34" fmla="*/ 1655407 h 3467518"/>
                <a:gd name="connsiteX35" fmla="*/ 540052 w 2604807"/>
                <a:gd name="connsiteY35" fmla="*/ 1672344 h 3467518"/>
                <a:gd name="connsiteX36" fmla="*/ 851599 w 2604807"/>
                <a:gd name="connsiteY36" fmla="*/ 2286749 h 3467518"/>
                <a:gd name="connsiteX37" fmla="*/ 896654 w 2604807"/>
                <a:gd name="connsiteY37" fmla="*/ 2338718 h 3467518"/>
                <a:gd name="connsiteX38" fmla="*/ 955648 w 2604807"/>
                <a:gd name="connsiteY38" fmla="*/ 2338718 h 3467518"/>
                <a:gd name="connsiteX39" fmla="*/ 969353 w 2604807"/>
                <a:gd name="connsiteY39" fmla="*/ 2294565 h 3467518"/>
                <a:gd name="connsiteX40" fmla="*/ 1155963 w 2604807"/>
                <a:gd name="connsiteY40" fmla="*/ 2107955 h 3467518"/>
                <a:gd name="connsiteX41" fmla="*/ 1220001 w 2604807"/>
                <a:gd name="connsiteY41" fmla="*/ 2088076 h 3467518"/>
                <a:gd name="connsiteX42" fmla="*/ 1219364 w 2604807"/>
                <a:gd name="connsiteY42" fmla="*/ 2084925 h 3467518"/>
                <a:gd name="connsiteX43" fmla="*/ 1219364 w 2604807"/>
                <a:gd name="connsiteY43" fmla="*/ 2049710 h 3467518"/>
                <a:gd name="connsiteX44" fmla="*/ 1188473 w 2604807"/>
                <a:gd name="connsiteY44" fmla="*/ 2021898 h 3467518"/>
                <a:gd name="connsiteX45" fmla="*/ 588171 w 2604807"/>
                <a:gd name="connsiteY45" fmla="*/ 1655407 h 3467518"/>
                <a:gd name="connsiteX46" fmla="*/ 1312823 w 2604807"/>
                <a:gd name="connsiteY46" fmla="*/ 1365620 h 3467518"/>
                <a:gd name="connsiteX47" fmla="*/ 1352300 w 2604807"/>
                <a:gd name="connsiteY47" fmla="*/ 1386014 h 3467518"/>
                <a:gd name="connsiteX48" fmla="*/ 1526247 w 2604807"/>
                <a:gd name="connsiteY48" fmla="*/ 1555814 h 3467518"/>
                <a:gd name="connsiteX49" fmla="*/ 1549155 w 2604807"/>
                <a:gd name="connsiteY49" fmla="*/ 1609286 h 3467518"/>
                <a:gd name="connsiteX50" fmla="*/ 1527543 w 2604807"/>
                <a:gd name="connsiteY50" fmla="*/ 1663296 h 3467518"/>
                <a:gd name="connsiteX51" fmla="*/ 1420061 w 2604807"/>
                <a:gd name="connsiteY51" fmla="*/ 1664593 h 3467518"/>
                <a:gd name="connsiteX52" fmla="*/ 1371377 w 2604807"/>
                <a:gd name="connsiteY52" fmla="*/ 1617067 h 3467518"/>
                <a:gd name="connsiteX53" fmla="*/ 1371377 w 2604807"/>
                <a:gd name="connsiteY53" fmla="*/ 1960011 h 3467518"/>
                <a:gd name="connsiteX54" fmla="*/ 1376260 w 2604807"/>
                <a:gd name="connsiteY54" fmla="*/ 1955719 h 3467518"/>
                <a:gd name="connsiteX55" fmla="*/ 2050152 w 2604807"/>
                <a:gd name="connsiteY55" fmla="*/ 1587664 h 3467518"/>
                <a:gd name="connsiteX56" fmla="*/ 2109397 w 2604807"/>
                <a:gd name="connsiteY56" fmla="*/ 1613236 h 3467518"/>
                <a:gd name="connsiteX57" fmla="*/ 1807557 w 2604807"/>
                <a:gd name="connsiteY57" fmla="*/ 2308725 h 3467518"/>
                <a:gd name="connsiteX58" fmla="*/ 1782269 w 2604807"/>
                <a:gd name="connsiteY58" fmla="*/ 2338718 h 3467518"/>
                <a:gd name="connsiteX59" fmla="*/ 2093024 w 2604807"/>
                <a:gd name="connsiteY59" fmla="*/ 2338718 h 3467518"/>
                <a:gd name="connsiteX60" fmla="*/ 2045500 w 2604807"/>
                <a:gd name="connsiteY60" fmla="*/ 2290033 h 3467518"/>
                <a:gd name="connsiteX61" fmla="*/ 2046797 w 2604807"/>
                <a:gd name="connsiteY61" fmla="*/ 2182551 h 3467518"/>
                <a:gd name="connsiteX62" fmla="*/ 2100805 w 2604807"/>
                <a:gd name="connsiteY62" fmla="*/ 2160939 h 3467518"/>
                <a:gd name="connsiteX63" fmla="*/ 2154279 w 2604807"/>
                <a:gd name="connsiteY63" fmla="*/ 2183848 h 3467518"/>
                <a:gd name="connsiteX64" fmla="*/ 2324077 w 2604807"/>
                <a:gd name="connsiteY64" fmla="*/ 2357794 h 3467518"/>
                <a:gd name="connsiteX65" fmla="*/ 2339779 w 2604807"/>
                <a:gd name="connsiteY65" fmla="*/ 2440336 h 3467518"/>
                <a:gd name="connsiteX66" fmla="*/ 2324955 w 2604807"/>
                <a:gd name="connsiteY66" fmla="*/ 2462085 h 3467518"/>
                <a:gd name="connsiteX67" fmla="*/ 2317168 w 2604807"/>
                <a:gd name="connsiteY67" fmla="*/ 2474125 h 3467518"/>
                <a:gd name="connsiteX68" fmla="*/ 2147368 w 2604807"/>
                <a:gd name="connsiteY68" fmla="*/ 2648070 h 3467518"/>
                <a:gd name="connsiteX69" fmla="*/ 2039885 w 2604807"/>
                <a:gd name="connsiteY69" fmla="*/ 2649368 h 3467518"/>
                <a:gd name="connsiteX70" fmla="*/ 2039888 w 2604807"/>
                <a:gd name="connsiteY70" fmla="*/ 2649368 h 3467518"/>
                <a:gd name="connsiteX71" fmla="*/ 2038590 w 2604807"/>
                <a:gd name="connsiteY71" fmla="*/ 2541886 h 3467518"/>
                <a:gd name="connsiteX72" fmla="*/ 2088525 w 2604807"/>
                <a:gd name="connsiteY72" fmla="*/ 2490732 h 3467518"/>
                <a:gd name="connsiteX73" fmla="*/ 1747259 w 2604807"/>
                <a:gd name="connsiteY73" fmla="*/ 2490730 h 3467518"/>
                <a:gd name="connsiteX74" fmla="*/ 1807558 w 2604807"/>
                <a:gd name="connsiteY74" fmla="*/ 2562251 h 3467518"/>
                <a:gd name="connsiteX75" fmla="*/ 2109398 w 2604807"/>
                <a:gd name="connsiteY75" fmla="*/ 3257738 h 3467518"/>
                <a:gd name="connsiteX76" fmla="*/ 1417017 w 2604807"/>
                <a:gd name="connsiteY76" fmla="*/ 2948839 h 3467518"/>
                <a:gd name="connsiteX77" fmla="*/ 1371377 w 2604807"/>
                <a:gd name="connsiteY77" fmla="*/ 2909558 h 3467518"/>
                <a:gd name="connsiteX78" fmla="*/ 1371377 w 2604807"/>
                <a:gd name="connsiteY78" fmla="*/ 3214849 h 3467518"/>
                <a:gd name="connsiteX79" fmla="*/ 1420061 w 2604807"/>
                <a:gd name="connsiteY79" fmla="*/ 3167323 h 3467518"/>
                <a:gd name="connsiteX80" fmla="*/ 1527543 w 2604807"/>
                <a:gd name="connsiteY80" fmla="*/ 3168620 h 3467518"/>
                <a:gd name="connsiteX81" fmla="*/ 1549155 w 2604807"/>
                <a:gd name="connsiteY81" fmla="*/ 3222631 h 3467518"/>
                <a:gd name="connsiteX82" fmla="*/ 1526247 w 2604807"/>
                <a:gd name="connsiteY82" fmla="*/ 3276103 h 3467518"/>
                <a:gd name="connsiteX83" fmla="*/ 1352300 w 2604807"/>
                <a:gd name="connsiteY83" fmla="*/ 3445902 h 3467518"/>
                <a:gd name="connsiteX84" fmla="*/ 1269758 w 2604807"/>
                <a:gd name="connsiteY84" fmla="*/ 3461603 h 3467518"/>
                <a:gd name="connsiteX85" fmla="*/ 1248010 w 2604807"/>
                <a:gd name="connsiteY85" fmla="*/ 3446779 h 3467518"/>
                <a:gd name="connsiteX86" fmla="*/ 1235971 w 2604807"/>
                <a:gd name="connsiteY86" fmla="*/ 3438992 h 3467518"/>
                <a:gd name="connsiteX87" fmla="*/ 1062024 w 2604807"/>
                <a:gd name="connsiteY87" fmla="*/ 3269191 h 3467518"/>
                <a:gd name="connsiteX88" fmla="*/ 1060728 w 2604807"/>
                <a:gd name="connsiteY88" fmla="*/ 3161709 h 3467518"/>
                <a:gd name="connsiteX89" fmla="*/ 1060728 w 2604807"/>
                <a:gd name="connsiteY89" fmla="*/ 3161712 h 3467518"/>
                <a:gd name="connsiteX90" fmla="*/ 1168208 w 2604807"/>
                <a:gd name="connsiteY90" fmla="*/ 3160415 h 3467518"/>
                <a:gd name="connsiteX91" fmla="*/ 1219364 w 2604807"/>
                <a:gd name="connsiteY91" fmla="*/ 3210349 h 3467518"/>
                <a:gd name="connsiteX92" fmla="*/ 1219364 w 2604807"/>
                <a:gd name="connsiteY92" fmla="*/ 2909728 h 3467518"/>
                <a:gd name="connsiteX93" fmla="*/ 1173920 w 2604807"/>
                <a:gd name="connsiteY93" fmla="*/ 2948839 h 3467518"/>
                <a:gd name="connsiteX94" fmla="*/ 481539 w 2604807"/>
                <a:gd name="connsiteY94" fmla="*/ 3257738 h 3467518"/>
                <a:gd name="connsiteX95" fmla="*/ 783380 w 2604807"/>
                <a:gd name="connsiteY95" fmla="*/ 2562251 h 3467518"/>
                <a:gd name="connsiteX96" fmla="*/ 843680 w 2604807"/>
                <a:gd name="connsiteY96" fmla="*/ 2490730 h 3467518"/>
                <a:gd name="connsiteX97" fmla="*/ 516283 w 2604807"/>
                <a:gd name="connsiteY97" fmla="*/ 2490732 h 3467518"/>
                <a:gd name="connsiteX98" fmla="*/ 566217 w 2604807"/>
                <a:gd name="connsiteY98" fmla="*/ 2541886 h 3467518"/>
                <a:gd name="connsiteX99" fmla="*/ 564920 w 2604807"/>
                <a:gd name="connsiteY99" fmla="*/ 2649368 h 3467518"/>
                <a:gd name="connsiteX100" fmla="*/ 564923 w 2604807"/>
                <a:gd name="connsiteY100" fmla="*/ 2649368 h 3467518"/>
                <a:gd name="connsiteX101" fmla="*/ 457441 w 2604807"/>
                <a:gd name="connsiteY101" fmla="*/ 2648070 h 3467518"/>
                <a:gd name="connsiteX102" fmla="*/ 287640 w 2604807"/>
                <a:gd name="connsiteY102" fmla="*/ 2474125 h 3467518"/>
                <a:gd name="connsiteX103" fmla="*/ 279853 w 2604807"/>
                <a:gd name="connsiteY103" fmla="*/ 2462085 h 3467518"/>
                <a:gd name="connsiteX104" fmla="*/ 265030 w 2604807"/>
                <a:gd name="connsiteY104" fmla="*/ 2440336 h 3467518"/>
                <a:gd name="connsiteX105" fmla="*/ 280732 w 2604807"/>
                <a:gd name="connsiteY105" fmla="*/ 2357794 h 3467518"/>
                <a:gd name="connsiteX106" fmla="*/ 450530 w 2604807"/>
                <a:gd name="connsiteY106" fmla="*/ 2183848 h 3467518"/>
                <a:gd name="connsiteX107" fmla="*/ 504002 w 2604807"/>
                <a:gd name="connsiteY107" fmla="*/ 2160939 h 3467518"/>
                <a:gd name="connsiteX108" fmla="*/ 558012 w 2604807"/>
                <a:gd name="connsiteY108" fmla="*/ 2182551 h 3467518"/>
                <a:gd name="connsiteX109" fmla="*/ 559309 w 2604807"/>
                <a:gd name="connsiteY109" fmla="*/ 2290033 h 3467518"/>
                <a:gd name="connsiteX110" fmla="*/ 511783 w 2604807"/>
                <a:gd name="connsiteY110" fmla="*/ 2338718 h 3467518"/>
                <a:gd name="connsiteX111" fmla="*/ 808670 w 2604807"/>
                <a:gd name="connsiteY111" fmla="*/ 2338718 h 3467518"/>
                <a:gd name="connsiteX112" fmla="*/ 783382 w 2604807"/>
                <a:gd name="connsiteY112" fmla="*/ 2308725 h 3467518"/>
                <a:gd name="connsiteX113" fmla="*/ 481540 w 2604807"/>
                <a:gd name="connsiteY113" fmla="*/ 1613236 h 3467518"/>
                <a:gd name="connsiteX114" fmla="*/ 540787 w 2604807"/>
                <a:gd name="connsiteY114" fmla="*/ 1587664 h 3467518"/>
                <a:gd name="connsiteX115" fmla="*/ 1214679 w 2604807"/>
                <a:gd name="connsiteY115" fmla="*/ 1955719 h 3467518"/>
                <a:gd name="connsiteX116" fmla="*/ 1219364 w 2604807"/>
                <a:gd name="connsiteY116" fmla="*/ 1959837 h 3467518"/>
                <a:gd name="connsiteX117" fmla="*/ 1219364 w 2604807"/>
                <a:gd name="connsiteY117" fmla="*/ 1621567 h 3467518"/>
                <a:gd name="connsiteX118" fmla="*/ 1168208 w 2604807"/>
                <a:gd name="connsiteY118" fmla="*/ 1671501 h 3467518"/>
                <a:gd name="connsiteX119" fmla="*/ 1060728 w 2604807"/>
                <a:gd name="connsiteY119" fmla="*/ 1670204 h 3467518"/>
                <a:gd name="connsiteX120" fmla="*/ 1060728 w 2604807"/>
                <a:gd name="connsiteY120" fmla="*/ 1670207 h 3467518"/>
                <a:gd name="connsiteX121" fmla="*/ 1062024 w 2604807"/>
                <a:gd name="connsiteY121" fmla="*/ 1562725 h 3467518"/>
                <a:gd name="connsiteX122" fmla="*/ 1235971 w 2604807"/>
                <a:gd name="connsiteY122" fmla="*/ 1392924 h 3467518"/>
                <a:gd name="connsiteX123" fmla="*/ 1248010 w 2604807"/>
                <a:gd name="connsiteY123" fmla="*/ 1385137 h 3467518"/>
                <a:gd name="connsiteX124" fmla="*/ 1269758 w 2604807"/>
                <a:gd name="connsiteY124" fmla="*/ 1370314 h 3467518"/>
                <a:gd name="connsiteX125" fmla="*/ 1312823 w 2604807"/>
                <a:gd name="connsiteY125" fmla="*/ 1365620 h 3467518"/>
                <a:gd name="connsiteX126" fmla="*/ 0 w 2604807"/>
                <a:gd name="connsiteY126" fmla="*/ 1186374 h 3467518"/>
                <a:gd name="connsiteX127" fmla="*/ 2604807 w 2604807"/>
                <a:gd name="connsiteY127" fmla="*/ 1186374 h 3467518"/>
                <a:gd name="connsiteX128" fmla="*/ 2604807 w 2604807"/>
                <a:gd name="connsiteY128" fmla="*/ 1236561 h 3467518"/>
                <a:gd name="connsiteX129" fmla="*/ 0 w 2604807"/>
                <a:gd name="connsiteY129" fmla="*/ 1236561 h 3467518"/>
                <a:gd name="connsiteX130" fmla="*/ 1268290 w 2604807"/>
                <a:gd name="connsiteY130" fmla="*/ 495116 h 3467518"/>
                <a:gd name="connsiteX131" fmla="*/ 844588 w 2604807"/>
                <a:gd name="connsiteY131" fmla="*/ 655116 h 3467518"/>
                <a:gd name="connsiteX132" fmla="*/ 844588 w 2604807"/>
                <a:gd name="connsiteY132" fmla="*/ 768801 h 3467518"/>
                <a:gd name="connsiteX133" fmla="*/ 1702417 w 2604807"/>
                <a:gd name="connsiteY133" fmla="*/ 768801 h 3467518"/>
                <a:gd name="connsiteX134" fmla="*/ 1702417 w 2604807"/>
                <a:gd name="connsiteY134" fmla="*/ 659053 h 3467518"/>
                <a:gd name="connsiteX135" fmla="*/ 844588 w 2604807"/>
                <a:gd name="connsiteY135" fmla="*/ 148851 h 3467518"/>
                <a:gd name="connsiteX136" fmla="*/ 844588 w 2604807"/>
                <a:gd name="connsiteY136" fmla="*/ 286246 h 3467518"/>
                <a:gd name="connsiteX137" fmla="*/ 1268290 w 2604807"/>
                <a:gd name="connsiteY137" fmla="*/ 446246 h 3467518"/>
                <a:gd name="connsiteX138" fmla="*/ 1702417 w 2604807"/>
                <a:gd name="connsiteY138" fmla="*/ 282309 h 3467518"/>
                <a:gd name="connsiteX139" fmla="*/ 1702417 w 2604807"/>
                <a:gd name="connsiteY139" fmla="*/ 148851 h 3467518"/>
                <a:gd name="connsiteX140" fmla="*/ 320128 w 2604807"/>
                <a:gd name="connsiteY140" fmla="*/ 0 h 3467518"/>
                <a:gd name="connsiteX141" fmla="*/ 817747 w 2604807"/>
                <a:gd name="connsiteY141" fmla="*/ 0 h 3467518"/>
                <a:gd name="connsiteX142" fmla="*/ 844588 w 2604807"/>
                <a:gd name="connsiteY142" fmla="*/ 26841 h 3467518"/>
                <a:gd name="connsiteX143" fmla="*/ 844588 w 2604807"/>
                <a:gd name="connsiteY143" fmla="*/ 103132 h 3467518"/>
                <a:gd name="connsiteX144" fmla="*/ 1702417 w 2604807"/>
                <a:gd name="connsiteY144" fmla="*/ 103132 h 3467518"/>
                <a:gd name="connsiteX145" fmla="*/ 1702417 w 2604807"/>
                <a:gd name="connsiteY145" fmla="*/ 26841 h 3467518"/>
                <a:gd name="connsiteX146" fmla="*/ 1729258 w 2604807"/>
                <a:gd name="connsiteY146" fmla="*/ 0 h 3467518"/>
                <a:gd name="connsiteX147" fmla="*/ 2226877 w 2604807"/>
                <a:gd name="connsiteY147" fmla="*/ 0 h 3467518"/>
                <a:gd name="connsiteX148" fmla="*/ 2253718 w 2604807"/>
                <a:gd name="connsiteY148" fmla="*/ 26841 h 3467518"/>
                <a:gd name="connsiteX149" fmla="*/ 2253718 w 2604807"/>
                <a:gd name="connsiteY149" fmla="*/ 300452 h 3467518"/>
                <a:gd name="connsiteX150" fmla="*/ 2226877 w 2604807"/>
                <a:gd name="connsiteY150" fmla="*/ 327293 h 3467518"/>
                <a:gd name="connsiteX151" fmla="*/ 1729258 w 2604807"/>
                <a:gd name="connsiteY151" fmla="*/ 327293 h 3467518"/>
                <a:gd name="connsiteX152" fmla="*/ 1721366 w 2604807"/>
                <a:gd name="connsiteY152" fmla="*/ 324024 h 3467518"/>
                <a:gd name="connsiteX153" fmla="*/ 1332997 w 2604807"/>
                <a:gd name="connsiteY153" fmla="*/ 470681 h 3467518"/>
                <a:gd name="connsiteX154" fmla="*/ 1722622 w 2604807"/>
                <a:gd name="connsiteY154" fmla="*/ 617813 h 3467518"/>
                <a:gd name="connsiteX155" fmla="*/ 1729258 w 2604807"/>
                <a:gd name="connsiteY155" fmla="*/ 615064 h 3467518"/>
                <a:gd name="connsiteX156" fmla="*/ 2226877 w 2604807"/>
                <a:gd name="connsiteY156" fmla="*/ 615064 h 3467518"/>
                <a:gd name="connsiteX157" fmla="*/ 2253718 w 2604807"/>
                <a:gd name="connsiteY157" fmla="*/ 641905 h 3467518"/>
                <a:gd name="connsiteX158" fmla="*/ 2253718 w 2604807"/>
                <a:gd name="connsiteY158" fmla="*/ 915516 h 3467518"/>
                <a:gd name="connsiteX159" fmla="*/ 2226877 w 2604807"/>
                <a:gd name="connsiteY159" fmla="*/ 942357 h 3467518"/>
                <a:gd name="connsiteX160" fmla="*/ 1729258 w 2604807"/>
                <a:gd name="connsiteY160" fmla="*/ 942357 h 3467518"/>
                <a:gd name="connsiteX161" fmla="*/ 1702417 w 2604807"/>
                <a:gd name="connsiteY161" fmla="*/ 915516 h 3467518"/>
                <a:gd name="connsiteX162" fmla="*/ 1702417 w 2604807"/>
                <a:gd name="connsiteY162" fmla="*/ 814520 h 3467518"/>
                <a:gd name="connsiteX163" fmla="*/ 844588 w 2604807"/>
                <a:gd name="connsiteY163" fmla="*/ 814520 h 3467518"/>
                <a:gd name="connsiteX164" fmla="*/ 844588 w 2604807"/>
                <a:gd name="connsiteY164" fmla="*/ 915516 h 3467518"/>
                <a:gd name="connsiteX165" fmla="*/ 817747 w 2604807"/>
                <a:gd name="connsiteY165" fmla="*/ 942357 h 3467518"/>
                <a:gd name="connsiteX166" fmla="*/ 320128 w 2604807"/>
                <a:gd name="connsiteY166" fmla="*/ 942357 h 3467518"/>
                <a:gd name="connsiteX167" fmla="*/ 293287 w 2604807"/>
                <a:gd name="connsiteY167" fmla="*/ 915516 h 3467518"/>
                <a:gd name="connsiteX168" fmla="*/ 293287 w 2604807"/>
                <a:gd name="connsiteY168" fmla="*/ 641905 h 3467518"/>
                <a:gd name="connsiteX169" fmla="*/ 320128 w 2604807"/>
                <a:gd name="connsiteY169" fmla="*/ 615064 h 3467518"/>
                <a:gd name="connsiteX170" fmla="*/ 817747 w 2604807"/>
                <a:gd name="connsiteY170" fmla="*/ 615064 h 3467518"/>
                <a:gd name="connsiteX171" fmla="*/ 819412 w 2604807"/>
                <a:gd name="connsiteY171" fmla="*/ 615753 h 3467518"/>
                <a:gd name="connsiteX172" fmla="*/ 1203583 w 2604807"/>
                <a:gd name="connsiteY172" fmla="*/ 470681 h 3467518"/>
                <a:gd name="connsiteX173" fmla="*/ 820668 w 2604807"/>
                <a:gd name="connsiteY173" fmla="*/ 326083 h 3467518"/>
                <a:gd name="connsiteX174" fmla="*/ 817747 w 2604807"/>
                <a:gd name="connsiteY174" fmla="*/ 327293 h 3467518"/>
                <a:gd name="connsiteX175" fmla="*/ 320128 w 2604807"/>
                <a:gd name="connsiteY175" fmla="*/ 327293 h 3467518"/>
                <a:gd name="connsiteX176" fmla="*/ 293287 w 2604807"/>
                <a:gd name="connsiteY176" fmla="*/ 300452 h 3467518"/>
                <a:gd name="connsiteX177" fmla="*/ 293287 w 2604807"/>
                <a:gd name="connsiteY177" fmla="*/ 26841 h 3467518"/>
                <a:gd name="connsiteX178" fmla="*/ 320128 w 2604807"/>
                <a:gd name="connsiteY178" fmla="*/ 0 h 3467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</a:cxnLst>
              <a:rect l="l" t="t" r="r" b="b"/>
              <a:pathLst>
                <a:path w="2604807" h="3467518">
                  <a:moveTo>
                    <a:pt x="1652616" y="2490730"/>
                  </a:moveTo>
                  <a:lnTo>
                    <a:pt x="1632470" y="2512169"/>
                  </a:lnTo>
                  <a:lnTo>
                    <a:pt x="1608537" y="2583085"/>
                  </a:lnTo>
                  <a:cubicBezTo>
                    <a:pt x="1571604" y="2659735"/>
                    <a:pt x="1507611" y="2720892"/>
                    <a:pt x="1428950" y="2754162"/>
                  </a:cubicBezTo>
                  <a:lnTo>
                    <a:pt x="1377054" y="2770273"/>
                  </a:lnTo>
                  <a:lnTo>
                    <a:pt x="1371377" y="2775717"/>
                  </a:lnTo>
                  <a:lnTo>
                    <a:pt x="1371377" y="2820399"/>
                  </a:lnTo>
                  <a:lnTo>
                    <a:pt x="1439686" y="2880849"/>
                  </a:lnTo>
                  <a:cubicBezTo>
                    <a:pt x="1735502" y="3130318"/>
                    <a:pt x="1983537" y="3265304"/>
                    <a:pt x="2050891" y="3198631"/>
                  </a:cubicBezTo>
                  <a:cubicBezTo>
                    <a:pt x="2118245" y="3131958"/>
                    <a:pt x="1985789" y="2882563"/>
                    <a:pt x="1739344" y="2584224"/>
                  </a:cubicBezTo>
                  <a:lnTo>
                    <a:pt x="1658286" y="2490730"/>
                  </a:lnTo>
                  <a:close/>
                  <a:moveTo>
                    <a:pt x="932653" y="2490730"/>
                  </a:moveTo>
                  <a:lnTo>
                    <a:pt x="851595" y="2584224"/>
                  </a:lnTo>
                  <a:cubicBezTo>
                    <a:pt x="605149" y="2882563"/>
                    <a:pt x="472694" y="3131958"/>
                    <a:pt x="540047" y="3198631"/>
                  </a:cubicBezTo>
                  <a:cubicBezTo>
                    <a:pt x="607402" y="3265304"/>
                    <a:pt x="855437" y="3130318"/>
                    <a:pt x="1151253" y="2880849"/>
                  </a:cubicBezTo>
                  <a:lnTo>
                    <a:pt x="1219364" y="2820574"/>
                  </a:lnTo>
                  <a:lnTo>
                    <a:pt x="1219364" y="2775527"/>
                  </a:lnTo>
                  <a:lnTo>
                    <a:pt x="1216767" y="2773037"/>
                  </a:lnTo>
                  <a:lnTo>
                    <a:pt x="1155963" y="2754162"/>
                  </a:lnTo>
                  <a:cubicBezTo>
                    <a:pt x="1077303" y="2720892"/>
                    <a:pt x="1013309" y="2659735"/>
                    <a:pt x="976376" y="2583085"/>
                  </a:cubicBezTo>
                  <a:lnTo>
                    <a:pt x="949068" y="2502164"/>
                  </a:lnTo>
                  <a:lnTo>
                    <a:pt x="938323" y="2490730"/>
                  </a:lnTo>
                  <a:close/>
                  <a:moveTo>
                    <a:pt x="2002768" y="1655407"/>
                  </a:moveTo>
                  <a:cubicBezTo>
                    <a:pt x="1894364" y="1653767"/>
                    <a:pt x="1664586" y="1795398"/>
                    <a:pt x="1402466" y="2021898"/>
                  </a:cubicBezTo>
                  <a:lnTo>
                    <a:pt x="1371377" y="2049888"/>
                  </a:lnTo>
                  <a:lnTo>
                    <a:pt x="1371377" y="2084924"/>
                  </a:lnTo>
                  <a:lnTo>
                    <a:pt x="1370396" y="2089779"/>
                  </a:lnTo>
                  <a:lnTo>
                    <a:pt x="1428950" y="2107955"/>
                  </a:lnTo>
                  <a:cubicBezTo>
                    <a:pt x="1512854" y="2143444"/>
                    <a:pt x="1580071" y="2210661"/>
                    <a:pt x="1615560" y="2294565"/>
                  </a:cubicBezTo>
                  <a:lnTo>
                    <a:pt x="1629265" y="2338718"/>
                  </a:lnTo>
                  <a:lnTo>
                    <a:pt x="1694285" y="2338718"/>
                  </a:lnTo>
                  <a:lnTo>
                    <a:pt x="1739340" y="2286749"/>
                  </a:lnTo>
                  <a:cubicBezTo>
                    <a:pt x="1985786" y="1988410"/>
                    <a:pt x="2118241" y="1739016"/>
                    <a:pt x="2050887" y="1672344"/>
                  </a:cubicBezTo>
                  <a:cubicBezTo>
                    <a:pt x="2039661" y="1661231"/>
                    <a:pt x="2023416" y="1655720"/>
                    <a:pt x="2002768" y="1655407"/>
                  </a:cubicBezTo>
                  <a:close/>
                  <a:moveTo>
                    <a:pt x="588171" y="1655407"/>
                  </a:moveTo>
                  <a:cubicBezTo>
                    <a:pt x="567522" y="1655720"/>
                    <a:pt x="551278" y="1661231"/>
                    <a:pt x="540052" y="1672344"/>
                  </a:cubicBezTo>
                  <a:cubicBezTo>
                    <a:pt x="472697" y="1739016"/>
                    <a:pt x="605153" y="1988410"/>
                    <a:pt x="851599" y="2286749"/>
                  </a:cubicBezTo>
                  <a:lnTo>
                    <a:pt x="896654" y="2338718"/>
                  </a:lnTo>
                  <a:lnTo>
                    <a:pt x="955648" y="2338718"/>
                  </a:lnTo>
                  <a:lnTo>
                    <a:pt x="969353" y="2294565"/>
                  </a:lnTo>
                  <a:cubicBezTo>
                    <a:pt x="1004842" y="2210661"/>
                    <a:pt x="1072059" y="2143444"/>
                    <a:pt x="1155963" y="2107955"/>
                  </a:cubicBezTo>
                  <a:lnTo>
                    <a:pt x="1220001" y="2088076"/>
                  </a:lnTo>
                  <a:lnTo>
                    <a:pt x="1219364" y="2084925"/>
                  </a:lnTo>
                  <a:lnTo>
                    <a:pt x="1219364" y="2049710"/>
                  </a:lnTo>
                  <a:lnTo>
                    <a:pt x="1188473" y="2021898"/>
                  </a:lnTo>
                  <a:cubicBezTo>
                    <a:pt x="926353" y="1795398"/>
                    <a:pt x="696575" y="1653767"/>
                    <a:pt x="588171" y="1655407"/>
                  </a:cubicBezTo>
                  <a:close/>
                  <a:moveTo>
                    <a:pt x="1312823" y="1365620"/>
                  </a:moveTo>
                  <a:cubicBezTo>
                    <a:pt x="1327228" y="1368229"/>
                    <a:pt x="1341035" y="1375019"/>
                    <a:pt x="1352300" y="1386014"/>
                  </a:cubicBezTo>
                  <a:lnTo>
                    <a:pt x="1526247" y="1555814"/>
                  </a:lnTo>
                  <a:cubicBezTo>
                    <a:pt x="1541267" y="1570476"/>
                    <a:pt x="1548921" y="1589837"/>
                    <a:pt x="1549155" y="1609286"/>
                  </a:cubicBezTo>
                  <a:cubicBezTo>
                    <a:pt x="1549391" y="1628736"/>
                    <a:pt x="1542205" y="1648277"/>
                    <a:pt x="1527543" y="1663296"/>
                  </a:cubicBezTo>
                  <a:cubicBezTo>
                    <a:pt x="1498221" y="1693334"/>
                    <a:pt x="1450102" y="1693915"/>
                    <a:pt x="1420061" y="1664593"/>
                  </a:cubicBezTo>
                  <a:lnTo>
                    <a:pt x="1371377" y="1617067"/>
                  </a:lnTo>
                  <a:lnTo>
                    <a:pt x="1371377" y="1960011"/>
                  </a:lnTo>
                  <a:lnTo>
                    <a:pt x="1376260" y="1955719"/>
                  </a:lnTo>
                  <a:cubicBezTo>
                    <a:pt x="1663009" y="1715958"/>
                    <a:pt x="1920802" y="1573472"/>
                    <a:pt x="2050152" y="1587664"/>
                  </a:cubicBezTo>
                  <a:cubicBezTo>
                    <a:pt x="2074790" y="1590367"/>
                    <a:pt x="2094767" y="1598755"/>
                    <a:pt x="2109397" y="1613236"/>
                  </a:cubicBezTo>
                  <a:cubicBezTo>
                    <a:pt x="2197179" y="1700129"/>
                    <a:pt x="2067516" y="1981759"/>
                    <a:pt x="1807557" y="2308725"/>
                  </a:cubicBezTo>
                  <a:lnTo>
                    <a:pt x="1782269" y="2338718"/>
                  </a:lnTo>
                  <a:lnTo>
                    <a:pt x="2093024" y="2338718"/>
                  </a:lnTo>
                  <a:lnTo>
                    <a:pt x="2045500" y="2290033"/>
                  </a:lnTo>
                  <a:cubicBezTo>
                    <a:pt x="2016178" y="2259994"/>
                    <a:pt x="2016758" y="2211873"/>
                    <a:pt x="2046797" y="2182551"/>
                  </a:cubicBezTo>
                  <a:cubicBezTo>
                    <a:pt x="2061815" y="2167889"/>
                    <a:pt x="2081355" y="2160703"/>
                    <a:pt x="2100805" y="2160939"/>
                  </a:cubicBezTo>
                  <a:cubicBezTo>
                    <a:pt x="2120256" y="2161173"/>
                    <a:pt x="2139617" y="2168828"/>
                    <a:pt x="2154279" y="2183848"/>
                  </a:cubicBezTo>
                  <a:lnTo>
                    <a:pt x="2324077" y="2357794"/>
                  </a:lnTo>
                  <a:cubicBezTo>
                    <a:pt x="2346069" y="2380323"/>
                    <a:pt x="2351240" y="2413023"/>
                    <a:pt x="2339779" y="2440336"/>
                  </a:cubicBezTo>
                  <a:lnTo>
                    <a:pt x="2324955" y="2462085"/>
                  </a:lnTo>
                  <a:lnTo>
                    <a:pt x="2317168" y="2474125"/>
                  </a:lnTo>
                  <a:cubicBezTo>
                    <a:pt x="2260567" y="2532107"/>
                    <a:pt x="2203969" y="2590088"/>
                    <a:pt x="2147368" y="2648070"/>
                  </a:cubicBezTo>
                  <a:cubicBezTo>
                    <a:pt x="2118046" y="2678109"/>
                    <a:pt x="2069924" y="2678690"/>
                    <a:pt x="2039885" y="2649368"/>
                  </a:cubicBezTo>
                  <a:lnTo>
                    <a:pt x="2039888" y="2649368"/>
                  </a:lnTo>
                  <a:cubicBezTo>
                    <a:pt x="2009849" y="2620046"/>
                    <a:pt x="2009268" y="2571924"/>
                    <a:pt x="2038590" y="2541886"/>
                  </a:cubicBezTo>
                  <a:lnTo>
                    <a:pt x="2088525" y="2490732"/>
                  </a:lnTo>
                  <a:lnTo>
                    <a:pt x="1747259" y="2490730"/>
                  </a:lnTo>
                  <a:lnTo>
                    <a:pt x="1807558" y="2562251"/>
                  </a:lnTo>
                  <a:cubicBezTo>
                    <a:pt x="2067517" y="2889216"/>
                    <a:pt x="2197180" y="3170846"/>
                    <a:pt x="2109398" y="3257738"/>
                  </a:cubicBezTo>
                  <a:cubicBezTo>
                    <a:pt x="2021618" y="3344632"/>
                    <a:pt x="1741321" y="3212111"/>
                    <a:pt x="1417017" y="2948839"/>
                  </a:cubicBezTo>
                  <a:lnTo>
                    <a:pt x="1371377" y="2909558"/>
                  </a:lnTo>
                  <a:lnTo>
                    <a:pt x="1371377" y="3214849"/>
                  </a:lnTo>
                  <a:lnTo>
                    <a:pt x="1420061" y="3167323"/>
                  </a:lnTo>
                  <a:cubicBezTo>
                    <a:pt x="1450102" y="3138001"/>
                    <a:pt x="1498221" y="3138583"/>
                    <a:pt x="1527543" y="3168620"/>
                  </a:cubicBezTo>
                  <a:cubicBezTo>
                    <a:pt x="1542205" y="3183639"/>
                    <a:pt x="1549391" y="3203180"/>
                    <a:pt x="1549155" y="3222631"/>
                  </a:cubicBezTo>
                  <a:cubicBezTo>
                    <a:pt x="1548921" y="3242080"/>
                    <a:pt x="1541267" y="3261441"/>
                    <a:pt x="1526247" y="3276103"/>
                  </a:cubicBezTo>
                  <a:lnTo>
                    <a:pt x="1352300" y="3445902"/>
                  </a:lnTo>
                  <a:cubicBezTo>
                    <a:pt x="1329772" y="3467893"/>
                    <a:pt x="1297071" y="3473064"/>
                    <a:pt x="1269758" y="3461603"/>
                  </a:cubicBezTo>
                  <a:lnTo>
                    <a:pt x="1248010" y="3446779"/>
                  </a:lnTo>
                  <a:lnTo>
                    <a:pt x="1235971" y="3438992"/>
                  </a:lnTo>
                  <a:cubicBezTo>
                    <a:pt x="1177988" y="3382393"/>
                    <a:pt x="1120006" y="3325793"/>
                    <a:pt x="1062024" y="3269191"/>
                  </a:cubicBezTo>
                  <a:cubicBezTo>
                    <a:pt x="1031986" y="3239869"/>
                    <a:pt x="1031406" y="3191749"/>
                    <a:pt x="1060728" y="3161709"/>
                  </a:cubicBezTo>
                  <a:lnTo>
                    <a:pt x="1060728" y="3161712"/>
                  </a:lnTo>
                  <a:cubicBezTo>
                    <a:pt x="1090050" y="3131675"/>
                    <a:pt x="1138171" y="3131093"/>
                    <a:pt x="1168208" y="3160415"/>
                  </a:cubicBezTo>
                  <a:lnTo>
                    <a:pt x="1219364" y="3210349"/>
                  </a:lnTo>
                  <a:lnTo>
                    <a:pt x="1219364" y="2909728"/>
                  </a:lnTo>
                  <a:lnTo>
                    <a:pt x="1173920" y="2948839"/>
                  </a:lnTo>
                  <a:cubicBezTo>
                    <a:pt x="849618" y="3212111"/>
                    <a:pt x="569321" y="3344632"/>
                    <a:pt x="481539" y="3257738"/>
                  </a:cubicBezTo>
                  <a:cubicBezTo>
                    <a:pt x="393758" y="3170846"/>
                    <a:pt x="523421" y="2889216"/>
                    <a:pt x="783380" y="2562251"/>
                  </a:cubicBezTo>
                  <a:lnTo>
                    <a:pt x="843680" y="2490730"/>
                  </a:lnTo>
                  <a:lnTo>
                    <a:pt x="516283" y="2490732"/>
                  </a:lnTo>
                  <a:lnTo>
                    <a:pt x="566217" y="2541886"/>
                  </a:lnTo>
                  <a:cubicBezTo>
                    <a:pt x="595539" y="2571924"/>
                    <a:pt x="594959" y="2620046"/>
                    <a:pt x="564920" y="2649368"/>
                  </a:cubicBezTo>
                  <a:lnTo>
                    <a:pt x="564923" y="2649368"/>
                  </a:lnTo>
                  <a:cubicBezTo>
                    <a:pt x="534884" y="2678690"/>
                    <a:pt x="486763" y="2678109"/>
                    <a:pt x="457441" y="2648070"/>
                  </a:cubicBezTo>
                  <a:cubicBezTo>
                    <a:pt x="400840" y="2590088"/>
                    <a:pt x="344240" y="2532107"/>
                    <a:pt x="287640" y="2474125"/>
                  </a:cubicBezTo>
                  <a:lnTo>
                    <a:pt x="279853" y="2462085"/>
                  </a:lnTo>
                  <a:lnTo>
                    <a:pt x="265030" y="2440336"/>
                  </a:lnTo>
                  <a:cubicBezTo>
                    <a:pt x="253568" y="2413023"/>
                    <a:pt x="258739" y="2380323"/>
                    <a:pt x="280732" y="2357794"/>
                  </a:cubicBezTo>
                  <a:lnTo>
                    <a:pt x="450530" y="2183848"/>
                  </a:lnTo>
                  <a:cubicBezTo>
                    <a:pt x="465191" y="2168828"/>
                    <a:pt x="484553" y="2161173"/>
                    <a:pt x="504002" y="2160939"/>
                  </a:cubicBezTo>
                  <a:cubicBezTo>
                    <a:pt x="523452" y="2160703"/>
                    <a:pt x="542993" y="2167889"/>
                    <a:pt x="558012" y="2182551"/>
                  </a:cubicBezTo>
                  <a:cubicBezTo>
                    <a:pt x="588049" y="2211873"/>
                    <a:pt x="588631" y="2259994"/>
                    <a:pt x="559309" y="2290033"/>
                  </a:cubicBezTo>
                  <a:lnTo>
                    <a:pt x="511783" y="2338718"/>
                  </a:lnTo>
                  <a:lnTo>
                    <a:pt x="808670" y="2338718"/>
                  </a:lnTo>
                  <a:lnTo>
                    <a:pt x="783382" y="2308725"/>
                  </a:lnTo>
                  <a:cubicBezTo>
                    <a:pt x="523423" y="1981759"/>
                    <a:pt x="393760" y="1700129"/>
                    <a:pt x="481540" y="1613236"/>
                  </a:cubicBezTo>
                  <a:cubicBezTo>
                    <a:pt x="496172" y="1598755"/>
                    <a:pt x="516149" y="1590367"/>
                    <a:pt x="540787" y="1587664"/>
                  </a:cubicBezTo>
                  <a:cubicBezTo>
                    <a:pt x="670136" y="1573472"/>
                    <a:pt x="927930" y="1715958"/>
                    <a:pt x="1214679" y="1955719"/>
                  </a:cubicBezTo>
                  <a:lnTo>
                    <a:pt x="1219364" y="1959837"/>
                  </a:lnTo>
                  <a:lnTo>
                    <a:pt x="1219364" y="1621567"/>
                  </a:lnTo>
                  <a:lnTo>
                    <a:pt x="1168208" y="1671501"/>
                  </a:lnTo>
                  <a:cubicBezTo>
                    <a:pt x="1138171" y="1700823"/>
                    <a:pt x="1090050" y="1700242"/>
                    <a:pt x="1060728" y="1670204"/>
                  </a:cubicBezTo>
                  <a:lnTo>
                    <a:pt x="1060728" y="1670207"/>
                  </a:lnTo>
                  <a:cubicBezTo>
                    <a:pt x="1031406" y="1640167"/>
                    <a:pt x="1031986" y="1592047"/>
                    <a:pt x="1062024" y="1562725"/>
                  </a:cubicBezTo>
                  <a:cubicBezTo>
                    <a:pt x="1120006" y="1506124"/>
                    <a:pt x="1177988" y="1449524"/>
                    <a:pt x="1235971" y="1392924"/>
                  </a:cubicBezTo>
                  <a:lnTo>
                    <a:pt x="1248010" y="1385137"/>
                  </a:lnTo>
                  <a:lnTo>
                    <a:pt x="1269758" y="1370314"/>
                  </a:lnTo>
                  <a:cubicBezTo>
                    <a:pt x="1283415" y="1364582"/>
                    <a:pt x="1298418" y="1363011"/>
                    <a:pt x="1312823" y="1365620"/>
                  </a:cubicBezTo>
                  <a:close/>
                  <a:moveTo>
                    <a:pt x="0" y="1186374"/>
                  </a:moveTo>
                  <a:lnTo>
                    <a:pt x="2604807" y="1186374"/>
                  </a:lnTo>
                  <a:lnTo>
                    <a:pt x="2604807" y="1236561"/>
                  </a:lnTo>
                  <a:lnTo>
                    <a:pt x="0" y="1236561"/>
                  </a:lnTo>
                  <a:close/>
                  <a:moveTo>
                    <a:pt x="1268290" y="495116"/>
                  </a:moveTo>
                  <a:lnTo>
                    <a:pt x="844588" y="655116"/>
                  </a:lnTo>
                  <a:lnTo>
                    <a:pt x="844588" y="768801"/>
                  </a:lnTo>
                  <a:lnTo>
                    <a:pt x="1702417" y="768801"/>
                  </a:lnTo>
                  <a:lnTo>
                    <a:pt x="1702417" y="659053"/>
                  </a:lnTo>
                  <a:close/>
                  <a:moveTo>
                    <a:pt x="844588" y="148851"/>
                  </a:moveTo>
                  <a:lnTo>
                    <a:pt x="844588" y="286246"/>
                  </a:lnTo>
                  <a:lnTo>
                    <a:pt x="1268290" y="446246"/>
                  </a:lnTo>
                  <a:lnTo>
                    <a:pt x="1702417" y="282309"/>
                  </a:lnTo>
                  <a:lnTo>
                    <a:pt x="1702417" y="148851"/>
                  </a:lnTo>
                  <a:close/>
                  <a:moveTo>
                    <a:pt x="320128" y="0"/>
                  </a:moveTo>
                  <a:lnTo>
                    <a:pt x="817747" y="0"/>
                  </a:lnTo>
                  <a:cubicBezTo>
                    <a:pt x="832571" y="0"/>
                    <a:pt x="844588" y="12017"/>
                    <a:pt x="844588" y="26841"/>
                  </a:cubicBezTo>
                  <a:lnTo>
                    <a:pt x="844588" y="103132"/>
                  </a:lnTo>
                  <a:lnTo>
                    <a:pt x="1702417" y="103132"/>
                  </a:lnTo>
                  <a:lnTo>
                    <a:pt x="1702417" y="26841"/>
                  </a:lnTo>
                  <a:cubicBezTo>
                    <a:pt x="1702417" y="12017"/>
                    <a:pt x="1714434" y="0"/>
                    <a:pt x="1729258" y="0"/>
                  </a:cubicBezTo>
                  <a:lnTo>
                    <a:pt x="2226877" y="0"/>
                  </a:lnTo>
                  <a:cubicBezTo>
                    <a:pt x="2241701" y="0"/>
                    <a:pt x="2253718" y="12017"/>
                    <a:pt x="2253718" y="26841"/>
                  </a:cubicBezTo>
                  <a:lnTo>
                    <a:pt x="2253718" y="300452"/>
                  </a:lnTo>
                  <a:cubicBezTo>
                    <a:pt x="2253718" y="315276"/>
                    <a:pt x="2241701" y="327293"/>
                    <a:pt x="2226877" y="327293"/>
                  </a:cubicBezTo>
                  <a:lnTo>
                    <a:pt x="1729258" y="327293"/>
                  </a:lnTo>
                  <a:lnTo>
                    <a:pt x="1721366" y="324024"/>
                  </a:lnTo>
                  <a:lnTo>
                    <a:pt x="1332997" y="470681"/>
                  </a:lnTo>
                  <a:lnTo>
                    <a:pt x="1722622" y="617813"/>
                  </a:lnTo>
                  <a:lnTo>
                    <a:pt x="1729258" y="615064"/>
                  </a:lnTo>
                  <a:lnTo>
                    <a:pt x="2226877" y="615064"/>
                  </a:lnTo>
                  <a:cubicBezTo>
                    <a:pt x="2241701" y="615064"/>
                    <a:pt x="2253718" y="627081"/>
                    <a:pt x="2253718" y="641905"/>
                  </a:cubicBezTo>
                  <a:lnTo>
                    <a:pt x="2253718" y="915516"/>
                  </a:lnTo>
                  <a:cubicBezTo>
                    <a:pt x="2253718" y="930340"/>
                    <a:pt x="2241701" y="942357"/>
                    <a:pt x="2226877" y="942357"/>
                  </a:cubicBezTo>
                  <a:lnTo>
                    <a:pt x="1729258" y="942357"/>
                  </a:lnTo>
                  <a:cubicBezTo>
                    <a:pt x="1714434" y="942357"/>
                    <a:pt x="1702417" y="930340"/>
                    <a:pt x="1702417" y="915516"/>
                  </a:cubicBezTo>
                  <a:lnTo>
                    <a:pt x="1702417" y="814520"/>
                  </a:lnTo>
                  <a:lnTo>
                    <a:pt x="844588" y="814520"/>
                  </a:lnTo>
                  <a:lnTo>
                    <a:pt x="844588" y="915516"/>
                  </a:lnTo>
                  <a:cubicBezTo>
                    <a:pt x="844588" y="930340"/>
                    <a:pt x="832571" y="942357"/>
                    <a:pt x="817747" y="942357"/>
                  </a:cubicBezTo>
                  <a:lnTo>
                    <a:pt x="320128" y="942357"/>
                  </a:lnTo>
                  <a:cubicBezTo>
                    <a:pt x="305304" y="942357"/>
                    <a:pt x="293287" y="930340"/>
                    <a:pt x="293287" y="915516"/>
                  </a:cubicBezTo>
                  <a:lnTo>
                    <a:pt x="293287" y="641905"/>
                  </a:lnTo>
                  <a:cubicBezTo>
                    <a:pt x="293287" y="627081"/>
                    <a:pt x="305304" y="615064"/>
                    <a:pt x="320128" y="615064"/>
                  </a:cubicBezTo>
                  <a:lnTo>
                    <a:pt x="817747" y="615064"/>
                  </a:lnTo>
                  <a:lnTo>
                    <a:pt x="819412" y="615753"/>
                  </a:lnTo>
                  <a:lnTo>
                    <a:pt x="1203583" y="470681"/>
                  </a:lnTo>
                  <a:lnTo>
                    <a:pt x="820668" y="326083"/>
                  </a:lnTo>
                  <a:lnTo>
                    <a:pt x="817747" y="327293"/>
                  </a:lnTo>
                  <a:lnTo>
                    <a:pt x="320128" y="327293"/>
                  </a:lnTo>
                  <a:cubicBezTo>
                    <a:pt x="305304" y="327293"/>
                    <a:pt x="293287" y="315276"/>
                    <a:pt x="293287" y="300452"/>
                  </a:cubicBezTo>
                  <a:lnTo>
                    <a:pt x="293287" y="26841"/>
                  </a:lnTo>
                  <a:cubicBezTo>
                    <a:pt x="293287" y="12017"/>
                    <a:pt x="305304" y="0"/>
                    <a:pt x="320128" y="0"/>
                  </a:cubicBezTo>
                  <a:close/>
                </a:path>
              </a:pathLst>
            </a:cu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kern="0">
                <a:solidFill>
                  <a:srgbClr val="2968AF">
                    <a:lumMod val="50000"/>
                  </a:srgbClr>
                </a:solidFill>
                <a:latin typeface="Arial"/>
              </a:endParaRPr>
            </a:p>
          </p:txBody>
        </p:sp>
      </p:grpSp>
      <p:grpSp>
        <p:nvGrpSpPr>
          <p:cNvPr id="219" name="Group 218"/>
          <p:cNvGrpSpPr/>
          <p:nvPr/>
        </p:nvGrpSpPr>
        <p:grpSpPr>
          <a:xfrm>
            <a:off x="1038193" y="2606538"/>
            <a:ext cx="322331" cy="320040"/>
            <a:chOff x="1335593" y="3948512"/>
            <a:chExt cx="322331" cy="320040"/>
          </a:xfrm>
        </p:grpSpPr>
        <p:sp>
          <p:nvSpPr>
            <p:cNvPr id="220" name="Rounded Rectangle 219"/>
            <p:cNvSpPr/>
            <p:nvPr/>
          </p:nvSpPr>
          <p:spPr bwMode="auto">
            <a:xfrm>
              <a:off x="1335593" y="3948512"/>
              <a:ext cx="322331" cy="320040"/>
            </a:xfrm>
            <a:prstGeom prst="roundRect">
              <a:avLst>
                <a:gd name="adj" fmla="val 4802"/>
              </a:avLst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kern="0" dirty="0" err="1">
                <a:solidFill>
                  <a:srgbClr val="2968AF">
                    <a:lumMod val="50000"/>
                  </a:srgbClr>
                </a:solidFill>
                <a:latin typeface="Arial"/>
                <a:sym typeface="Arial" pitchFamily="-107" charset="0"/>
              </a:endParaRPr>
            </a:p>
          </p:txBody>
        </p:sp>
        <p:sp>
          <p:nvSpPr>
            <p:cNvPr id="221" name="Freeform 220"/>
            <p:cNvSpPr>
              <a:spLocks noChangeAspect="1"/>
            </p:cNvSpPr>
            <p:nvPr/>
          </p:nvSpPr>
          <p:spPr>
            <a:xfrm rot="5400000">
              <a:off x="1365177" y="3982426"/>
              <a:ext cx="261643" cy="259585"/>
            </a:xfrm>
            <a:custGeom>
              <a:avLst/>
              <a:gdLst>
                <a:gd name="connsiteX0" fmla="*/ 807698 w 1508157"/>
                <a:gd name="connsiteY0" fmla="*/ 497010 h 1496297"/>
                <a:gd name="connsiteX1" fmla="*/ 823072 w 1508157"/>
                <a:gd name="connsiteY1" fmla="*/ 511457 h 1496297"/>
                <a:gd name="connsiteX2" fmla="*/ 873926 w 1508157"/>
                <a:gd name="connsiteY2" fmla="*/ 528619 h 1496297"/>
                <a:gd name="connsiteX3" fmla="*/ 996606 w 1508157"/>
                <a:gd name="connsiteY3" fmla="*/ 657402 h 1496297"/>
                <a:gd name="connsiteX4" fmla="*/ 1008159 w 1508157"/>
                <a:gd name="connsiteY4" fmla="*/ 694617 h 1496297"/>
                <a:gd name="connsiteX5" fmla="*/ 1012063 w 1508157"/>
                <a:gd name="connsiteY5" fmla="*/ 698688 h 1496297"/>
                <a:gd name="connsiteX6" fmla="*/ 1044105 w 1508157"/>
                <a:gd name="connsiteY6" fmla="*/ 698688 h 1496297"/>
                <a:gd name="connsiteX7" fmla="*/ 1087454 w 1508157"/>
                <a:gd name="connsiteY7" fmla="*/ 649703 h 1496297"/>
                <a:gd name="connsiteX8" fmla="*/ 1315337 w 1508157"/>
                <a:gd name="connsiteY8" fmla="*/ 211405 h 1496297"/>
                <a:gd name="connsiteX9" fmla="*/ 874743 w 1508157"/>
                <a:gd name="connsiteY9" fmla="*/ 434817 h 1496297"/>
                <a:gd name="connsiteX10" fmla="*/ 807698 w 1508157"/>
                <a:gd name="connsiteY10" fmla="*/ 492944 h 1496297"/>
                <a:gd name="connsiteX11" fmla="*/ 807698 w 1508157"/>
                <a:gd name="connsiteY11" fmla="*/ 1009233 h 1496297"/>
                <a:gd name="connsiteX12" fmla="*/ 807698 w 1508157"/>
                <a:gd name="connsiteY12" fmla="*/ 1013299 h 1496297"/>
                <a:gd name="connsiteX13" fmla="*/ 874743 w 1508157"/>
                <a:gd name="connsiteY13" fmla="*/ 1071426 h 1496297"/>
                <a:gd name="connsiteX14" fmla="*/ 1315337 w 1508157"/>
                <a:gd name="connsiteY14" fmla="*/ 1294839 h 1496297"/>
                <a:gd name="connsiteX15" fmla="*/ 1087454 w 1508157"/>
                <a:gd name="connsiteY15" fmla="*/ 856540 h 1496297"/>
                <a:gd name="connsiteX16" fmla="*/ 1044230 w 1508157"/>
                <a:gd name="connsiteY16" fmla="*/ 807697 h 1496297"/>
                <a:gd name="connsiteX17" fmla="*/ 1011927 w 1508157"/>
                <a:gd name="connsiteY17" fmla="*/ 807697 h 1496297"/>
                <a:gd name="connsiteX18" fmla="*/ 1010141 w 1508157"/>
                <a:gd name="connsiteY18" fmla="*/ 809559 h 1496297"/>
                <a:gd name="connsiteX19" fmla="*/ 996606 w 1508157"/>
                <a:gd name="connsiteY19" fmla="*/ 853162 h 1496297"/>
                <a:gd name="connsiteX20" fmla="*/ 873926 w 1508157"/>
                <a:gd name="connsiteY20" fmla="*/ 981945 h 1496297"/>
                <a:gd name="connsiteX21" fmla="*/ 815897 w 1508157"/>
                <a:gd name="connsiteY21" fmla="*/ 1001528 h 1496297"/>
                <a:gd name="connsiteX22" fmla="*/ 208684 w 1508157"/>
                <a:gd name="connsiteY22" fmla="*/ 245914 h 1496297"/>
                <a:gd name="connsiteX23" fmla="*/ 471496 w 1508157"/>
                <a:gd name="connsiteY23" fmla="*/ 676394 h 1496297"/>
                <a:gd name="connsiteX24" fmla="*/ 491568 w 1508157"/>
                <a:gd name="connsiteY24" fmla="*/ 698688 h 1496297"/>
                <a:gd name="connsiteX25" fmla="*/ 516692 w 1508157"/>
                <a:gd name="connsiteY25" fmla="*/ 698688 h 1496297"/>
                <a:gd name="connsiteX26" fmla="*/ 520174 w 1508157"/>
                <a:gd name="connsiteY26" fmla="*/ 699391 h 1496297"/>
                <a:gd name="connsiteX27" fmla="*/ 533208 w 1508157"/>
                <a:gd name="connsiteY27" fmla="*/ 657402 h 1496297"/>
                <a:gd name="connsiteX28" fmla="*/ 667027 w 1508157"/>
                <a:gd name="connsiteY28" fmla="*/ 523583 h 1496297"/>
                <a:gd name="connsiteX29" fmla="*/ 698689 w 1508157"/>
                <a:gd name="connsiteY29" fmla="*/ 513755 h 1496297"/>
                <a:gd name="connsiteX30" fmla="*/ 698689 w 1508157"/>
                <a:gd name="connsiteY30" fmla="*/ 467129 h 1496297"/>
                <a:gd name="connsiteX31" fmla="*/ 661422 w 1508157"/>
                <a:gd name="connsiteY31" fmla="*/ 434820 h 1496297"/>
                <a:gd name="connsiteX32" fmla="*/ 220829 w 1508157"/>
                <a:gd name="connsiteY32" fmla="*/ 211408 h 1496297"/>
                <a:gd name="connsiteX33" fmla="*/ 208684 w 1508157"/>
                <a:gd name="connsiteY33" fmla="*/ 245914 h 1496297"/>
                <a:gd name="connsiteX34" fmla="*/ 208684 w 1508157"/>
                <a:gd name="connsiteY34" fmla="*/ 1260329 h 1496297"/>
                <a:gd name="connsiteX35" fmla="*/ 220829 w 1508157"/>
                <a:gd name="connsiteY35" fmla="*/ 1294835 h 1496297"/>
                <a:gd name="connsiteX36" fmla="*/ 661422 w 1508157"/>
                <a:gd name="connsiteY36" fmla="*/ 1071423 h 1496297"/>
                <a:gd name="connsiteX37" fmla="*/ 698689 w 1508157"/>
                <a:gd name="connsiteY37" fmla="*/ 1039114 h 1496297"/>
                <a:gd name="connsiteX38" fmla="*/ 698689 w 1508157"/>
                <a:gd name="connsiteY38" fmla="*/ 996809 h 1496297"/>
                <a:gd name="connsiteX39" fmla="*/ 667027 w 1508157"/>
                <a:gd name="connsiteY39" fmla="*/ 986981 h 1496297"/>
                <a:gd name="connsiteX40" fmla="*/ 533208 w 1508157"/>
                <a:gd name="connsiteY40" fmla="*/ 853162 h 1496297"/>
                <a:gd name="connsiteX41" fmla="*/ 518953 w 1508157"/>
                <a:gd name="connsiteY41" fmla="*/ 807240 h 1496297"/>
                <a:gd name="connsiteX42" fmla="*/ 516693 w 1508157"/>
                <a:gd name="connsiteY42" fmla="*/ 807697 h 1496297"/>
                <a:gd name="connsiteX43" fmla="*/ 491440 w 1508157"/>
                <a:gd name="connsiteY43" fmla="*/ 807697 h 1496297"/>
                <a:gd name="connsiteX44" fmla="*/ 471496 w 1508157"/>
                <a:gd name="connsiteY44" fmla="*/ 829849 h 1496297"/>
                <a:gd name="connsiteX45" fmla="*/ 208684 w 1508157"/>
                <a:gd name="connsiteY45" fmla="*/ 1260329 h 1496297"/>
                <a:gd name="connsiteX46" fmla="*/ 876 w 1508157"/>
                <a:gd name="connsiteY46" fmla="*/ 740677 h 1496297"/>
                <a:gd name="connsiteX47" fmla="*/ 15501 w 1508157"/>
                <a:gd name="connsiteY47" fmla="*/ 712368 h 1496297"/>
                <a:gd name="connsiteX48" fmla="*/ 137265 w 1508157"/>
                <a:gd name="connsiteY48" fmla="*/ 587630 h 1496297"/>
                <a:gd name="connsiteX49" fmla="*/ 175610 w 1508157"/>
                <a:gd name="connsiteY49" fmla="*/ 571202 h 1496297"/>
                <a:gd name="connsiteX50" fmla="*/ 214341 w 1508157"/>
                <a:gd name="connsiteY50" fmla="*/ 586700 h 1496297"/>
                <a:gd name="connsiteX51" fmla="*/ 215271 w 1508157"/>
                <a:gd name="connsiteY51" fmla="*/ 663776 h 1496297"/>
                <a:gd name="connsiteX52" fmla="*/ 181190 w 1508157"/>
                <a:gd name="connsiteY52" fmla="*/ 698688 h 1496297"/>
                <a:gd name="connsiteX53" fmla="*/ 427117 w 1508157"/>
                <a:gd name="connsiteY53" fmla="*/ 698688 h 1496297"/>
                <a:gd name="connsiteX54" fmla="*/ 424039 w 1508157"/>
                <a:gd name="connsiteY54" fmla="*/ 695186 h 1496297"/>
                <a:gd name="connsiteX55" fmla="*/ 160105 w 1508157"/>
                <a:gd name="connsiteY55" fmla="*/ 211935 h 1496297"/>
                <a:gd name="connsiteX56" fmla="*/ 178443 w 1508157"/>
                <a:gd name="connsiteY56" fmla="*/ 169450 h 1496297"/>
                <a:gd name="connsiteX57" fmla="*/ 677181 w 1508157"/>
                <a:gd name="connsiteY57" fmla="*/ 385901 h 1496297"/>
                <a:gd name="connsiteX58" fmla="*/ 698689 w 1508157"/>
                <a:gd name="connsiteY58" fmla="*/ 404035 h 1496297"/>
                <a:gd name="connsiteX59" fmla="*/ 698689 w 1508157"/>
                <a:gd name="connsiteY59" fmla="*/ 181191 h 1496297"/>
                <a:gd name="connsiteX60" fmla="*/ 663777 w 1508157"/>
                <a:gd name="connsiteY60" fmla="*/ 215271 h 1496297"/>
                <a:gd name="connsiteX61" fmla="*/ 586701 w 1508157"/>
                <a:gd name="connsiteY61" fmla="*/ 214341 h 1496297"/>
                <a:gd name="connsiteX62" fmla="*/ 571203 w 1508157"/>
                <a:gd name="connsiteY62" fmla="*/ 175611 h 1496297"/>
                <a:gd name="connsiteX63" fmla="*/ 587631 w 1508157"/>
                <a:gd name="connsiteY63" fmla="*/ 137265 h 1496297"/>
                <a:gd name="connsiteX64" fmla="*/ 712369 w 1508157"/>
                <a:gd name="connsiteY64" fmla="*/ 15502 h 1496297"/>
                <a:gd name="connsiteX65" fmla="*/ 771560 w 1508157"/>
                <a:gd name="connsiteY65" fmla="*/ 4242 h 1496297"/>
                <a:gd name="connsiteX66" fmla="*/ 787156 w 1508157"/>
                <a:gd name="connsiteY66" fmla="*/ 14872 h 1496297"/>
                <a:gd name="connsiteX67" fmla="*/ 795790 w 1508157"/>
                <a:gd name="connsiteY67" fmla="*/ 20456 h 1496297"/>
                <a:gd name="connsiteX68" fmla="*/ 920527 w 1508157"/>
                <a:gd name="connsiteY68" fmla="*/ 142221 h 1496297"/>
                <a:gd name="connsiteX69" fmla="*/ 921458 w 1508157"/>
                <a:gd name="connsiteY69" fmla="*/ 219297 h 1496297"/>
                <a:gd name="connsiteX70" fmla="*/ 921458 w 1508157"/>
                <a:gd name="connsiteY70" fmla="*/ 219295 h 1496297"/>
                <a:gd name="connsiteX71" fmla="*/ 844382 w 1508157"/>
                <a:gd name="connsiteY71" fmla="*/ 220226 h 1496297"/>
                <a:gd name="connsiteX72" fmla="*/ 807699 w 1508157"/>
                <a:gd name="connsiteY72" fmla="*/ 184417 h 1496297"/>
                <a:gd name="connsiteX73" fmla="*/ 807698 w 1508157"/>
                <a:gd name="connsiteY73" fmla="*/ 429141 h 1496297"/>
                <a:gd name="connsiteX74" fmla="*/ 858986 w 1508157"/>
                <a:gd name="connsiteY74" fmla="*/ 385900 h 1496297"/>
                <a:gd name="connsiteX75" fmla="*/ 1357723 w 1508157"/>
                <a:gd name="connsiteY75" fmla="*/ 169449 h 1496297"/>
                <a:gd name="connsiteX76" fmla="*/ 1136210 w 1508157"/>
                <a:gd name="connsiteY76" fmla="*/ 665959 h 1496297"/>
                <a:gd name="connsiteX77" fmla="*/ 1108041 w 1508157"/>
                <a:gd name="connsiteY77" fmla="*/ 698688 h 1496297"/>
                <a:gd name="connsiteX78" fmla="*/ 1326967 w 1508157"/>
                <a:gd name="connsiteY78" fmla="*/ 698688 h 1496297"/>
                <a:gd name="connsiteX79" fmla="*/ 1292886 w 1508157"/>
                <a:gd name="connsiteY79" fmla="*/ 663776 h 1496297"/>
                <a:gd name="connsiteX80" fmla="*/ 1293816 w 1508157"/>
                <a:gd name="connsiteY80" fmla="*/ 586700 h 1496297"/>
                <a:gd name="connsiteX81" fmla="*/ 1332547 w 1508157"/>
                <a:gd name="connsiteY81" fmla="*/ 571202 h 1496297"/>
                <a:gd name="connsiteX82" fmla="*/ 1370892 w 1508157"/>
                <a:gd name="connsiteY82" fmla="*/ 587630 h 1496297"/>
                <a:gd name="connsiteX83" fmla="*/ 1492656 w 1508157"/>
                <a:gd name="connsiteY83" fmla="*/ 712368 h 1496297"/>
                <a:gd name="connsiteX84" fmla="*/ 1503915 w 1508157"/>
                <a:gd name="connsiteY84" fmla="*/ 771559 h 1496297"/>
                <a:gd name="connsiteX85" fmla="*/ 1493285 w 1508157"/>
                <a:gd name="connsiteY85" fmla="*/ 787155 h 1496297"/>
                <a:gd name="connsiteX86" fmla="*/ 1487701 w 1508157"/>
                <a:gd name="connsiteY86" fmla="*/ 795788 h 1496297"/>
                <a:gd name="connsiteX87" fmla="*/ 1365936 w 1508157"/>
                <a:gd name="connsiteY87" fmla="*/ 920526 h 1496297"/>
                <a:gd name="connsiteX88" fmla="*/ 1288860 w 1508157"/>
                <a:gd name="connsiteY88" fmla="*/ 921456 h 1496297"/>
                <a:gd name="connsiteX89" fmla="*/ 1288862 w 1508157"/>
                <a:gd name="connsiteY89" fmla="*/ 921456 h 1496297"/>
                <a:gd name="connsiteX90" fmla="*/ 1287932 w 1508157"/>
                <a:gd name="connsiteY90" fmla="*/ 844381 h 1496297"/>
                <a:gd name="connsiteX91" fmla="*/ 1323740 w 1508157"/>
                <a:gd name="connsiteY91" fmla="*/ 807697 h 1496297"/>
                <a:gd name="connsiteX92" fmla="*/ 1108163 w 1508157"/>
                <a:gd name="connsiteY92" fmla="*/ 807697 h 1496297"/>
                <a:gd name="connsiteX93" fmla="*/ 1136210 w 1508157"/>
                <a:gd name="connsiteY93" fmla="*/ 840285 h 1496297"/>
                <a:gd name="connsiteX94" fmla="*/ 1357723 w 1508157"/>
                <a:gd name="connsiteY94" fmla="*/ 1336795 h 1496297"/>
                <a:gd name="connsiteX95" fmla="*/ 858986 w 1508157"/>
                <a:gd name="connsiteY95" fmla="*/ 1120343 h 1496297"/>
                <a:gd name="connsiteX96" fmla="*/ 807698 w 1508157"/>
                <a:gd name="connsiteY96" fmla="*/ 1077102 h 1496297"/>
                <a:gd name="connsiteX97" fmla="*/ 807699 w 1508157"/>
                <a:gd name="connsiteY97" fmla="*/ 1311880 h 1496297"/>
                <a:gd name="connsiteX98" fmla="*/ 844382 w 1508157"/>
                <a:gd name="connsiteY98" fmla="*/ 1276072 h 1496297"/>
                <a:gd name="connsiteX99" fmla="*/ 921458 w 1508157"/>
                <a:gd name="connsiteY99" fmla="*/ 1277002 h 1496297"/>
                <a:gd name="connsiteX100" fmla="*/ 921458 w 1508157"/>
                <a:gd name="connsiteY100" fmla="*/ 1277000 h 1496297"/>
                <a:gd name="connsiteX101" fmla="*/ 920527 w 1508157"/>
                <a:gd name="connsiteY101" fmla="*/ 1354076 h 1496297"/>
                <a:gd name="connsiteX102" fmla="*/ 795790 w 1508157"/>
                <a:gd name="connsiteY102" fmla="*/ 1475841 h 1496297"/>
                <a:gd name="connsiteX103" fmla="*/ 787156 w 1508157"/>
                <a:gd name="connsiteY103" fmla="*/ 1481425 h 1496297"/>
                <a:gd name="connsiteX104" fmla="*/ 771560 w 1508157"/>
                <a:gd name="connsiteY104" fmla="*/ 1492055 h 1496297"/>
                <a:gd name="connsiteX105" fmla="*/ 712369 w 1508157"/>
                <a:gd name="connsiteY105" fmla="*/ 1480795 h 1496297"/>
                <a:gd name="connsiteX106" fmla="*/ 587631 w 1508157"/>
                <a:gd name="connsiteY106" fmla="*/ 1359032 h 1496297"/>
                <a:gd name="connsiteX107" fmla="*/ 571203 w 1508157"/>
                <a:gd name="connsiteY107" fmla="*/ 1320687 h 1496297"/>
                <a:gd name="connsiteX108" fmla="*/ 586701 w 1508157"/>
                <a:gd name="connsiteY108" fmla="*/ 1281956 h 1496297"/>
                <a:gd name="connsiteX109" fmla="*/ 663777 w 1508157"/>
                <a:gd name="connsiteY109" fmla="*/ 1281026 h 1496297"/>
                <a:gd name="connsiteX110" fmla="*/ 698689 w 1508157"/>
                <a:gd name="connsiteY110" fmla="*/ 1315107 h 1496297"/>
                <a:gd name="connsiteX111" fmla="*/ 698689 w 1508157"/>
                <a:gd name="connsiteY111" fmla="*/ 1102208 h 1496297"/>
                <a:gd name="connsiteX112" fmla="*/ 677181 w 1508157"/>
                <a:gd name="connsiteY112" fmla="*/ 1120342 h 1496297"/>
                <a:gd name="connsiteX113" fmla="*/ 178443 w 1508157"/>
                <a:gd name="connsiteY113" fmla="*/ 1336794 h 1496297"/>
                <a:gd name="connsiteX114" fmla="*/ 160105 w 1508157"/>
                <a:gd name="connsiteY114" fmla="*/ 1294308 h 1496297"/>
                <a:gd name="connsiteX115" fmla="*/ 424039 w 1508157"/>
                <a:gd name="connsiteY115" fmla="*/ 811057 h 1496297"/>
                <a:gd name="connsiteX116" fmla="*/ 426992 w 1508157"/>
                <a:gd name="connsiteY116" fmla="*/ 807697 h 1496297"/>
                <a:gd name="connsiteX117" fmla="*/ 184417 w 1508157"/>
                <a:gd name="connsiteY117" fmla="*/ 807697 h 1496297"/>
                <a:gd name="connsiteX118" fmla="*/ 220225 w 1508157"/>
                <a:gd name="connsiteY118" fmla="*/ 844381 h 1496297"/>
                <a:gd name="connsiteX119" fmla="*/ 219295 w 1508157"/>
                <a:gd name="connsiteY119" fmla="*/ 921456 h 1496297"/>
                <a:gd name="connsiteX120" fmla="*/ 219297 w 1508157"/>
                <a:gd name="connsiteY120" fmla="*/ 921456 h 1496297"/>
                <a:gd name="connsiteX121" fmla="*/ 142221 w 1508157"/>
                <a:gd name="connsiteY121" fmla="*/ 920526 h 1496297"/>
                <a:gd name="connsiteX122" fmla="*/ 20456 w 1508157"/>
                <a:gd name="connsiteY122" fmla="*/ 795788 h 1496297"/>
                <a:gd name="connsiteX123" fmla="*/ 14872 w 1508157"/>
                <a:gd name="connsiteY123" fmla="*/ 787155 h 1496297"/>
                <a:gd name="connsiteX124" fmla="*/ 4242 w 1508157"/>
                <a:gd name="connsiteY124" fmla="*/ 771559 h 1496297"/>
                <a:gd name="connsiteX125" fmla="*/ 876 w 1508157"/>
                <a:gd name="connsiteY125" fmla="*/ 740677 h 1496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1508157" h="1496297">
                  <a:moveTo>
                    <a:pt x="807698" y="497010"/>
                  </a:moveTo>
                  <a:lnTo>
                    <a:pt x="823072" y="511457"/>
                  </a:lnTo>
                  <a:lnTo>
                    <a:pt x="873926" y="528619"/>
                  </a:lnTo>
                  <a:cubicBezTo>
                    <a:pt x="928892" y="555104"/>
                    <a:pt x="972748" y="600994"/>
                    <a:pt x="996606" y="657402"/>
                  </a:cubicBezTo>
                  <a:lnTo>
                    <a:pt x="1008159" y="694617"/>
                  </a:lnTo>
                  <a:lnTo>
                    <a:pt x="1012063" y="698688"/>
                  </a:lnTo>
                  <a:lnTo>
                    <a:pt x="1044105" y="698688"/>
                  </a:lnTo>
                  <a:lnTo>
                    <a:pt x="1087454" y="649703"/>
                  </a:lnTo>
                  <a:cubicBezTo>
                    <a:pt x="1266349" y="437572"/>
                    <a:pt x="1363148" y="259705"/>
                    <a:pt x="1315337" y="211405"/>
                  </a:cubicBezTo>
                  <a:cubicBezTo>
                    <a:pt x="1267525" y="163105"/>
                    <a:pt x="1088683" y="258090"/>
                    <a:pt x="874743" y="434817"/>
                  </a:cubicBezTo>
                  <a:lnTo>
                    <a:pt x="807698" y="492944"/>
                  </a:lnTo>
                  <a:close/>
                  <a:moveTo>
                    <a:pt x="807698" y="1009233"/>
                  </a:moveTo>
                  <a:lnTo>
                    <a:pt x="807698" y="1013299"/>
                  </a:lnTo>
                  <a:lnTo>
                    <a:pt x="874743" y="1071426"/>
                  </a:lnTo>
                  <a:cubicBezTo>
                    <a:pt x="1088683" y="1248154"/>
                    <a:pt x="1267525" y="1343138"/>
                    <a:pt x="1315337" y="1294839"/>
                  </a:cubicBezTo>
                  <a:cubicBezTo>
                    <a:pt x="1363148" y="1246538"/>
                    <a:pt x="1266349" y="1068671"/>
                    <a:pt x="1087454" y="856540"/>
                  </a:cubicBezTo>
                  <a:lnTo>
                    <a:pt x="1044230" y="807697"/>
                  </a:lnTo>
                  <a:lnTo>
                    <a:pt x="1011927" y="807697"/>
                  </a:lnTo>
                  <a:lnTo>
                    <a:pt x="1010141" y="809559"/>
                  </a:lnTo>
                  <a:lnTo>
                    <a:pt x="996606" y="853162"/>
                  </a:lnTo>
                  <a:cubicBezTo>
                    <a:pt x="972748" y="909570"/>
                    <a:pt x="928892" y="955460"/>
                    <a:pt x="873926" y="981945"/>
                  </a:cubicBezTo>
                  <a:lnTo>
                    <a:pt x="815897" y="1001528"/>
                  </a:lnTo>
                  <a:close/>
                  <a:moveTo>
                    <a:pt x="208684" y="245914"/>
                  </a:moveTo>
                  <a:cubicBezTo>
                    <a:pt x="207508" y="323651"/>
                    <a:pt x="309072" y="488426"/>
                    <a:pt x="471496" y="676394"/>
                  </a:cubicBezTo>
                  <a:lnTo>
                    <a:pt x="491568" y="698688"/>
                  </a:lnTo>
                  <a:lnTo>
                    <a:pt x="516692" y="698688"/>
                  </a:lnTo>
                  <a:lnTo>
                    <a:pt x="520174" y="699391"/>
                  </a:lnTo>
                  <a:lnTo>
                    <a:pt x="533208" y="657402"/>
                  </a:lnTo>
                  <a:cubicBezTo>
                    <a:pt x="558657" y="597234"/>
                    <a:pt x="606859" y="549032"/>
                    <a:pt x="667027" y="523583"/>
                  </a:cubicBezTo>
                  <a:lnTo>
                    <a:pt x="698689" y="513755"/>
                  </a:lnTo>
                  <a:lnTo>
                    <a:pt x="698689" y="467129"/>
                  </a:lnTo>
                  <a:lnTo>
                    <a:pt x="661422" y="434820"/>
                  </a:lnTo>
                  <a:cubicBezTo>
                    <a:pt x="447482" y="258092"/>
                    <a:pt x="268640" y="163108"/>
                    <a:pt x="220829" y="211408"/>
                  </a:cubicBezTo>
                  <a:cubicBezTo>
                    <a:pt x="212860" y="219458"/>
                    <a:pt x="208908" y="231107"/>
                    <a:pt x="208684" y="245914"/>
                  </a:cubicBezTo>
                  <a:close/>
                  <a:moveTo>
                    <a:pt x="208684" y="1260329"/>
                  </a:moveTo>
                  <a:cubicBezTo>
                    <a:pt x="208908" y="1275136"/>
                    <a:pt x="212860" y="1286785"/>
                    <a:pt x="220829" y="1294835"/>
                  </a:cubicBezTo>
                  <a:cubicBezTo>
                    <a:pt x="268640" y="1343136"/>
                    <a:pt x="447482" y="1248151"/>
                    <a:pt x="661422" y="1071423"/>
                  </a:cubicBezTo>
                  <a:lnTo>
                    <a:pt x="698689" y="1039114"/>
                  </a:lnTo>
                  <a:lnTo>
                    <a:pt x="698689" y="996809"/>
                  </a:lnTo>
                  <a:lnTo>
                    <a:pt x="667027" y="986981"/>
                  </a:lnTo>
                  <a:cubicBezTo>
                    <a:pt x="606859" y="961532"/>
                    <a:pt x="558657" y="913330"/>
                    <a:pt x="533208" y="853162"/>
                  </a:cubicBezTo>
                  <a:lnTo>
                    <a:pt x="518953" y="807240"/>
                  </a:lnTo>
                  <a:lnTo>
                    <a:pt x="516693" y="807697"/>
                  </a:lnTo>
                  <a:lnTo>
                    <a:pt x="491440" y="807697"/>
                  </a:lnTo>
                  <a:lnTo>
                    <a:pt x="471496" y="829849"/>
                  </a:lnTo>
                  <a:cubicBezTo>
                    <a:pt x="309072" y="1017817"/>
                    <a:pt x="207508" y="1182592"/>
                    <a:pt x="208684" y="1260329"/>
                  </a:cubicBezTo>
                  <a:close/>
                  <a:moveTo>
                    <a:pt x="876" y="740677"/>
                  </a:moveTo>
                  <a:cubicBezTo>
                    <a:pt x="2747" y="730347"/>
                    <a:pt x="7616" y="720446"/>
                    <a:pt x="15501" y="712368"/>
                  </a:cubicBezTo>
                  <a:lnTo>
                    <a:pt x="137265" y="587630"/>
                  </a:lnTo>
                  <a:cubicBezTo>
                    <a:pt x="147779" y="576859"/>
                    <a:pt x="161663" y="571370"/>
                    <a:pt x="175610" y="571202"/>
                  </a:cubicBezTo>
                  <a:cubicBezTo>
                    <a:pt x="189558" y="571033"/>
                    <a:pt x="203571" y="576186"/>
                    <a:pt x="214341" y="586700"/>
                  </a:cubicBezTo>
                  <a:cubicBezTo>
                    <a:pt x="235881" y="607727"/>
                    <a:pt x="236298" y="642234"/>
                    <a:pt x="215271" y="663776"/>
                  </a:cubicBezTo>
                  <a:lnTo>
                    <a:pt x="181190" y="698688"/>
                  </a:lnTo>
                  <a:lnTo>
                    <a:pt x="427117" y="698688"/>
                  </a:lnTo>
                  <a:lnTo>
                    <a:pt x="424039" y="695186"/>
                  </a:lnTo>
                  <a:cubicBezTo>
                    <a:pt x="252105" y="489557"/>
                    <a:pt x="149928" y="304692"/>
                    <a:pt x="160105" y="211935"/>
                  </a:cubicBezTo>
                  <a:cubicBezTo>
                    <a:pt x="162043" y="194267"/>
                    <a:pt x="168058" y="179941"/>
                    <a:pt x="178443" y="169450"/>
                  </a:cubicBezTo>
                  <a:cubicBezTo>
                    <a:pt x="240754" y="106501"/>
                    <a:pt x="442712" y="199483"/>
                    <a:pt x="677181" y="385901"/>
                  </a:cubicBezTo>
                  <a:lnTo>
                    <a:pt x="698689" y="404035"/>
                  </a:lnTo>
                  <a:lnTo>
                    <a:pt x="698689" y="181191"/>
                  </a:lnTo>
                  <a:lnTo>
                    <a:pt x="663777" y="215271"/>
                  </a:lnTo>
                  <a:cubicBezTo>
                    <a:pt x="642236" y="236298"/>
                    <a:pt x="607728" y="235882"/>
                    <a:pt x="586701" y="214341"/>
                  </a:cubicBezTo>
                  <a:cubicBezTo>
                    <a:pt x="576187" y="203571"/>
                    <a:pt x="571034" y="189559"/>
                    <a:pt x="571203" y="175611"/>
                  </a:cubicBezTo>
                  <a:cubicBezTo>
                    <a:pt x="571371" y="161663"/>
                    <a:pt x="576860" y="147779"/>
                    <a:pt x="587631" y="137265"/>
                  </a:cubicBezTo>
                  <a:lnTo>
                    <a:pt x="712369" y="15502"/>
                  </a:lnTo>
                  <a:cubicBezTo>
                    <a:pt x="728524" y="-269"/>
                    <a:pt x="751974" y="-3977"/>
                    <a:pt x="771560" y="4242"/>
                  </a:cubicBezTo>
                  <a:lnTo>
                    <a:pt x="787156" y="14872"/>
                  </a:lnTo>
                  <a:lnTo>
                    <a:pt x="795790" y="20456"/>
                  </a:lnTo>
                  <a:cubicBezTo>
                    <a:pt x="837369" y="61045"/>
                    <a:pt x="878948" y="101632"/>
                    <a:pt x="920527" y="142221"/>
                  </a:cubicBezTo>
                  <a:cubicBezTo>
                    <a:pt x="942068" y="163248"/>
                    <a:pt x="942485" y="197756"/>
                    <a:pt x="921458" y="219297"/>
                  </a:cubicBezTo>
                  <a:lnTo>
                    <a:pt x="921458" y="219295"/>
                  </a:lnTo>
                  <a:cubicBezTo>
                    <a:pt x="900431" y="240836"/>
                    <a:pt x="865922" y="241253"/>
                    <a:pt x="844382" y="220226"/>
                  </a:cubicBezTo>
                  <a:lnTo>
                    <a:pt x="807699" y="184417"/>
                  </a:lnTo>
                  <a:lnTo>
                    <a:pt x="807698" y="429141"/>
                  </a:lnTo>
                  <a:lnTo>
                    <a:pt x="858986" y="385900"/>
                  </a:lnTo>
                  <a:cubicBezTo>
                    <a:pt x="1093454" y="199482"/>
                    <a:pt x="1295412" y="106500"/>
                    <a:pt x="1357723" y="169449"/>
                  </a:cubicBezTo>
                  <a:cubicBezTo>
                    <a:pt x="1420035" y="232397"/>
                    <a:pt x="1325003" y="433399"/>
                    <a:pt x="1136210" y="665959"/>
                  </a:cubicBezTo>
                  <a:lnTo>
                    <a:pt x="1108041" y="698688"/>
                  </a:lnTo>
                  <a:lnTo>
                    <a:pt x="1326967" y="698688"/>
                  </a:lnTo>
                  <a:lnTo>
                    <a:pt x="1292886" y="663776"/>
                  </a:lnTo>
                  <a:cubicBezTo>
                    <a:pt x="1271859" y="642234"/>
                    <a:pt x="1272276" y="607727"/>
                    <a:pt x="1293816" y="586700"/>
                  </a:cubicBezTo>
                  <a:cubicBezTo>
                    <a:pt x="1304586" y="576186"/>
                    <a:pt x="1318599" y="571033"/>
                    <a:pt x="1332547" y="571202"/>
                  </a:cubicBezTo>
                  <a:cubicBezTo>
                    <a:pt x="1346494" y="571370"/>
                    <a:pt x="1360378" y="576859"/>
                    <a:pt x="1370892" y="587630"/>
                  </a:cubicBezTo>
                  <a:lnTo>
                    <a:pt x="1492656" y="712368"/>
                  </a:lnTo>
                  <a:cubicBezTo>
                    <a:pt x="1508426" y="728523"/>
                    <a:pt x="1512134" y="751973"/>
                    <a:pt x="1503915" y="771559"/>
                  </a:cubicBezTo>
                  <a:lnTo>
                    <a:pt x="1493285" y="787155"/>
                  </a:lnTo>
                  <a:lnTo>
                    <a:pt x="1487701" y="795788"/>
                  </a:lnTo>
                  <a:cubicBezTo>
                    <a:pt x="1447113" y="837368"/>
                    <a:pt x="1406525" y="878947"/>
                    <a:pt x="1365936" y="920526"/>
                  </a:cubicBezTo>
                  <a:cubicBezTo>
                    <a:pt x="1344909" y="942067"/>
                    <a:pt x="1310402" y="942483"/>
                    <a:pt x="1288860" y="921456"/>
                  </a:cubicBezTo>
                  <a:lnTo>
                    <a:pt x="1288862" y="921456"/>
                  </a:lnTo>
                  <a:cubicBezTo>
                    <a:pt x="1267322" y="900429"/>
                    <a:pt x="1266905" y="865921"/>
                    <a:pt x="1287932" y="844381"/>
                  </a:cubicBezTo>
                  <a:lnTo>
                    <a:pt x="1323740" y="807697"/>
                  </a:lnTo>
                  <a:lnTo>
                    <a:pt x="1108163" y="807697"/>
                  </a:lnTo>
                  <a:lnTo>
                    <a:pt x="1136210" y="840285"/>
                  </a:lnTo>
                  <a:cubicBezTo>
                    <a:pt x="1325003" y="1072844"/>
                    <a:pt x="1420035" y="1273846"/>
                    <a:pt x="1357723" y="1336795"/>
                  </a:cubicBezTo>
                  <a:cubicBezTo>
                    <a:pt x="1295412" y="1399743"/>
                    <a:pt x="1093454" y="1306761"/>
                    <a:pt x="858986" y="1120343"/>
                  </a:cubicBezTo>
                  <a:lnTo>
                    <a:pt x="807698" y="1077102"/>
                  </a:lnTo>
                  <a:lnTo>
                    <a:pt x="807699" y="1311880"/>
                  </a:lnTo>
                  <a:lnTo>
                    <a:pt x="844382" y="1276072"/>
                  </a:lnTo>
                  <a:cubicBezTo>
                    <a:pt x="865922" y="1255045"/>
                    <a:pt x="900431" y="1255461"/>
                    <a:pt x="921458" y="1277002"/>
                  </a:cubicBezTo>
                  <a:lnTo>
                    <a:pt x="921458" y="1277000"/>
                  </a:lnTo>
                  <a:cubicBezTo>
                    <a:pt x="942485" y="1298541"/>
                    <a:pt x="942068" y="1333049"/>
                    <a:pt x="920527" y="1354076"/>
                  </a:cubicBezTo>
                  <a:cubicBezTo>
                    <a:pt x="878948" y="1394665"/>
                    <a:pt x="837369" y="1435253"/>
                    <a:pt x="795790" y="1475841"/>
                  </a:cubicBezTo>
                  <a:lnTo>
                    <a:pt x="787156" y="1481425"/>
                  </a:lnTo>
                  <a:lnTo>
                    <a:pt x="771560" y="1492055"/>
                  </a:lnTo>
                  <a:cubicBezTo>
                    <a:pt x="751974" y="1500274"/>
                    <a:pt x="728524" y="1496566"/>
                    <a:pt x="712369" y="1480795"/>
                  </a:cubicBezTo>
                  <a:lnTo>
                    <a:pt x="587631" y="1359032"/>
                  </a:lnTo>
                  <a:cubicBezTo>
                    <a:pt x="576860" y="1348518"/>
                    <a:pt x="571371" y="1334634"/>
                    <a:pt x="571203" y="1320687"/>
                  </a:cubicBezTo>
                  <a:cubicBezTo>
                    <a:pt x="571034" y="1306739"/>
                    <a:pt x="576187" y="1292726"/>
                    <a:pt x="586701" y="1281956"/>
                  </a:cubicBezTo>
                  <a:cubicBezTo>
                    <a:pt x="607728" y="1260416"/>
                    <a:pt x="642236" y="1259999"/>
                    <a:pt x="663777" y="1281026"/>
                  </a:cubicBezTo>
                  <a:lnTo>
                    <a:pt x="698689" y="1315107"/>
                  </a:lnTo>
                  <a:lnTo>
                    <a:pt x="698689" y="1102208"/>
                  </a:lnTo>
                  <a:lnTo>
                    <a:pt x="677181" y="1120342"/>
                  </a:lnTo>
                  <a:cubicBezTo>
                    <a:pt x="442712" y="1306760"/>
                    <a:pt x="240754" y="1399742"/>
                    <a:pt x="178443" y="1336794"/>
                  </a:cubicBezTo>
                  <a:cubicBezTo>
                    <a:pt x="168058" y="1326302"/>
                    <a:pt x="162043" y="1311976"/>
                    <a:pt x="160105" y="1294308"/>
                  </a:cubicBezTo>
                  <a:cubicBezTo>
                    <a:pt x="149928" y="1201551"/>
                    <a:pt x="252105" y="1016686"/>
                    <a:pt x="424039" y="811057"/>
                  </a:cubicBezTo>
                  <a:lnTo>
                    <a:pt x="426992" y="807697"/>
                  </a:lnTo>
                  <a:lnTo>
                    <a:pt x="184417" y="807697"/>
                  </a:lnTo>
                  <a:lnTo>
                    <a:pt x="220225" y="844381"/>
                  </a:lnTo>
                  <a:cubicBezTo>
                    <a:pt x="241252" y="865921"/>
                    <a:pt x="240835" y="900429"/>
                    <a:pt x="219295" y="921456"/>
                  </a:cubicBezTo>
                  <a:lnTo>
                    <a:pt x="219297" y="921456"/>
                  </a:lnTo>
                  <a:cubicBezTo>
                    <a:pt x="197755" y="942483"/>
                    <a:pt x="163248" y="942067"/>
                    <a:pt x="142221" y="920526"/>
                  </a:cubicBezTo>
                  <a:cubicBezTo>
                    <a:pt x="101632" y="878947"/>
                    <a:pt x="61044" y="837368"/>
                    <a:pt x="20456" y="795788"/>
                  </a:cubicBezTo>
                  <a:lnTo>
                    <a:pt x="14872" y="787155"/>
                  </a:lnTo>
                  <a:lnTo>
                    <a:pt x="4242" y="771559"/>
                  </a:lnTo>
                  <a:cubicBezTo>
                    <a:pt x="132" y="761766"/>
                    <a:pt x="-995" y="751007"/>
                    <a:pt x="876" y="740677"/>
                  </a:cubicBezTo>
                  <a:close/>
                </a:path>
              </a:pathLst>
            </a:cu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kern="0">
                <a:solidFill>
                  <a:srgbClr val="2968AF">
                    <a:lumMod val="50000"/>
                  </a:srgbClr>
                </a:solidFill>
                <a:latin typeface="Arial"/>
              </a:endParaRPr>
            </a:p>
          </p:txBody>
        </p:sp>
      </p:grpSp>
      <p:grpSp>
        <p:nvGrpSpPr>
          <p:cNvPr id="222" name="Group 221"/>
          <p:cNvGrpSpPr/>
          <p:nvPr/>
        </p:nvGrpSpPr>
        <p:grpSpPr>
          <a:xfrm>
            <a:off x="1037356" y="1927933"/>
            <a:ext cx="331223" cy="480306"/>
            <a:chOff x="1326701" y="3314449"/>
            <a:chExt cx="331223" cy="480306"/>
          </a:xfrm>
        </p:grpSpPr>
        <p:sp>
          <p:nvSpPr>
            <p:cNvPr id="223" name="Rounded Rectangle 222"/>
            <p:cNvSpPr/>
            <p:nvPr/>
          </p:nvSpPr>
          <p:spPr bwMode="auto">
            <a:xfrm>
              <a:off x="1326701" y="3314449"/>
              <a:ext cx="331223" cy="480306"/>
            </a:xfrm>
            <a:prstGeom prst="roundRect">
              <a:avLst>
                <a:gd name="adj" fmla="val 4802"/>
              </a:avLst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kern="0" dirty="0" err="1">
                <a:solidFill>
                  <a:srgbClr val="2968AF">
                    <a:lumMod val="50000"/>
                  </a:srgbClr>
                </a:solidFill>
                <a:latin typeface="Arial"/>
                <a:sym typeface="Arial" pitchFamily="-107" charset="0"/>
              </a:endParaRPr>
            </a:p>
          </p:txBody>
        </p:sp>
        <p:sp>
          <p:nvSpPr>
            <p:cNvPr id="224" name="Freeform 223"/>
            <p:cNvSpPr>
              <a:spLocks noChangeAspect="1"/>
            </p:cNvSpPr>
            <p:nvPr/>
          </p:nvSpPr>
          <p:spPr>
            <a:xfrm>
              <a:off x="1335594" y="3344328"/>
              <a:ext cx="320872" cy="427144"/>
            </a:xfrm>
            <a:custGeom>
              <a:avLst/>
              <a:gdLst>
                <a:gd name="connsiteX0" fmla="*/ 1652616 w 2604807"/>
                <a:gd name="connsiteY0" fmla="*/ 2490730 h 3467518"/>
                <a:gd name="connsiteX1" fmla="*/ 1632470 w 2604807"/>
                <a:gd name="connsiteY1" fmla="*/ 2512169 h 3467518"/>
                <a:gd name="connsiteX2" fmla="*/ 1608537 w 2604807"/>
                <a:gd name="connsiteY2" fmla="*/ 2583085 h 3467518"/>
                <a:gd name="connsiteX3" fmla="*/ 1428950 w 2604807"/>
                <a:gd name="connsiteY3" fmla="*/ 2754162 h 3467518"/>
                <a:gd name="connsiteX4" fmla="*/ 1377054 w 2604807"/>
                <a:gd name="connsiteY4" fmla="*/ 2770273 h 3467518"/>
                <a:gd name="connsiteX5" fmla="*/ 1371377 w 2604807"/>
                <a:gd name="connsiteY5" fmla="*/ 2775717 h 3467518"/>
                <a:gd name="connsiteX6" fmla="*/ 1371377 w 2604807"/>
                <a:gd name="connsiteY6" fmla="*/ 2820399 h 3467518"/>
                <a:gd name="connsiteX7" fmla="*/ 1439686 w 2604807"/>
                <a:gd name="connsiteY7" fmla="*/ 2880849 h 3467518"/>
                <a:gd name="connsiteX8" fmla="*/ 2050891 w 2604807"/>
                <a:gd name="connsiteY8" fmla="*/ 3198631 h 3467518"/>
                <a:gd name="connsiteX9" fmla="*/ 1739344 w 2604807"/>
                <a:gd name="connsiteY9" fmla="*/ 2584224 h 3467518"/>
                <a:gd name="connsiteX10" fmla="*/ 1658286 w 2604807"/>
                <a:gd name="connsiteY10" fmla="*/ 2490730 h 3467518"/>
                <a:gd name="connsiteX11" fmla="*/ 932653 w 2604807"/>
                <a:gd name="connsiteY11" fmla="*/ 2490730 h 3467518"/>
                <a:gd name="connsiteX12" fmla="*/ 851595 w 2604807"/>
                <a:gd name="connsiteY12" fmla="*/ 2584224 h 3467518"/>
                <a:gd name="connsiteX13" fmla="*/ 540047 w 2604807"/>
                <a:gd name="connsiteY13" fmla="*/ 3198631 h 3467518"/>
                <a:gd name="connsiteX14" fmla="*/ 1151253 w 2604807"/>
                <a:gd name="connsiteY14" fmla="*/ 2880849 h 3467518"/>
                <a:gd name="connsiteX15" fmla="*/ 1219364 w 2604807"/>
                <a:gd name="connsiteY15" fmla="*/ 2820574 h 3467518"/>
                <a:gd name="connsiteX16" fmla="*/ 1219364 w 2604807"/>
                <a:gd name="connsiteY16" fmla="*/ 2775527 h 3467518"/>
                <a:gd name="connsiteX17" fmla="*/ 1216767 w 2604807"/>
                <a:gd name="connsiteY17" fmla="*/ 2773037 h 3467518"/>
                <a:gd name="connsiteX18" fmla="*/ 1155963 w 2604807"/>
                <a:gd name="connsiteY18" fmla="*/ 2754162 h 3467518"/>
                <a:gd name="connsiteX19" fmla="*/ 976376 w 2604807"/>
                <a:gd name="connsiteY19" fmla="*/ 2583085 h 3467518"/>
                <a:gd name="connsiteX20" fmla="*/ 949068 w 2604807"/>
                <a:gd name="connsiteY20" fmla="*/ 2502164 h 3467518"/>
                <a:gd name="connsiteX21" fmla="*/ 938323 w 2604807"/>
                <a:gd name="connsiteY21" fmla="*/ 2490730 h 3467518"/>
                <a:gd name="connsiteX22" fmla="*/ 2002768 w 2604807"/>
                <a:gd name="connsiteY22" fmla="*/ 1655407 h 3467518"/>
                <a:gd name="connsiteX23" fmla="*/ 1402466 w 2604807"/>
                <a:gd name="connsiteY23" fmla="*/ 2021898 h 3467518"/>
                <a:gd name="connsiteX24" fmla="*/ 1371377 w 2604807"/>
                <a:gd name="connsiteY24" fmla="*/ 2049888 h 3467518"/>
                <a:gd name="connsiteX25" fmla="*/ 1371377 w 2604807"/>
                <a:gd name="connsiteY25" fmla="*/ 2084924 h 3467518"/>
                <a:gd name="connsiteX26" fmla="*/ 1370396 w 2604807"/>
                <a:gd name="connsiteY26" fmla="*/ 2089779 h 3467518"/>
                <a:gd name="connsiteX27" fmla="*/ 1428950 w 2604807"/>
                <a:gd name="connsiteY27" fmla="*/ 2107955 h 3467518"/>
                <a:gd name="connsiteX28" fmla="*/ 1615560 w 2604807"/>
                <a:gd name="connsiteY28" fmla="*/ 2294565 h 3467518"/>
                <a:gd name="connsiteX29" fmla="*/ 1629265 w 2604807"/>
                <a:gd name="connsiteY29" fmla="*/ 2338718 h 3467518"/>
                <a:gd name="connsiteX30" fmla="*/ 1694285 w 2604807"/>
                <a:gd name="connsiteY30" fmla="*/ 2338718 h 3467518"/>
                <a:gd name="connsiteX31" fmla="*/ 1739340 w 2604807"/>
                <a:gd name="connsiteY31" fmla="*/ 2286749 h 3467518"/>
                <a:gd name="connsiteX32" fmla="*/ 2050887 w 2604807"/>
                <a:gd name="connsiteY32" fmla="*/ 1672344 h 3467518"/>
                <a:gd name="connsiteX33" fmla="*/ 2002768 w 2604807"/>
                <a:gd name="connsiteY33" fmla="*/ 1655407 h 3467518"/>
                <a:gd name="connsiteX34" fmla="*/ 588171 w 2604807"/>
                <a:gd name="connsiteY34" fmla="*/ 1655407 h 3467518"/>
                <a:gd name="connsiteX35" fmla="*/ 540052 w 2604807"/>
                <a:gd name="connsiteY35" fmla="*/ 1672344 h 3467518"/>
                <a:gd name="connsiteX36" fmla="*/ 851599 w 2604807"/>
                <a:gd name="connsiteY36" fmla="*/ 2286749 h 3467518"/>
                <a:gd name="connsiteX37" fmla="*/ 896654 w 2604807"/>
                <a:gd name="connsiteY37" fmla="*/ 2338718 h 3467518"/>
                <a:gd name="connsiteX38" fmla="*/ 955648 w 2604807"/>
                <a:gd name="connsiteY38" fmla="*/ 2338718 h 3467518"/>
                <a:gd name="connsiteX39" fmla="*/ 969353 w 2604807"/>
                <a:gd name="connsiteY39" fmla="*/ 2294565 h 3467518"/>
                <a:gd name="connsiteX40" fmla="*/ 1155963 w 2604807"/>
                <a:gd name="connsiteY40" fmla="*/ 2107955 h 3467518"/>
                <a:gd name="connsiteX41" fmla="*/ 1220001 w 2604807"/>
                <a:gd name="connsiteY41" fmla="*/ 2088076 h 3467518"/>
                <a:gd name="connsiteX42" fmla="*/ 1219364 w 2604807"/>
                <a:gd name="connsiteY42" fmla="*/ 2084925 h 3467518"/>
                <a:gd name="connsiteX43" fmla="*/ 1219364 w 2604807"/>
                <a:gd name="connsiteY43" fmla="*/ 2049710 h 3467518"/>
                <a:gd name="connsiteX44" fmla="*/ 1188473 w 2604807"/>
                <a:gd name="connsiteY44" fmla="*/ 2021898 h 3467518"/>
                <a:gd name="connsiteX45" fmla="*/ 588171 w 2604807"/>
                <a:gd name="connsiteY45" fmla="*/ 1655407 h 3467518"/>
                <a:gd name="connsiteX46" fmla="*/ 1312823 w 2604807"/>
                <a:gd name="connsiteY46" fmla="*/ 1365620 h 3467518"/>
                <a:gd name="connsiteX47" fmla="*/ 1352300 w 2604807"/>
                <a:gd name="connsiteY47" fmla="*/ 1386014 h 3467518"/>
                <a:gd name="connsiteX48" fmla="*/ 1526247 w 2604807"/>
                <a:gd name="connsiteY48" fmla="*/ 1555814 h 3467518"/>
                <a:gd name="connsiteX49" fmla="*/ 1549155 w 2604807"/>
                <a:gd name="connsiteY49" fmla="*/ 1609286 h 3467518"/>
                <a:gd name="connsiteX50" fmla="*/ 1527543 w 2604807"/>
                <a:gd name="connsiteY50" fmla="*/ 1663296 h 3467518"/>
                <a:gd name="connsiteX51" fmla="*/ 1420061 w 2604807"/>
                <a:gd name="connsiteY51" fmla="*/ 1664593 h 3467518"/>
                <a:gd name="connsiteX52" fmla="*/ 1371377 w 2604807"/>
                <a:gd name="connsiteY52" fmla="*/ 1617067 h 3467518"/>
                <a:gd name="connsiteX53" fmla="*/ 1371377 w 2604807"/>
                <a:gd name="connsiteY53" fmla="*/ 1960011 h 3467518"/>
                <a:gd name="connsiteX54" fmla="*/ 1376260 w 2604807"/>
                <a:gd name="connsiteY54" fmla="*/ 1955719 h 3467518"/>
                <a:gd name="connsiteX55" fmla="*/ 2050152 w 2604807"/>
                <a:gd name="connsiteY55" fmla="*/ 1587664 h 3467518"/>
                <a:gd name="connsiteX56" fmla="*/ 2109397 w 2604807"/>
                <a:gd name="connsiteY56" fmla="*/ 1613236 h 3467518"/>
                <a:gd name="connsiteX57" fmla="*/ 1807557 w 2604807"/>
                <a:gd name="connsiteY57" fmla="*/ 2308725 h 3467518"/>
                <a:gd name="connsiteX58" fmla="*/ 1782269 w 2604807"/>
                <a:gd name="connsiteY58" fmla="*/ 2338718 h 3467518"/>
                <a:gd name="connsiteX59" fmla="*/ 2093024 w 2604807"/>
                <a:gd name="connsiteY59" fmla="*/ 2338718 h 3467518"/>
                <a:gd name="connsiteX60" fmla="*/ 2045500 w 2604807"/>
                <a:gd name="connsiteY60" fmla="*/ 2290033 h 3467518"/>
                <a:gd name="connsiteX61" fmla="*/ 2046797 w 2604807"/>
                <a:gd name="connsiteY61" fmla="*/ 2182551 h 3467518"/>
                <a:gd name="connsiteX62" fmla="*/ 2100805 w 2604807"/>
                <a:gd name="connsiteY62" fmla="*/ 2160939 h 3467518"/>
                <a:gd name="connsiteX63" fmla="*/ 2154279 w 2604807"/>
                <a:gd name="connsiteY63" fmla="*/ 2183848 h 3467518"/>
                <a:gd name="connsiteX64" fmla="*/ 2324077 w 2604807"/>
                <a:gd name="connsiteY64" fmla="*/ 2357794 h 3467518"/>
                <a:gd name="connsiteX65" fmla="*/ 2339779 w 2604807"/>
                <a:gd name="connsiteY65" fmla="*/ 2440336 h 3467518"/>
                <a:gd name="connsiteX66" fmla="*/ 2324955 w 2604807"/>
                <a:gd name="connsiteY66" fmla="*/ 2462085 h 3467518"/>
                <a:gd name="connsiteX67" fmla="*/ 2317168 w 2604807"/>
                <a:gd name="connsiteY67" fmla="*/ 2474125 h 3467518"/>
                <a:gd name="connsiteX68" fmla="*/ 2147368 w 2604807"/>
                <a:gd name="connsiteY68" fmla="*/ 2648070 h 3467518"/>
                <a:gd name="connsiteX69" fmla="*/ 2039885 w 2604807"/>
                <a:gd name="connsiteY69" fmla="*/ 2649368 h 3467518"/>
                <a:gd name="connsiteX70" fmla="*/ 2039888 w 2604807"/>
                <a:gd name="connsiteY70" fmla="*/ 2649368 h 3467518"/>
                <a:gd name="connsiteX71" fmla="*/ 2038590 w 2604807"/>
                <a:gd name="connsiteY71" fmla="*/ 2541886 h 3467518"/>
                <a:gd name="connsiteX72" fmla="*/ 2088525 w 2604807"/>
                <a:gd name="connsiteY72" fmla="*/ 2490732 h 3467518"/>
                <a:gd name="connsiteX73" fmla="*/ 1747259 w 2604807"/>
                <a:gd name="connsiteY73" fmla="*/ 2490730 h 3467518"/>
                <a:gd name="connsiteX74" fmla="*/ 1807558 w 2604807"/>
                <a:gd name="connsiteY74" fmla="*/ 2562251 h 3467518"/>
                <a:gd name="connsiteX75" fmla="*/ 2109398 w 2604807"/>
                <a:gd name="connsiteY75" fmla="*/ 3257738 h 3467518"/>
                <a:gd name="connsiteX76" fmla="*/ 1417017 w 2604807"/>
                <a:gd name="connsiteY76" fmla="*/ 2948839 h 3467518"/>
                <a:gd name="connsiteX77" fmla="*/ 1371377 w 2604807"/>
                <a:gd name="connsiteY77" fmla="*/ 2909558 h 3467518"/>
                <a:gd name="connsiteX78" fmla="*/ 1371377 w 2604807"/>
                <a:gd name="connsiteY78" fmla="*/ 3214849 h 3467518"/>
                <a:gd name="connsiteX79" fmla="*/ 1420061 w 2604807"/>
                <a:gd name="connsiteY79" fmla="*/ 3167323 h 3467518"/>
                <a:gd name="connsiteX80" fmla="*/ 1527543 w 2604807"/>
                <a:gd name="connsiteY80" fmla="*/ 3168620 h 3467518"/>
                <a:gd name="connsiteX81" fmla="*/ 1549155 w 2604807"/>
                <a:gd name="connsiteY81" fmla="*/ 3222631 h 3467518"/>
                <a:gd name="connsiteX82" fmla="*/ 1526247 w 2604807"/>
                <a:gd name="connsiteY82" fmla="*/ 3276103 h 3467518"/>
                <a:gd name="connsiteX83" fmla="*/ 1352300 w 2604807"/>
                <a:gd name="connsiteY83" fmla="*/ 3445902 h 3467518"/>
                <a:gd name="connsiteX84" fmla="*/ 1269758 w 2604807"/>
                <a:gd name="connsiteY84" fmla="*/ 3461603 h 3467518"/>
                <a:gd name="connsiteX85" fmla="*/ 1248010 w 2604807"/>
                <a:gd name="connsiteY85" fmla="*/ 3446779 h 3467518"/>
                <a:gd name="connsiteX86" fmla="*/ 1235971 w 2604807"/>
                <a:gd name="connsiteY86" fmla="*/ 3438992 h 3467518"/>
                <a:gd name="connsiteX87" fmla="*/ 1062024 w 2604807"/>
                <a:gd name="connsiteY87" fmla="*/ 3269191 h 3467518"/>
                <a:gd name="connsiteX88" fmla="*/ 1060728 w 2604807"/>
                <a:gd name="connsiteY88" fmla="*/ 3161709 h 3467518"/>
                <a:gd name="connsiteX89" fmla="*/ 1060728 w 2604807"/>
                <a:gd name="connsiteY89" fmla="*/ 3161712 h 3467518"/>
                <a:gd name="connsiteX90" fmla="*/ 1168208 w 2604807"/>
                <a:gd name="connsiteY90" fmla="*/ 3160415 h 3467518"/>
                <a:gd name="connsiteX91" fmla="*/ 1219364 w 2604807"/>
                <a:gd name="connsiteY91" fmla="*/ 3210349 h 3467518"/>
                <a:gd name="connsiteX92" fmla="*/ 1219364 w 2604807"/>
                <a:gd name="connsiteY92" fmla="*/ 2909728 h 3467518"/>
                <a:gd name="connsiteX93" fmla="*/ 1173920 w 2604807"/>
                <a:gd name="connsiteY93" fmla="*/ 2948839 h 3467518"/>
                <a:gd name="connsiteX94" fmla="*/ 481539 w 2604807"/>
                <a:gd name="connsiteY94" fmla="*/ 3257738 h 3467518"/>
                <a:gd name="connsiteX95" fmla="*/ 783380 w 2604807"/>
                <a:gd name="connsiteY95" fmla="*/ 2562251 h 3467518"/>
                <a:gd name="connsiteX96" fmla="*/ 843680 w 2604807"/>
                <a:gd name="connsiteY96" fmla="*/ 2490730 h 3467518"/>
                <a:gd name="connsiteX97" fmla="*/ 516283 w 2604807"/>
                <a:gd name="connsiteY97" fmla="*/ 2490732 h 3467518"/>
                <a:gd name="connsiteX98" fmla="*/ 566217 w 2604807"/>
                <a:gd name="connsiteY98" fmla="*/ 2541886 h 3467518"/>
                <a:gd name="connsiteX99" fmla="*/ 564920 w 2604807"/>
                <a:gd name="connsiteY99" fmla="*/ 2649368 h 3467518"/>
                <a:gd name="connsiteX100" fmla="*/ 564923 w 2604807"/>
                <a:gd name="connsiteY100" fmla="*/ 2649368 h 3467518"/>
                <a:gd name="connsiteX101" fmla="*/ 457441 w 2604807"/>
                <a:gd name="connsiteY101" fmla="*/ 2648070 h 3467518"/>
                <a:gd name="connsiteX102" fmla="*/ 287640 w 2604807"/>
                <a:gd name="connsiteY102" fmla="*/ 2474125 h 3467518"/>
                <a:gd name="connsiteX103" fmla="*/ 279853 w 2604807"/>
                <a:gd name="connsiteY103" fmla="*/ 2462085 h 3467518"/>
                <a:gd name="connsiteX104" fmla="*/ 265030 w 2604807"/>
                <a:gd name="connsiteY104" fmla="*/ 2440336 h 3467518"/>
                <a:gd name="connsiteX105" fmla="*/ 280732 w 2604807"/>
                <a:gd name="connsiteY105" fmla="*/ 2357794 h 3467518"/>
                <a:gd name="connsiteX106" fmla="*/ 450530 w 2604807"/>
                <a:gd name="connsiteY106" fmla="*/ 2183848 h 3467518"/>
                <a:gd name="connsiteX107" fmla="*/ 504002 w 2604807"/>
                <a:gd name="connsiteY107" fmla="*/ 2160939 h 3467518"/>
                <a:gd name="connsiteX108" fmla="*/ 558012 w 2604807"/>
                <a:gd name="connsiteY108" fmla="*/ 2182551 h 3467518"/>
                <a:gd name="connsiteX109" fmla="*/ 559309 w 2604807"/>
                <a:gd name="connsiteY109" fmla="*/ 2290033 h 3467518"/>
                <a:gd name="connsiteX110" fmla="*/ 511783 w 2604807"/>
                <a:gd name="connsiteY110" fmla="*/ 2338718 h 3467518"/>
                <a:gd name="connsiteX111" fmla="*/ 808670 w 2604807"/>
                <a:gd name="connsiteY111" fmla="*/ 2338718 h 3467518"/>
                <a:gd name="connsiteX112" fmla="*/ 783382 w 2604807"/>
                <a:gd name="connsiteY112" fmla="*/ 2308725 h 3467518"/>
                <a:gd name="connsiteX113" fmla="*/ 481540 w 2604807"/>
                <a:gd name="connsiteY113" fmla="*/ 1613236 h 3467518"/>
                <a:gd name="connsiteX114" fmla="*/ 540787 w 2604807"/>
                <a:gd name="connsiteY114" fmla="*/ 1587664 h 3467518"/>
                <a:gd name="connsiteX115" fmla="*/ 1214679 w 2604807"/>
                <a:gd name="connsiteY115" fmla="*/ 1955719 h 3467518"/>
                <a:gd name="connsiteX116" fmla="*/ 1219364 w 2604807"/>
                <a:gd name="connsiteY116" fmla="*/ 1959837 h 3467518"/>
                <a:gd name="connsiteX117" fmla="*/ 1219364 w 2604807"/>
                <a:gd name="connsiteY117" fmla="*/ 1621567 h 3467518"/>
                <a:gd name="connsiteX118" fmla="*/ 1168208 w 2604807"/>
                <a:gd name="connsiteY118" fmla="*/ 1671501 h 3467518"/>
                <a:gd name="connsiteX119" fmla="*/ 1060728 w 2604807"/>
                <a:gd name="connsiteY119" fmla="*/ 1670204 h 3467518"/>
                <a:gd name="connsiteX120" fmla="*/ 1060728 w 2604807"/>
                <a:gd name="connsiteY120" fmla="*/ 1670207 h 3467518"/>
                <a:gd name="connsiteX121" fmla="*/ 1062024 w 2604807"/>
                <a:gd name="connsiteY121" fmla="*/ 1562725 h 3467518"/>
                <a:gd name="connsiteX122" fmla="*/ 1235971 w 2604807"/>
                <a:gd name="connsiteY122" fmla="*/ 1392924 h 3467518"/>
                <a:gd name="connsiteX123" fmla="*/ 1248010 w 2604807"/>
                <a:gd name="connsiteY123" fmla="*/ 1385137 h 3467518"/>
                <a:gd name="connsiteX124" fmla="*/ 1269758 w 2604807"/>
                <a:gd name="connsiteY124" fmla="*/ 1370314 h 3467518"/>
                <a:gd name="connsiteX125" fmla="*/ 1312823 w 2604807"/>
                <a:gd name="connsiteY125" fmla="*/ 1365620 h 3467518"/>
                <a:gd name="connsiteX126" fmla="*/ 0 w 2604807"/>
                <a:gd name="connsiteY126" fmla="*/ 1186374 h 3467518"/>
                <a:gd name="connsiteX127" fmla="*/ 2604807 w 2604807"/>
                <a:gd name="connsiteY127" fmla="*/ 1186374 h 3467518"/>
                <a:gd name="connsiteX128" fmla="*/ 2604807 w 2604807"/>
                <a:gd name="connsiteY128" fmla="*/ 1236561 h 3467518"/>
                <a:gd name="connsiteX129" fmla="*/ 0 w 2604807"/>
                <a:gd name="connsiteY129" fmla="*/ 1236561 h 3467518"/>
                <a:gd name="connsiteX130" fmla="*/ 1268290 w 2604807"/>
                <a:gd name="connsiteY130" fmla="*/ 495116 h 3467518"/>
                <a:gd name="connsiteX131" fmla="*/ 844588 w 2604807"/>
                <a:gd name="connsiteY131" fmla="*/ 655116 h 3467518"/>
                <a:gd name="connsiteX132" fmla="*/ 844588 w 2604807"/>
                <a:gd name="connsiteY132" fmla="*/ 768801 h 3467518"/>
                <a:gd name="connsiteX133" fmla="*/ 1702417 w 2604807"/>
                <a:gd name="connsiteY133" fmla="*/ 768801 h 3467518"/>
                <a:gd name="connsiteX134" fmla="*/ 1702417 w 2604807"/>
                <a:gd name="connsiteY134" fmla="*/ 659053 h 3467518"/>
                <a:gd name="connsiteX135" fmla="*/ 844588 w 2604807"/>
                <a:gd name="connsiteY135" fmla="*/ 148851 h 3467518"/>
                <a:gd name="connsiteX136" fmla="*/ 844588 w 2604807"/>
                <a:gd name="connsiteY136" fmla="*/ 286246 h 3467518"/>
                <a:gd name="connsiteX137" fmla="*/ 1268290 w 2604807"/>
                <a:gd name="connsiteY137" fmla="*/ 446246 h 3467518"/>
                <a:gd name="connsiteX138" fmla="*/ 1702417 w 2604807"/>
                <a:gd name="connsiteY138" fmla="*/ 282309 h 3467518"/>
                <a:gd name="connsiteX139" fmla="*/ 1702417 w 2604807"/>
                <a:gd name="connsiteY139" fmla="*/ 148851 h 3467518"/>
                <a:gd name="connsiteX140" fmla="*/ 320128 w 2604807"/>
                <a:gd name="connsiteY140" fmla="*/ 0 h 3467518"/>
                <a:gd name="connsiteX141" fmla="*/ 817747 w 2604807"/>
                <a:gd name="connsiteY141" fmla="*/ 0 h 3467518"/>
                <a:gd name="connsiteX142" fmla="*/ 844588 w 2604807"/>
                <a:gd name="connsiteY142" fmla="*/ 26841 h 3467518"/>
                <a:gd name="connsiteX143" fmla="*/ 844588 w 2604807"/>
                <a:gd name="connsiteY143" fmla="*/ 103132 h 3467518"/>
                <a:gd name="connsiteX144" fmla="*/ 1702417 w 2604807"/>
                <a:gd name="connsiteY144" fmla="*/ 103132 h 3467518"/>
                <a:gd name="connsiteX145" fmla="*/ 1702417 w 2604807"/>
                <a:gd name="connsiteY145" fmla="*/ 26841 h 3467518"/>
                <a:gd name="connsiteX146" fmla="*/ 1729258 w 2604807"/>
                <a:gd name="connsiteY146" fmla="*/ 0 h 3467518"/>
                <a:gd name="connsiteX147" fmla="*/ 2226877 w 2604807"/>
                <a:gd name="connsiteY147" fmla="*/ 0 h 3467518"/>
                <a:gd name="connsiteX148" fmla="*/ 2253718 w 2604807"/>
                <a:gd name="connsiteY148" fmla="*/ 26841 h 3467518"/>
                <a:gd name="connsiteX149" fmla="*/ 2253718 w 2604807"/>
                <a:gd name="connsiteY149" fmla="*/ 300452 h 3467518"/>
                <a:gd name="connsiteX150" fmla="*/ 2226877 w 2604807"/>
                <a:gd name="connsiteY150" fmla="*/ 327293 h 3467518"/>
                <a:gd name="connsiteX151" fmla="*/ 1729258 w 2604807"/>
                <a:gd name="connsiteY151" fmla="*/ 327293 h 3467518"/>
                <a:gd name="connsiteX152" fmla="*/ 1721366 w 2604807"/>
                <a:gd name="connsiteY152" fmla="*/ 324024 h 3467518"/>
                <a:gd name="connsiteX153" fmla="*/ 1332997 w 2604807"/>
                <a:gd name="connsiteY153" fmla="*/ 470681 h 3467518"/>
                <a:gd name="connsiteX154" fmla="*/ 1722622 w 2604807"/>
                <a:gd name="connsiteY154" fmla="*/ 617813 h 3467518"/>
                <a:gd name="connsiteX155" fmla="*/ 1729258 w 2604807"/>
                <a:gd name="connsiteY155" fmla="*/ 615064 h 3467518"/>
                <a:gd name="connsiteX156" fmla="*/ 2226877 w 2604807"/>
                <a:gd name="connsiteY156" fmla="*/ 615064 h 3467518"/>
                <a:gd name="connsiteX157" fmla="*/ 2253718 w 2604807"/>
                <a:gd name="connsiteY157" fmla="*/ 641905 h 3467518"/>
                <a:gd name="connsiteX158" fmla="*/ 2253718 w 2604807"/>
                <a:gd name="connsiteY158" fmla="*/ 915516 h 3467518"/>
                <a:gd name="connsiteX159" fmla="*/ 2226877 w 2604807"/>
                <a:gd name="connsiteY159" fmla="*/ 942357 h 3467518"/>
                <a:gd name="connsiteX160" fmla="*/ 1729258 w 2604807"/>
                <a:gd name="connsiteY160" fmla="*/ 942357 h 3467518"/>
                <a:gd name="connsiteX161" fmla="*/ 1702417 w 2604807"/>
                <a:gd name="connsiteY161" fmla="*/ 915516 h 3467518"/>
                <a:gd name="connsiteX162" fmla="*/ 1702417 w 2604807"/>
                <a:gd name="connsiteY162" fmla="*/ 814520 h 3467518"/>
                <a:gd name="connsiteX163" fmla="*/ 844588 w 2604807"/>
                <a:gd name="connsiteY163" fmla="*/ 814520 h 3467518"/>
                <a:gd name="connsiteX164" fmla="*/ 844588 w 2604807"/>
                <a:gd name="connsiteY164" fmla="*/ 915516 h 3467518"/>
                <a:gd name="connsiteX165" fmla="*/ 817747 w 2604807"/>
                <a:gd name="connsiteY165" fmla="*/ 942357 h 3467518"/>
                <a:gd name="connsiteX166" fmla="*/ 320128 w 2604807"/>
                <a:gd name="connsiteY166" fmla="*/ 942357 h 3467518"/>
                <a:gd name="connsiteX167" fmla="*/ 293287 w 2604807"/>
                <a:gd name="connsiteY167" fmla="*/ 915516 h 3467518"/>
                <a:gd name="connsiteX168" fmla="*/ 293287 w 2604807"/>
                <a:gd name="connsiteY168" fmla="*/ 641905 h 3467518"/>
                <a:gd name="connsiteX169" fmla="*/ 320128 w 2604807"/>
                <a:gd name="connsiteY169" fmla="*/ 615064 h 3467518"/>
                <a:gd name="connsiteX170" fmla="*/ 817747 w 2604807"/>
                <a:gd name="connsiteY170" fmla="*/ 615064 h 3467518"/>
                <a:gd name="connsiteX171" fmla="*/ 819412 w 2604807"/>
                <a:gd name="connsiteY171" fmla="*/ 615753 h 3467518"/>
                <a:gd name="connsiteX172" fmla="*/ 1203583 w 2604807"/>
                <a:gd name="connsiteY172" fmla="*/ 470681 h 3467518"/>
                <a:gd name="connsiteX173" fmla="*/ 820668 w 2604807"/>
                <a:gd name="connsiteY173" fmla="*/ 326083 h 3467518"/>
                <a:gd name="connsiteX174" fmla="*/ 817747 w 2604807"/>
                <a:gd name="connsiteY174" fmla="*/ 327293 h 3467518"/>
                <a:gd name="connsiteX175" fmla="*/ 320128 w 2604807"/>
                <a:gd name="connsiteY175" fmla="*/ 327293 h 3467518"/>
                <a:gd name="connsiteX176" fmla="*/ 293287 w 2604807"/>
                <a:gd name="connsiteY176" fmla="*/ 300452 h 3467518"/>
                <a:gd name="connsiteX177" fmla="*/ 293287 w 2604807"/>
                <a:gd name="connsiteY177" fmla="*/ 26841 h 3467518"/>
                <a:gd name="connsiteX178" fmla="*/ 320128 w 2604807"/>
                <a:gd name="connsiteY178" fmla="*/ 0 h 3467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</a:cxnLst>
              <a:rect l="l" t="t" r="r" b="b"/>
              <a:pathLst>
                <a:path w="2604807" h="3467518">
                  <a:moveTo>
                    <a:pt x="1652616" y="2490730"/>
                  </a:moveTo>
                  <a:lnTo>
                    <a:pt x="1632470" y="2512169"/>
                  </a:lnTo>
                  <a:lnTo>
                    <a:pt x="1608537" y="2583085"/>
                  </a:lnTo>
                  <a:cubicBezTo>
                    <a:pt x="1571604" y="2659735"/>
                    <a:pt x="1507611" y="2720892"/>
                    <a:pt x="1428950" y="2754162"/>
                  </a:cubicBezTo>
                  <a:lnTo>
                    <a:pt x="1377054" y="2770273"/>
                  </a:lnTo>
                  <a:lnTo>
                    <a:pt x="1371377" y="2775717"/>
                  </a:lnTo>
                  <a:lnTo>
                    <a:pt x="1371377" y="2820399"/>
                  </a:lnTo>
                  <a:lnTo>
                    <a:pt x="1439686" y="2880849"/>
                  </a:lnTo>
                  <a:cubicBezTo>
                    <a:pt x="1735502" y="3130318"/>
                    <a:pt x="1983537" y="3265304"/>
                    <a:pt x="2050891" y="3198631"/>
                  </a:cubicBezTo>
                  <a:cubicBezTo>
                    <a:pt x="2118245" y="3131958"/>
                    <a:pt x="1985789" y="2882563"/>
                    <a:pt x="1739344" y="2584224"/>
                  </a:cubicBezTo>
                  <a:lnTo>
                    <a:pt x="1658286" y="2490730"/>
                  </a:lnTo>
                  <a:close/>
                  <a:moveTo>
                    <a:pt x="932653" y="2490730"/>
                  </a:moveTo>
                  <a:lnTo>
                    <a:pt x="851595" y="2584224"/>
                  </a:lnTo>
                  <a:cubicBezTo>
                    <a:pt x="605149" y="2882563"/>
                    <a:pt x="472694" y="3131958"/>
                    <a:pt x="540047" y="3198631"/>
                  </a:cubicBezTo>
                  <a:cubicBezTo>
                    <a:pt x="607402" y="3265304"/>
                    <a:pt x="855437" y="3130318"/>
                    <a:pt x="1151253" y="2880849"/>
                  </a:cubicBezTo>
                  <a:lnTo>
                    <a:pt x="1219364" y="2820574"/>
                  </a:lnTo>
                  <a:lnTo>
                    <a:pt x="1219364" y="2775527"/>
                  </a:lnTo>
                  <a:lnTo>
                    <a:pt x="1216767" y="2773037"/>
                  </a:lnTo>
                  <a:lnTo>
                    <a:pt x="1155963" y="2754162"/>
                  </a:lnTo>
                  <a:cubicBezTo>
                    <a:pt x="1077303" y="2720892"/>
                    <a:pt x="1013309" y="2659735"/>
                    <a:pt x="976376" y="2583085"/>
                  </a:cubicBezTo>
                  <a:lnTo>
                    <a:pt x="949068" y="2502164"/>
                  </a:lnTo>
                  <a:lnTo>
                    <a:pt x="938323" y="2490730"/>
                  </a:lnTo>
                  <a:close/>
                  <a:moveTo>
                    <a:pt x="2002768" y="1655407"/>
                  </a:moveTo>
                  <a:cubicBezTo>
                    <a:pt x="1894364" y="1653767"/>
                    <a:pt x="1664586" y="1795398"/>
                    <a:pt x="1402466" y="2021898"/>
                  </a:cubicBezTo>
                  <a:lnTo>
                    <a:pt x="1371377" y="2049888"/>
                  </a:lnTo>
                  <a:lnTo>
                    <a:pt x="1371377" y="2084924"/>
                  </a:lnTo>
                  <a:lnTo>
                    <a:pt x="1370396" y="2089779"/>
                  </a:lnTo>
                  <a:lnTo>
                    <a:pt x="1428950" y="2107955"/>
                  </a:lnTo>
                  <a:cubicBezTo>
                    <a:pt x="1512854" y="2143444"/>
                    <a:pt x="1580071" y="2210661"/>
                    <a:pt x="1615560" y="2294565"/>
                  </a:cubicBezTo>
                  <a:lnTo>
                    <a:pt x="1629265" y="2338718"/>
                  </a:lnTo>
                  <a:lnTo>
                    <a:pt x="1694285" y="2338718"/>
                  </a:lnTo>
                  <a:lnTo>
                    <a:pt x="1739340" y="2286749"/>
                  </a:lnTo>
                  <a:cubicBezTo>
                    <a:pt x="1985786" y="1988410"/>
                    <a:pt x="2118241" y="1739016"/>
                    <a:pt x="2050887" y="1672344"/>
                  </a:cubicBezTo>
                  <a:cubicBezTo>
                    <a:pt x="2039661" y="1661231"/>
                    <a:pt x="2023416" y="1655720"/>
                    <a:pt x="2002768" y="1655407"/>
                  </a:cubicBezTo>
                  <a:close/>
                  <a:moveTo>
                    <a:pt x="588171" y="1655407"/>
                  </a:moveTo>
                  <a:cubicBezTo>
                    <a:pt x="567522" y="1655720"/>
                    <a:pt x="551278" y="1661231"/>
                    <a:pt x="540052" y="1672344"/>
                  </a:cubicBezTo>
                  <a:cubicBezTo>
                    <a:pt x="472697" y="1739016"/>
                    <a:pt x="605153" y="1988410"/>
                    <a:pt x="851599" y="2286749"/>
                  </a:cubicBezTo>
                  <a:lnTo>
                    <a:pt x="896654" y="2338718"/>
                  </a:lnTo>
                  <a:lnTo>
                    <a:pt x="955648" y="2338718"/>
                  </a:lnTo>
                  <a:lnTo>
                    <a:pt x="969353" y="2294565"/>
                  </a:lnTo>
                  <a:cubicBezTo>
                    <a:pt x="1004842" y="2210661"/>
                    <a:pt x="1072059" y="2143444"/>
                    <a:pt x="1155963" y="2107955"/>
                  </a:cubicBezTo>
                  <a:lnTo>
                    <a:pt x="1220001" y="2088076"/>
                  </a:lnTo>
                  <a:lnTo>
                    <a:pt x="1219364" y="2084925"/>
                  </a:lnTo>
                  <a:lnTo>
                    <a:pt x="1219364" y="2049710"/>
                  </a:lnTo>
                  <a:lnTo>
                    <a:pt x="1188473" y="2021898"/>
                  </a:lnTo>
                  <a:cubicBezTo>
                    <a:pt x="926353" y="1795398"/>
                    <a:pt x="696575" y="1653767"/>
                    <a:pt x="588171" y="1655407"/>
                  </a:cubicBezTo>
                  <a:close/>
                  <a:moveTo>
                    <a:pt x="1312823" y="1365620"/>
                  </a:moveTo>
                  <a:cubicBezTo>
                    <a:pt x="1327228" y="1368229"/>
                    <a:pt x="1341035" y="1375019"/>
                    <a:pt x="1352300" y="1386014"/>
                  </a:cubicBezTo>
                  <a:lnTo>
                    <a:pt x="1526247" y="1555814"/>
                  </a:lnTo>
                  <a:cubicBezTo>
                    <a:pt x="1541267" y="1570476"/>
                    <a:pt x="1548921" y="1589837"/>
                    <a:pt x="1549155" y="1609286"/>
                  </a:cubicBezTo>
                  <a:cubicBezTo>
                    <a:pt x="1549391" y="1628736"/>
                    <a:pt x="1542205" y="1648277"/>
                    <a:pt x="1527543" y="1663296"/>
                  </a:cubicBezTo>
                  <a:cubicBezTo>
                    <a:pt x="1498221" y="1693334"/>
                    <a:pt x="1450102" y="1693915"/>
                    <a:pt x="1420061" y="1664593"/>
                  </a:cubicBezTo>
                  <a:lnTo>
                    <a:pt x="1371377" y="1617067"/>
                  </a:lnTo>
                  <a:lnTo>
                    <a:pt x="1371377" y="1960011"/>
                  </a:lnTo>
                  <a:lnTo>
                    <a:pt x="1376260" y="1955719"/>
                  </a:lnTo>
                  <a:cubicBezTo>
                    <a:pt x="1663009" y="1715958"/>
                    <a:pt x="1920802" y="1573472"/>
                    <a:pt x="2050152" y="1587664"/>
                  </a:cubicBezTo>
                  <a:cubicBezTo>
                    <a:pt x="2074790" y="1590367"/>
                    <a:pt x="2094767" y="1598755"/>
                    <a:pt x="2109397" y="1613236"/>
                  </a:cubicBezTo>
                  <a:cubicBezTo>
                    <a:pt x="2197179" y="1700129"/>
                    <a:pt x="2067516" y="1981759"/>
                    <a:pt x="1807557" y="2308725"/>
                  </a:cubicBezTo>
                  <a:lnTo>
                    <a:pt x="1782269" y="2338718"/>
                  </a:lnTo>
                  <a:lnTo>
                    <a:pt x="2093024" y="2338718"/>
                  </a:lnTo>
                  <a:lnTo>
                    <a:pt x="2045500" y="2290033"/>
                  </a:lnTo>
                  <a:cubicBezTo>
                    <a:pt x="2016178" y="2259994"/>
                    <a:pt x="2016758" y="2211873"/>
                    <a:pt x="2046797" y="2182551"/>
                  </a:cubicBezTo>
                  <a:cubicBezTo>
                    <a:pt x="2061815" y="2167889"/>
                    <a:pt x="2081355" y="2160703"/>
                    <a:pt x="2100805" y="2160939"/>
                  </a:cubicBezTo>
                  <a:cubicBezTo>
                    <a:pt x="2120256" y="2161173"/>
                    <a:pt x="2139617" y="2168828"/>
                    <a:pt x="2154279" y="2183848"/>
                  </a:cubicBezTo>
                  <a:lnTo>
                    <a:pt x="2324077" y="2357794"/>
                  </a:lnTo>
                  <a:cubicBezTo>
                    <a:pt x="2346069" y="2380323"/>
                    <a:pt x="2351240" y="2413023"/>
                    <a:pt x="2339779" y="2440336"/>
                  </a:cubicBezTo>
                  <a:lnTo>
                    <a:pt x="2324955" y="2462085"/>
                  </a:lnTo>
                  <a:lnTo>
                    <a:pt x="2317168" y="2474125"/>
                  </a:lnTo>
                  <a:cubicBezTo>
                    <a:pt x="2260567" y="2532107"/>
                    <a:pt x="2203969" y="2590088"/>
                    <a:pt x="2147368" y="2648070"/>
                  </a:cubicBezTo>
                  <a:cubicBezTo>
                    <a:pt x="2118046" y="2678109"/>
                    <a:pt x="2069924" y="2678690"/>
                    <a:pt x="2039885" y="2649368"/>
                  </a:cubicBezTo>
                  <a:lnTo>
                    <a:pt x="2039888" y="2649368"/>
                  </a:lnTo>
                  <a:cubicBezTo>
                    <a:pt x="2009849" y="2620046"/>
                    <a:pt x="2009268" y="2571924"/>
                    <a:pt x="2038590" y="2541886"/>
                  </a:cubicBezTo>
                  <a:lnTo>
                    <a:pt x="2088525" y="2490732"/>
                  </a:lnTo>
                  <a:lnTo>
                    <a:pt x="1747259" y="2490730"/>
                  </a:lnTo>
                  <a:lnTo>
                    <a:pt x="1807558" y="2562251"/>
                  </a:lnTo>
                  <a:cubicBezTo>
                    <a:pt x="2067517" y="2889216"/>
                    <a:pt x="2197180" y="3170846"/>
                    <a:pt x="2109398" y="3257738"/>
                  </a:cubicBezTo>
                  <a:cubicBezTo>
                    <a:pt x="2021618" y="3344632"/>
                    <a:pt x="1741321" y="3212111"/>
                    <a:pt x="1417017" y="2948839"/>
                  </a:cubicBezTo>
                  <a:lnTo>
                    <a:pt x="1371377" y="2909558"/>
                  </a:lnTo>
                  <a:lnTo>
                    <a:pt x="1371377" y="3214849"/>
                  </a:lnTo>
                  <a:lnTo>
                    <a:pt x="1420061" y="3167323"/>
                  </a:lnTo>
                  <a:cubicBezTo>
                    <a:pt x="1450102" y="3138001"/>
                    <a:pt x="1498221" y="3138583"/>
                    <a:pt x="1527543" y="3168620"/>
                  </a:cubicBezTo>
                  <a:cubicBezTo>
                    <a:pt x="1542205" y="3183639"/>
                    <a:pt x="1549391" y="3203180"/>
                    <a:pt x="1549155" y="3222631"/>
                  </a:cubicBezTo>
                  <a:cubicBezTo>
                    <a:pt x="1548921" y="3242080"/>
                    <a:pt x="1541267" y="3261441"/>
                    <a:pt x="1526247" y="3276103"/>
                  </a:cubicBezTo>
                  <a:lnTo>
                    <a:pt x="1352300" y="3445902"/>
                  </a:lnTo>
                  <a:cubicBezTo>
                    <a:pt x="1329772" y="3467893"/>
                    <a:pt x="1297071" y="3473064"/>
                    <a:pt x="1269758" y="3461603"/>
                  </a:cubicBezTo>
                  <a:lnTo>
                    <a:pt x="1248010" y="3446779"/>
                  </a:lnTo>
                  <a:lnTo>
                    <a:pt x="1235971" y="3438992"/>
                  </a:lnTo>
                  <a:cubicBezTo>
                    <a:pt x="1177988" y="3382393"/>
                    <a:pt x="1120006" y="3325793"/>
                    <a:pt x="1062024" y="3269191"/>
                  </a:cubicBezTo>
                  <a:cubicBezTo>
                    <a:pt x="1031986" y="3239869"/>
                    <a:pt x="1031406" y="3191749"/>
                    <a:pt x="1060728" y="3161709"/>
                  </a:cubicBezTo>
                  <a:lnTo>
                    <a:pt x="1060728" y="3161712"/>
                  </a:lnTo>
                  <a:cubicBezTo>
                    <a:pt x="1090050" y="3131675"/>
                    <a:pt x="1138171" y="3131093"/>
                    <a:pt x="1168208" y="3160415"/>
                  </a:cubicBezTo>
                  <a:lnTo>
                    <a:pt x="1219364" y="3210349"/>
                  </a:lnTo>
                  <a:lnTo>
                    <a:pt x="1219364" y="2909728"/>
                  </a:lnTo>
                  <a:lnTo>
                    <a:pt x="1173920" y="2948839"/>
                  </a:lnTo>
                  <a:cubicBezTo>
                    <a:pt x="849618" y="3212111"/>
                    <a:pt x="569321" y="3344632"/>
                    <a:pt x="481539" y="3257738"/>
                  </a:cubicBezTo>
                  <a:cubicBezTo>
                    <a:pt x="393758" y="3170846"/>
                    <a:pt x="523421" y="2889216"/>
                    <a:pt x="783380" y="2562251"/>
                  </a:cubicBezTo>
                  <a:lnTo>
                    <a:pt x="843680" y="2490730"/>
                  </a:lnTo>
                  <a:lnTo>
                    <a:pt x="516283" y="2490732"/>
                  </a:lnTo>
                  <a:lnTo>
                    <a:pt x="566217" y="2541886"/>
                  </a:lnTo>
                  <a:cubicBezTo>
                    <a:pt x="595539" y="2571924"/>
                    <a:pt x="594959" y="2620046"/>
                    <a:pt x="564920" y="2649368"/>
                  </a:cubicBezTo>
                  <a:lnTo>
                    <a:pt x="564923" y="2649368"/>
                  </a:lnTo>
                  <a:cubicBezTo>
                    <a:pt x="534884" y="2678690"/>
                    <a:pt x="486763" y="2678109"/>
                    <a:pt x="457441" y="2648070"/>
                  </a:cubicBezTo>
                  <a:cubicBezTo>
                    <a:pt x="400840" y="2590088"/>
                    <a:pt x="344240" y="2532107"/>
                    <a:pt x="287640" y="2474125"/>
                  </a:cubicBezTo>
                  <a:lnTo>
                    <a:pt x="279853" y="2462085"/>
                  </a:lnTo>
                  <a:lnTo>
                    <a:pt x="265030" y="2440336"/>
                  </a:lnTo>
                  <a:cubicBezTo>
                    <a:pt x="253568" y="2413023"/>
                    <a:pt x="258739" y="2380323"/>
                    <a:pt x="280732" y="2357794"/>
                  </a:cubicBezTo>
                  <a:lnTo>
                    <a:pt x="450530" y="2183848"/>
                  </a:lnTo>
                  <a:cubicBezTo>
                    <a:pt x="465191" y="2168828"/>
                    <a:pt x="484553" y="2161173"/>
                    <a:pt x="504002" y="2160939"/>
                  </a:cubicBezTo>
                  <a:cubicBezTo>
                    <a:pt x="523452" y="2160703"/>
                    <a:pt x="542993" y="2167889"/>
                    <a:pt x="558012" y="2182551"/>
                  </a:cubicBezTo>
                  <a:cubicBezTo>
                    <a:pt x="588049" y="2211873"/>
                    <a:pt x="588631" y="2259994"/>
                    <a:pt x="559309" y="2290033"/>
                  </a:cubicBezTo>
                  <a:lnTo>
                    <a:pt x="511783" y="2338718"/>
                  </a:lnTo>
                  <a:lnTo>
                    <a:pt x="808670" y="2338718"/>
                  </a:lnTo>
                  <a:lnTo>
                    <a:pt x="783382" y="2308725"/>
                  </a:lnTo>
                  <a:cubicBezTo>
                    <a:pt x="523423" y="1981759"/>
                    <a:pt x="393760" y="1700129"/>
                    <a:pt x="481540" y="1613236"/>
                  </a:cubicBezTo>
                  <a:cubicBezTo>
                    <a:pt x="496172" y="1598755"/>
                    <a:pt x="516149" y="1590367"/>
                    <a:pt x="540787" y="1587664"/>
                  </a:cubicBezTo>
                  <a:cubicBezTo>
                    <a:pt x="670136" y="1573472"/>
                    <a:pt x="927930" y="1715958"/>
                    <a:pt x="1214679" y="1955719"/>
                  </a:cubicBezTo>
                  <a:lnTo>
                    <a:pt x="1219364" y="1959837"/>
                  </a:lnTo>
                  <a:lnTo>
                    <a:pt x="1219364" y="1621567"/>
                  </a:lnTo>
                  <a:lnTo>
                    <a:pt x="1168208" y="1671501"/>
                  </a:lnTo>
                  <a:cubicBezTo>
                    <a:pt x="1138171" y="1700823"/>
                    <a:pt x="1090050" y="1700242"/>
                    <a:pt x="1060728" y="1670204"/>
                  </a:cubicBezTo>
                  <a:lnTo>
                    <a:pt x="1060728" y="1670207"/>
                  </a:lnTo>
                  <a:cubicBezTo>
                    <a:pt x="1031406" y="1640167"/>
                    <a:pt x="1031986" y="1592047"/>
                    <a:pt x="1062024" y="1562725"/>
                  </a:cubicBezTo>
                  <a:cubicBezTo>
                    <a:pt x="1120006" y="1506124"/>
                    <a:pt x="1177988" y="1449524"/>
                    <a:pt x="1235971" y="1392924"/>
                  </a:cubicBezTo>
                  <a:lnTo>
                    <a:pt x="1248010" y="1385137"/>
                  </a:lnTo>
                  <a:lnTo>
                    <a:pt x="1269758" y="1370314"/>
                  </a:lnTo>
                  <a:cubicBezTo>
                    <a:pt x="1283415" y="1364582"/>
                    <a:pt x="1298418" y="1363011"/>
                    <a:pt x="1312823" y="1365620"/>
                  </a:cubicBezTo>
                  <a:close/>
                  <a:moveTo>
                    <a:pt x="0" y="1186374"/>
                  </a:moveTo>
                  <a:lnTo>
                    <a:pt x="2604807" y="1186374"/>
                  </a:lnTo>
                  <a:lnTo>
                    <a:pt x="2604807" y="1236561"/>
                  </a:lnTo>
                  <a:lnTo>
                    <a:pt x="0" y="1236561"/>
                  </a:lnTo>
                  <a:close/>
                  <a:moveTo>
                    <a:pt x="1268290" y="495116"/>
                  </a:moveTo>
                  <a:lnTo>
                    <a:pt x="844588" y="655116"/>
                  </a:lnTo>
                  <a:lnTo>
                    <a:pt x="844588" y="768801"/>
                  </a:lnTo>
                  <a:lnTo>
                    <a:pt x="1702417" y="768801"/>
                  </a:lnTo>
                  <a:lnTo>
                    <a:pt x="1702417" y="659053"/>
                  </a:lnTo>
                  <a:close/>
                  <a:moveTo>
                    <a:pt x="844588" y="148851"/>
                  </a:moveTo>
                  <a:lnTo>
                    <a:pt x="844588" y="286246"/>
                  </a:lnTo>
                  <a:lnTo>
                    <a:pt x="1268290" y="446246"/>
                  </a:lnTo>
                  <a:lnTo>
                    <a:pt x="1702417" y="282309"/>
                  </a:lnTo>
                  <a:lnTo>
                    <a:pt x="1702417" y="148851"/>
                  </a:lnTo>
                  <a:close/>
                  <a:moveTo>
                    <a:pt x="320128" y="0"/>
                  </a:moveTo>
                  <a:lnTo>
                    <a:pt x="817747" y="0"/>
                  </a:lnTo>
                  <a:cubicBezTo>
                    <a:pt x="832571" y="0"/>
                    <a:pt x="844588" y="12017"/>
                    <a:pt x="844588" y="26841"/>
                  </a:cubicBezTo>
                  <a:lnTo>
                    <a:pt x="844588" y="103132"/>
                  </a:lnTo>
                  <a:lnTo>
                    <a:pt x="1702417" y="103132"/>
                  </a:lnTo>
                  <a:lnTo>
                    <a:pt x="1702417" y="26841"/>
                  </a:lnTo>
                  <a:cubicBezTo>
                    <a:pt x="1702417" y="12017"/>
                    <a:pt x="1714434" y="0"/>
                    <a:pt x="1729258" y="0"/>
                  </a:cubicBezTo>
                  <a:lnTo>
                    <a:pt x="2226877" y="0"/>
                  </a:lnTo>
                  <a:cubicBezTo>
                    <a:pt x="2241701" y="0"/>
                    <a:pt x="2253718" y="12017"/>
                    <a:pt x="2253718" y="26841"/>
                  </a:cubicBezTo>
                  <a:lnTo>
                    <a:pt x="2253718" y="300452"/>
                  </a:lnTo>
                  <a:cubicBezTo>
                    <a:pt x="2253718" y="315276"/>
                    <a:pt x="2241701" y="327293"/>
                    <a:pt x="2226877" y="327293"/>
                  </a:cubicBezTo>
                  <a:lnTo>
                    <a:pt x="1729258" y="327293"/>
                  </a:lnTo>
                  <a:lnTo>
                    <a:pt x="1721366" y="324024"/>
                  </a:lnTo>
                  <a:lnTo>
                    <a:pt x="1332997" y="470681"/>
                  </a:lnTo>
                  <a:lnTo>
                    <a:pt x="1722622" y="617813"/>
                  </a:lnTo>
                  <a:lnTo>
                    <a:pt x="1729258" y="615064"/>
                  </a:lnTo>
                  <a:lnTo>
                    <a:pt x="2226877" y="615064"/>
                  </a:lnTo>
                  <a:cubicBezTo>
                    <a:pt x="2241701" y="615064"/>
                    <a:pt x="2253718" y="627081"/>
                    <a:pt x="2253718" y="641905"/>
                  </a:cubicBezTo>
                  <a:lnTo>
                    <a:pt x="2253718" y="915516"/>
                  </a:lnTo>
                  <a:cubicBezTo>
                    <a:pt x="2253718" y="930340"/>
                    <a:pt x="2241701" y="942357"/>
                    <a:pt x="2226877" y="942357"/>
                  </a:cubicBezTo>
                  <a:lnTo>
                    <a:pt x="1729258" y="942357"/>
                  </a:lnTo>
                  <a:cubicBezTo>
                    <a:pt x="1714434" y="942357"/>
                    <a:pt x="1702417" y="930340"/>
                    <a:pt x="1702417" y="915516"/>
                  </a:cubicBezTo>
                  <a:lnTo>
                    <a:pt x="1702417" y="814520"/>
                  </a:lnTo>
                  <a:lnTo>
                    <a:pt x="844588" y="814520"/>
                  </a:lnTo>
                  <a:lnTo>
                    <a:pt x="844588" y="915516"/>
                  </a:lnTo>
                  <a:cubicBezTo>
                    <a:pt x="844588" y="930340"/>
                    <a:pt x="832571" y="942357"/>
                    <a:pt x="817747" y="942357"/>
                  </a:cubicBezTo>
                  <a:lnTo>
                    <a:pt x="320128" y="942357"/>
                  </a:lnTo>
                  <a:cubicBezTo>
                    <a:pt x="305304" y="942357"/>
                    <a:pt x="293287" y="930340"/>
                    <a:pt x="293287" y="915516"/>
                  </a:cubicBezTo>
                  <a:lnTo>
                    <a:pt x="293287" y="641905"/>
                  </a:lnTo>
                  <a:cubicBezTo>
                    <a:pt x="293287" y="627081"/>
                    <a:pt x="305304" y="615064"/>
                    <a:pt x="320128" y="615064"/>
                  </a:cubicBezTo>
                  <a:lnTo>
                    <a:pt x="817747" y="615064"/>
                  </a:lnTo>
                  <a:lnTo>
                    <a:pt x="819412" y="615753"/>
                  </a:lnTo>
                  <a:lnTo>
                    <a:pt x="1203583" y="470681"/>
                  </a:lnTo>
                  <a:lnTo>
                    <a:pt x="820668" y="326083"/>
                  </a:lnTo>
                  <a:lnTo>
                    <a:pt x="817747" y="327293"/>
                  </a:lnTo>
                  <a:lnTo>
                    <a:pt x="320128" y="327293"/>
                  </a:lnTo>
                  <a:cubicBezTo>
                    <a:pt x="305304" y="327293"/>
                    <a:pt x="293287" y="315276"/>
                    <a:pt x="293287" y="300452"/>
                  </a:cubicBezTo>
                  <a:lnTo>
                    <a:pt x="293287" y="26841"/>
                  </a:lnTo>
                  <a:cubicBezTo>
                    <a:pt x="293287" y="12017"/>
                    <a:pt x="305304" y="0"/>
                    <a:pt x="320128" y="0"/>
                  </a:cubicBezTo>
                  <a:close/>
                </a:path>
              </a:pathLst>
            </a:cu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kern="0">
                <a:solidFill>
                  <a:srgbClr val="2968AF">
                    <a:lumMod val="50000"/>
                  </a:srgbClr>
                </a:solidFill>
                <a:latin typeface="Arial"/>
              </a:endParaRPr>
            </a:p>
          </p:txBody>
        </p:sp>
      </p:grpSp>
      <p:grpSp>
        <p:nvGrpSpPr>
          <p:cNvPr id="225" name="Group 224"/>
          <p:cNvGrpSpPr/>
          <p:nvPr/>
        </p:nvGrpSpPr>
        <p:grpSpPr>
          <a:xfrm>
            <a:off x="2136976" y="2617072"/>
            <a:ext cx="322331" cy="320040"/>
            <a:chOff x="1335593" y="3948512"/>
            <a:chExt cx="322331" cy="320040"/>
          </a:xfrm>
        </p:grpSpPr>
        <p:sp>
          <p:nvSpPr>
            <p:cNvPr id="226" name="Rounded Rectangle 225"/>
            <p:cNvSpPr/>
            <p:nvPr/>
          </p:nvSpPr>
          <p:spPr bwMode="auto">
            <a:xfrm>
              <a:off x="1335593" y="3948512"/>
              <a:ext cx="322331" cy="320040"/>
            </a:xfrm>
            <a:prstGeom prst="roundRect">
              <a:avLst>
                <a:gd name="adj" fmla="val 4802"/>
              </a:avLst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kern="0" dirty="0" err="1">
                <a:solidFill>
                  <a:srgbClr val="2968AF">
                    <a:lumMod val="50000"/>
                  </a:srgbClr>
                </a:solidFill>
                <a:latin typeface="Arial"/>
                <a:sym typeface="Arial" pitchFamily="-107" charset="0"/>
              </a:endParaRPr>
            </a:p>
          </p:txBody>
        </p:sp>
        <p:sp>
          <p:nvSpPr>
            <p:cNvPr id="227" name="Freeform 226"/>
            <p:cNvSpPr>
              <a:spLocks noChangeAspect="1"/>
            </p:cNvSpPr>
            <p:nvPr/>
          </p:nvSpPr>
          <p:spPr>
            <a:xfrm rot="5400000">
              <a:off x="1365177" y="3982426"/>
              <a:ext cx="261643" cy="259585"/>
            </a:xfrm>
            <a:custGeom>
              <a:avLst/>
              <a:gdLst>
                <a:gd name="connsiteX0" fmla="*/ 807698 w 1508157"/>
                <a:gd name="connsiteY0" fmla="*/ 497010 h 1496297"/>
                <a:gd name="connsiteX1" fmla="*/ 823072 w 1508157"/>
                <a:gd name="connsiteY1" fmla="*/ 511457 h 1496297"/>
                <a:gd name="connsiteX2" fmla="*/ 873926 w 1508157"/>
                <a:gd name="connsiteY2" fmla="*/ 528619 h 1496297"/>
                <a:gd name="connsiteX3" fmla="*/ 996606 w 1508157"/>
                <a:gd name="connsiteY3" fmla="*/ 657402 h 1496297"/>
                <a:gd name="connsiteX4" fmla="*/ 1008159 w 1508157"/>
                <a:gd name="connsiteY4" fmla="*/ 694617 h 1496297"/>
                <a:gd name="connsiteX5" fmla="*/ 1012063 w 1508157"/>
                <a:gd name="connsiteY5" fmla="*/ 698688 h 1496297"/>
                <a:gd name="connsiteX6" fmla="*/ 1044105 w 1508157"/>
                <a:gd name="connsiteY6" fmla="*/ 698688 h 1496297"/>
                <a:gd name="connsiteX7" fmla="*/ 1087454 w 1508157"/>
                <a:gd name="connsiteY7" fmla="*/ 649703 h 1496297"/>
                <a:gd name="connsiteX8" fmla="*/ 1315337 w 1508157"/>
                <a:gd name="connsiteY8" fmla="*/ 211405 h 1496297"/>
                <a:gd name="connsiteX9" fmla="*/ 874743 w 1508157"/>
                <a:gd name="connsiteY9" fmla="*/ 434817 h 1496297"/>
                <a:gd name="connsiteX10" fmla="*/ 807698 w 1508157"/>
                <a:gd name="connsiteY10" fmla="*/ 492944 h 1496297"/>
                <a:gd name="connsiteX11" fmla="*/ 807698 w 1508157"/>
                <a:gd name="connsiteY11" fmla="*/ 1009233 h 1496297"/>
                <a:gd name="connsiteX12" fmla="*/ 807698 w 1508157"/>
                <a:gd name="connsiteY12" fmla="*/ 1013299 h 1496297"/>
                <a:gd name="connsiteX13" fmla="*/ 874743 w 1508157"/>
                <a:gd name="connsiteY13" fmla="*/ 1071426 h 1496297"/>
                <a:gd name="connsiteX14" fmla="*/ 1315337 w 1508157"/>
                <a:gd name="connsiteY14" fmla="*/ 1294839 h 1496297"/>
                <a:gd name="connsiteX15" fmla="*/ 1087454 w 1508157"/>
                <a:gd name="connsiteY15" fmla="*/ 856540 h 1496297"/>
                <a:gd name="connsiteX16" fmla="*/ 1044230 w 1508157"/>
                <a:gd name="connsiteY16" fmla="*/ 807697 h 1496297"/>
                <a:gd name="connsiteX17" fmla="*/ 1011927 w 1508157"/>
                <a:gd name="connsiteY17" fmla="*/ 807697 h 1496297"/>
                <a:gd name="connsiteX18" fmla="*/ 1010141 w 1508157"/>
                <a:gd name="connsiteY18" fmla="*/ 809559 h 1496297"/>
                <a:gd name="connsiteX19" fmla="*/ 996606 w 1508157"/>
                <a:gd name="connsiteY19" fmla="*/ 853162 h 1496297"/>
                <a:gd name="connsiteX20" fmla="*/ 873926 w 1508157"/>
                <a:gd name="connsiteY20" fmla="*/ 981945 h 1496297"/>
                <a:gd name="connsiteX21" fmla="*/ 815897 w 1508157"/>
                <a:gd name="connsiteY21" fmla="*/ 1001528 h 1496297"/>
                <a:gd name="connsiteX22" fmla="*/ 208684 w 1508157"/>
                <a:gd name="connsiteY22" fmla="*/ 245914 h 1496297"/>
                <a:gd name="connsiteX23" fmla="*/ 471496 w 1508157"/>
                <a:gd name="connsiteY23" fmla="*/ 676394 h 1496297"/>
                <a:gd name="connsiteX24" fmla="*/ 491568 w 1508157"/>
                <a:gd name="connsiteY24" fmla="*/ 698688 h 1496297"/>
                <a:gd name="connsiteX25" fmla="*/ 516692 w 1508157"/>
                <a:gd name="connsiteY25" fmla="*/ 698688 h 1496297"/>
                <a:gd name="connsiteX26" fmla="*/ 520174 w 1508157"/>
                <a:gd name="connsiteY26" fmla="*/ 699391 h 1496297"/>
                <a:gd name="connsiteX27" fmla="*/ 533208 w 1508157"/>
                <a:gd name="connsiteY27" fmla="*/ 657402 h 1496297"/>
                <a:gd name="connsiteX28" fmla="*/ 667027 w 1508157"/>
                <a:gd name="connsiteY28" fmla="*/ 523583 h 1496297"/>
                <a:gd name="connsiteX29" fmla="*/ 698689 w 1508157"/>
                <a:gd name="connsiteY29" fmla="*/ 513755 h 1496297"/>
                <a:gd name="connsiteX30" fmla="*/ 698689 w 1508157"/>
                <a:gd name="connsiteY30" fmla="*/ 467129 h 1496297"/>
                <a:gd name="connsiteX31" fmla="*/ 661422 w 1508157"/>
                <a:gd name="connsiteY31" fmla="*/ 434820 h 1496297"/>
                <a:gd name="connsiteX32" fmla="*/ 220829 w 1508157"/>
                <a:gd name="connsiteY32" fmla="*/ 211408 h 1496297"/>
                <a:gd name="connsiteX33" fmla="*/ 208684 w 1508157"/>
                <a:gd name="connsiteY33" fmla="*/ 245914 h 1496297"/>
                <a:gd name="connsiteX34" fmla="*/ 208684 w 1508157"/>
                <a:gd name="connsiteY34" fmla="*/ 1260329 h 1496297"/>
                <a:gd name="connsiteX35" fmla="*/ 220829 w 1508157"/>
                <a:gd name="connsiteY35" fmla="*/ 1294835 h 1496297"/>
                <a:gd name="connsiteX36" fmla="*/ 661422 w 1508157"/>
                <a:gd name="connsiteY36" fmla="*/ 1071423 h 1496297"/>
                <a:gd name="connsiteX37" fmla="*/ 698689 w 1508157"/>
                <a:gd name="connsiteY37" fmla="*/ 1039114 h 1496297"/>
                <a:gd name="connsiteX38" fmla="*/ 698689 w 1508157"/>
                <a:gd name="connsiteY38" fmla="*/ 996809 h 1496297"/>
                <a:gd name="connsiteX39" fmla="*/ 667027 w 1508157"/>
                <a:gd name="connsiteY39" fmla="*/ 986981 h 1496297"/>
                <a:gd name="connsiteX40" fmla="*/ 533208 w 1508157"/>
                <a:gd name="connsiteY40" fmla="*/ 853162 h 1496297"/>
                <a:gd name="connsiteX41" fmla="*/ 518953 w 1508157"/>
                <a:gd name="connsiteY41" fmla="*/ 807240 h 1496297"/>
                <a:gd name="connsiteX42" fmla="*/ 516693 w 1508157"/>
                <a:gd name="connsiteY42" fmla="*/ 807697 h 1496297"/>
                <a:gd name="connsiteX43" fmla="*/ 491440 w 1508157"/>
                <a:gd name="connsiteY43" fmla="*/ 807697 h 1496297"/>
                <a:gd name="connsiteX44" fmla="*/ 471496 w 1508157"/>
                <a:gd name="connsiteY44" fmla="*/ 829849 h 1496297"/>
                <a:gd name="connsiteX45" fmla="*/ 208684 w 1508157"/>
                <a:gd name="connsiteY45" fmla="*/ 1260329 h 1496297"/>
                <a:gd name="connsiteX46" fmla="*/ 876 w 1508157"/>
                <a:gd name="connsiteY46" fmla="*/ 740677 h 1496297"/>
                <a:gd name="connsiteX47" fmla="*/ 15501 w 1508157"/>
                <a:gd name="connsiteY47" fmla="*/ 712368 h 1496297"/>
                <a:gd name="connsiteX48" fmla="*/ 137265 w 1508157"/>
                <a:gd name="connsiteY48" fmla="*/ 587630 h 1496297"/>
                <a:gd name="connsiteX49" fmla="*/ 175610 w 1508157"/>
                <a:gd name="connsiteY49" fmla="*/ 571202 h 1496297"/>
                <a:gd name="connsiteX50" fmla="*/ 214341 w 1508157"/>
                <a:gd name="connsiteY50" fmla="*/ 586700 h 1496297"/>
                <a:gd name="connsiteX51" fmla="*/ 215271 w 1508157"/>
                <a:gd name="connsiteY51" fmla="*/ 663776 h 1496297"/>
                <a:gd name="connsiteX52" fmla="*/ 181190 w 1508157"/>
                <a:gd name="connsiteY52" fmla="*/ 698688 h 1496297"/>
                <a:gd name="connsiteX53" fmla="*/ 427117 w 1508157"/>
                <a:gd name="connsiteY53" fmla="*/ 698688 h 1496297"/>
                <a:gd name="connsiteX54" fmla="*/ 424039 w 1508157"/>
                <a:gd name="connsiteY54" fmla="*/ 695186 h 1496297"/>
                <a:gd name="connsiteX55" fmla="*/ 160105 w 1508157"/>
                <a:gd name="connsiteY55" fmla="*/ 211935 h 1496297"/>
                <a:gd name="connsiteX56" fmla="*/ 178443 w 1508157"/>
                <a:gd name="connsiteY56" fmla="*/ 169450 h 1496297"/>
                <a:gd name="connsiteX57" fmla="*/ 677181 w 1508157"/>
                <a:gd name="connsiteY57" fmla="*/ 385901 h 1496297"/>
                <a:gd name="connsiteX58" fmla="*/ 698689 w 1508157"/>
                <a:gd name="connsiteY58" fmla="*/ 404035 h 1496297"/>
                <a:gd name="connsiteX59" fmla="*/ 698689 w 1508157"/>
                <a:gd name="connsiteY59" fmla="*/ 181191 h 1496297"/>
                <a:gd name="connsiteX60" fmla="*/ 663777 w 1508157"/>
                <a:gd name="connsiteY60" fmla="*/ 215271 h 1496297"/>
                <a:gd name="connsiteX61" fmla="*/ 586701 w 1508157"/>
                <a:gd name="connsiteY61" fmla="*/ 214341 h 1496297"/>
                <a:gd name="connsiteX62" fmla="*/ 571203 w 1508157"/>
                <a:gd name="connsiteY62" fmla="*/ 175611 h 1496297"/>
                <a:gd name="connsiteX63" fmla="*/ 587631 w 1508157"/>
                <a:gd name="connsiteY63" fmla="*/ 137265 h 1496297"/>
                <a:gd name="connsiteX64" fmla="*/ 712369 w 1508157"/>
                <a:gd name="connsiteY64" fmla="*/ 15502 h 1496297"/>
                <a:gd name="connsiteX65" fmla="*/ 771560 w 1508157"/>
                <a:gd name="connsiteY65" fmla="*/ 4242 h 1496297"/>
                <a:gd name="connsiteX66" fmla="*/ 787156 w 1508157"/>
                <a:gd name="connsiteY66" fmla="*/ 14872 h 1496297"/>
                <a:gd name="connsiteX67" fmla="*/ 795790 w 1508157"/>
                <a:gd name="connsiteY67" fmla="*/ 20456 h 1496297"/>
                <a:gd name="connsiteX68" fmla="*/ 920527 w 1508157"/>
                <a:gd name="connsiteY68" fmla="*/ 142221 h 1496297"/>
                <a:gd name="connsiteX69" fmla="*/ 921458 w 1508157"/>
                <a:gd name="connsiteY69" fmla="*/ 219297 h 1496297"/>
                <a:gd name="connsiteX70" fmla="*/ 921458 w 1508157"/>
                <a:gd name="connsiteY70" fmla="*/ 219295 h 1496297"/>
                <a:gd name="connsiteX71" fmla="*/ 844382 w 1508157"/>
                <a:gd name="connsiteY71" fmla="*/ 220226 h 1496297"/>
                <a:gd name="connsiteX72" fmla="*/ 807699 w 1508157"/>
                <a:gd name="connsiteY72" fmla="*/ 184417 h 1496297"/>
                <a:gd name="connsiteX73" fmla="*/ 807698 w 1508157"/>
                <a:gd name="connsiteY73" fmla="*/ 429141 h 1496297"/>
                <a:gd name="connsiteX74" fmla="*/ 858986 w 1508157"/>
                <a:gd name="connsiteY74" fmla="*/ 385900 h 1496297"/>
                <a:gd name="connsiteX75" fmla="*/ 1357723 w 1508157"/>
                <a:gd name="connsiteY75" fmla="*/ 169449 h 1496297"/>
                <a:gd name="connsiteX76" fmla="*/ 1136210 w 1508157"/>
                <a:gd name="connsiteY76" fmla="*/ 665959 h 1496297"/>
                <a:gd name="connsiteX77" fmla="*/ 1108041 w 1508157"/>
                <a:gd name="connsiteY77" fmla="*/ 698688 h 1496297"/>
                <a:gd name="connsiteX78" fmla="*/ 1326967 w 1508157"/>
                <a:gd name="connsiteY78" fmla="*/ 698688 h 1496297"/>
                <a:gd name="connsiteX79" fmla="*/ 1292886 w 1508157"/>
                <a:gd name="connsiteY79" fmla="*/ 663776 h 1496297"/>
                <a:gd name="connsiteX80" fmla="*/ 1293816 w 1508157"/>
                <a:gd name="connsiteY80" fmla="*/ 586700 h 1496297"/>
                <a:gd name="connsiteX81" fmla="*/ 1332547 w 1508157"/>
                <a:gd name="connsiteY81" fmla="*/ 571202 h 1496297"/>
                <a:gd name="connsiteX82" fmla="*/ 1370892 w 1508157"/>
                <a:gd name="connsiteY82" fmla="*/ 587630 h 1496297"/>
                <a:gd name="connsiteX83" fmla="*/ 1492656 w 1508157"/>
                <a:gd name="connsiteY83" fmla="*/ 712368 h 1496297"/>
                <a:gd name="connsiteX84" fmla="*/ 1503915 w 1508157"/>
                <a:gd name="connsiteY84" fmla="*/ 771559 h 1496297"/>
                <a:gd name="connsiteX85" fmla="*/ 1493285 w 1508157"/>
                <a:gd name="connsiteY85" fmla="*/ 787155 h 1496297"/>
                <a:gd name="connsiteX86" fmla="*/ 1487701 w 1508157"/>
                <a:gd name="connsiteY86" fmla="*/ 795788 h 1496297"/>
                <a:gd name="connsiteX87" fmla="*/ 1365936 w 1508157"/>
                <a:gd name="connsiteY87" fmla="*/ 920526 h 1496297"/>
                <a:gd name="connsiteX88" fmla="*/ 1288860 w 1508157"/>
                <a:gd name="connsiteY88" fmla="*/ 921456 h 1496297"/>
                <a:gd name="connsiteX89" fmla="*/ 1288862 w 1508157"/>
                <a:gd name="connsiteY89" fmla="*/ 921456 h 1496297"/>
                <a:gd name="connsiteX90" fmla="*/ 1287932 w 1508157"/>
                <a:gd name="connsiteY90" fmla="*/ 844381 h 1496297"/>
                <a:gd name="connsiteX91" fmla="*/ 1323740 w 1508157"/>
                <a:gd name="connsiteY91" fmla="*/ 807697 h 1496297"/>
                <a:gd name="connsiteX92" fmla="*/ 1108163 w 1508157"/>
                <a:gd name="connsiteY92" fmla="*/ 807697 h 1496297"/>
                <a:gd name="connsiteX93" fmla="*/ 1136210 w 1508157"/>
                <a:gd name="connsiteY93" fmla="*/ 840285 h 1496297"/>
                <a:gd name="connsiteX94" fmla="*/ 1357723 w 1508157"/>
                <a:gd name="connsiteY94" fmla="*/ 1336795 h 1496297"/>
                <a:gd name="connsiteX95" fmla="*/ 858986 w 1508157"/>
                <a:gd name="connsiteY95" fmla="*/ 1120343 h 1496297"/>
                <a:gd name="connsiteX96" fmla="*/ 807698 w 1508157"/>
                <a:gd name="connsiteY96" fmla="*/ 1077102 h 1496297"/>
                <a:gd name="connsiteX97" fmla="*/ 807699 w 1508157"/>
                <a:gd name="connsiteY97" fmla="*/ 1311880 h 1496297"/>
                <a:gd name="connsiteX98" fmla="*/ 844382 w 1508157"/>
                <a:gd name="connsiteY98" fmla="*/ 1276072 h 1496297"/>
                <a:gd name="connsiteX99" fmla="*/ 921458 w 1508157"/>
                <a:gd name="connsiteY99" fmla="*/ 1277002 h 1496297"/>
                <a:gd name="connsiteX100" fmla="*/ 921458 w 1508157"/>
                <a:gd name="connsiteY100" fmla="*/ 1277000 h 1496297"/>
                <a:gd name="connsiteX101" fmla="*/ 920527 w 1508157"/>
                <a:gd name="connsiteY101" fmla="*/ 1354076 h 1496297"/>
                <a:gd name="connsiteX102" fmla="*/ 795790 w 1508157"/>
                <a:gd name="connsiteY102" fmla="*/ 1475841 h 1496297"/>
                <a:gd name="connsiteX103" fmla="*/ 787156 w 1508157"/>
                <a:gd name="connsiteY103" fmla="*/ 1481425 h 1496297"/>
                <a:gd name="connsiteX104" fmla="*/ 771560 w 1508157"/>
                <a:gd name="connsiteY104" fmla="*/ 1492055 h 1496297"/>
                <a:gd name="connsiteX105" fmla="*/ 712369 w 1508157"/>
                <a:gd name="connsiteY105" fmla="*/ 1480795 h 1496297"/>
                <a:gd name="connsiteX106" fmla="*/ 587631 w 1508157"/>
                <a:gd name="connsiteY106" fmla="*/ 1359032 h 1496297"/>
                <a:gd name="connsiteX107" fmla="*/ 571203 w 1508157"/>
                <a:gd name="connsiteY107" fmla="*/ 1320687 h 1496297"/>
                <a:gd name="connsiteX108" fmla="*/ 586701 w 1508157"/>
                <a:gd name="connsiteY108" fmla="*/ 1281956 h 1496297"/>
                <a:gd name="connsiteX109" fmla="*/ 663777 w 1508157"/>
                <a:gd name="connsiteY109" fmla="*/ 1281026 h 1496297"/>
                <a:gd name="connsiteX110" fmla="*/ 698689 w 1508157"/>
                <a:gd name="connsiteY110" fmla="*/ 1315107 h 1496297"/>
                <a:gd name="connsiteX111" fmla="*/ 698689 w 1508157"/>
                <a:gd name="connsiteY111" fmla="*/ 1102208 h 1496297"/>
                <a:gd name="connsiteX112" fmla="*/ 677181 w 1508157"/>
                <a:gd name="connsiteY112" fmla="*/ 1120342 h 1496297"/>
                <a:gd name="connsiteX113" fmla="*/ 178443 w 1508157"/>
                <a:gd name="connsiteY113" fmla="*/ 1336794 h 1496297"/>
                <a:gd name="connsiteX114" fmla="*/ 160105 w 1508157"/>
                <a:gd name="connsiteY114" fmla="*/ 1294308 h 1496297"/>
                <a:gd name="connsiteX115" fmla="*/ 424039 w 1508157"/>
                <a:gd name="connsiteY115" fmla="*/ 811057 h 1496297"/>
                <a:gd name="connsiteX116" fmla="*/ 426992 w 1508157"/>
                <a:gd name="connsiteY116" fmla="*/ 807697 h 1496297"/>
                <a:gd name="connsiteX117" fmla="*/ 184417 w 1508157"/>
                <a:gd name="connsiteY117" fmla="*/ 807697 h 1496297"/>
                <a:gd name="connsiteX118" fmla="*/ 220225 w 1508157"/>
                <a:gd name="connsiteY118" fmla="*/ 844381 h 1496297"/>
                <a:gd name="connsiteX119" fmla="*/ 219295 w 1508157"/>
                <a:gd name="connsiteY119" fmla="*/ 921456 h 1496297"/>
                <a:gd name="connsiteX120" fmla="*/ 219297 w 1508157"/>
                <a:gd name="connsiteY120" fmla="*/ 921456 h 1496297"/>
                <a:gd name="connsiteX121" fmla="*/ 142221 w 1508157"/>
                <a:gd name="connsiteY121" fmla="*/ 920526 h 1496297"/>
                <a:gd name="connsiteX122" fmla="*/ 20456 w 1508157"/>
                <a:gd name="connsiteY122" fmla="*/ 795788 h 1496297"/>
                <a:gd name="connsiteX123" fmla="*/ 14872 w 1508157"/>
                <a:gd name="connsiteY123" fmla="*/ 787155 h 1496297"/>
                <a:gd name="connsiteX124" fmla="*/ 4242 w 1508157"/>
                <a:gd name="connsiteY124" fmla="*/ 771559 h 1496297"/>
                <a:gd name="connsiteX125" fmla="*/ 876 w 1508157"/>
                <a:gd name="connsiteY125" fmla="*/ 740677 h 1496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</a:cxnLst>
              <a:rect l="l" t="t" r="r" b="b"/>
              <a:pathLst>
                <a:path w="1508157" h="1496297">
                  <a:moveTo>
                    <a:pt x="807698" y="497010"/>
                  </a:moveTo>
                  <a:lnTo>
                    <a:pt x="823072" y="511457"/>
                  </a:lnTo>
                  <a:lnTo>
                    <a:pt x="873926" y="528619"/>
                  </a:lnTo>
                  <a:cubicBezTo>
                    <a:pt x="928892" y="555104"/>
                    <a:pt x="972748" y="600994"/>
                    <a:pt x="996606" y="657402"/>
                  </a:cubicBezTo>
                  <a:lnTo>
                    <a:pt x="1008159" y="694617"/>
                  </a:lnTo>
                  <a:lnTo>
                    <a:pt x="1012063" y="698688"/>
                  </a:lnTo>
                  <a:lnTo>
                    <a:pt x="1044105" y="698688"/>
                  </a:lnTo>
                  <a:lnTo>
                    <a:pt x="1087454" y="649703"/>
                  </a:lnTo>
                  <a:cubicBezTo>
                    <a:pt x="1266349" y="437572"/>
                    <a:pt x="1363148" y="259705"/>
                    <a:pt x="1315337" y="211405"/>
                  </a:cubicBezTo>
                  <a:cubicBezTo>
                    <a:pt x="1267525" y="163105"/>
                    <a:pt x="1088683" y="258090"/>
                    <a:pt x="874743" y="434817"/>
                  </a:cubicBezTo>
                  <a:lnTo>
                    <a:pt x="807698" y="492944"/>
                  </a:lnTo>
                  <a:close/>
                  <a:moveTo>
                    <a:pt x="807698" y="1009233"/>
                  </a:moveTo>
                  <a:lnTo>
                    <a:pt x="807698" y="1013299"/>
                  </a:lnTo>
                  <a:lnTo>
                    <a:pt x="874743" y="1071426"/>
                  </a:lnTo>
                  <a:cubicBezTo>
                    <a:pt x="1088683" y="1248154"/>
                    <a:pt x="1267525" y="1343138"/>
                    <a:pt x="1315337" y="1294839"/>
                  </a:cubicBezTo>
                  <a:cubicBezTo>
                    <a:pt x="1363148" y="1246538"/>
                    <a:pt x="1266349" y="1068671"/>
                    <a:pt x="1087454" y="856540"/>
                  </a:cubicBezTo>
                  <a:lnTo>
                    <a:pt x="1044230" y="807697"/>
                  </a:lnTo>
                  <a:lnTo>
                    <a:pt x="1011927" y="807697"/>
                  </a:lnTo>
                  <a:lnTo>
                    <a:pt x="1010141" y="809559"/>
                  </a:lnTo>
                  <a:lnTo>
                    <a:pt x="996606" y="853162"/>
                  </a:lnTo>
                  <a:cubicBezTo>
                    <a:pt x="972748" y="909570"/>
                    <a:pt x="928892" y="955460"/>
                    <a:pt x="873926" y="981945"/>
                  </a:cubicBezTo>
                  <a:lnTo>
                    <a:pt x="815897" y="1001528"/>
                  </a:lnTo>
                  <a:close/>
                  <a:moveTo>
                    <a:pt x="208684" y="245914"/>
                  </a:moveTo>
                  <a:cubicBezTo>
                    <a:pt x="207508" y="323651"/>
                    <a:pt x="309072" y="488426"/>
                    <a:pt x="471496" y="676394"/>
                  </a:cubicBezTo>
                  <a:lnTo>
                    <a:pt x="491568" y="698688"/>
                  </a:lnTo>
                  <a:lnTo>
                    <a:pt x="516692" y="698688"/>
                  </a:lnTo>
                  <a:lnTo>
                    <a:pt x="520174" y="699391"/>
                  </a:lnTo>
                  <a:lnTo>
                    <a:pt x="533208" y="657402"/>
                  </a:lnTo>
                  <a:cubicBezTo>
                    <a:pt x="558657" y="597234"/>
                    <a:pt x="606859" y="549032"/>
                    <a:pt x="667027" y="523583"/>
                  </a:cubicBezTo>
                  <a:lnTo>
                    <a:pt x="698689" y="513755"/>
                  </a:lnTo>
                  <a:lnTo>
                    <a:pt x="698689" y="467129"/>
                  </a:lnTo>
                  <a:lnTo>
                    <a:pt x="661422" y="434820"/>
                  </a:lnTo>
                  <a:cubicBezTo>
                    <a:pt x="447482" y="258092"/>
                    <a:pt x="268640" y="163108"/>
                    <a:pt x="220829" y="211408"/>
                  </a:cubicBezTo>
                  <a:cubicBezTo>
                    <a:pt x="212860" y="219458"/>
                    <a:pt x="208908" y="231107"/>
                    <a:pt x="208684" y="245914"/>
                  </a:cubicBezTo>
                  <a:close/>
                  <a:moveTo>
                    <a:pt x="208684" y="1260329"/>
                  </a:moveTo>
                  <a:cubicBezTo>
                    <a:pt x="208908" y="1275136"/>
                    <a:pt x="212860" y="1286785"/>
                    <a:pt x="220829" y="1294835"/>
                  </a:cubicBezTo>
                  <a:cubicBezTo>
                    <a:pt x="268640" y="1343136"/>
                    <a:pt x="447482" y="1248151"/>
                    <a:pt x="661422" y="1071423"/>
                  </a:cubicBezTo>
                  <a:lnTo>
                    <a:pt x="698689" y="1039114"/>
                  </a:lnTo>
                  <a:lnTo>
                    <a:pt x="698689" y="996809"/>
                  </a:lnTo>
                  <a:lnTo>
                    <a:pt x="667027" y="986981"/>
                  </a:lnTo>
                  <a:cubicBezTo>
                    <a:pt x="606859" y="961532"/>
                    <a:pt x="558657" y="913330"/>
                    <a:pt x="533208" y="853162"/>
                  </a:cubicBezTo>
                  <a:lnTo>
                    <a:pt x="518953" y="807240"/>
                  </a:lnTo>
                  <a:lnTo>
                    <a:pt x="516693" y="807697"/>
                  </a:lnTo>
                  <a:lnTo>
                    <a:pt x="491440" y="807697"/>
                  </a:lnTo>
                  <a:lnTo>
                    <a:pt x="471496" y="829849"/>
                  </a:lnTo>
                  <a:cubicBezTo>
                    <a:pt x="309072" y="1017817"/>
                    <a:pt x="207508" y="1182592"/>
                    <a:pt x="208684" y="1260329"/>
                  </a:cubicBezTo>
                  <a:close/>
                  <a:moveTo>
                    <a:pt x="876" y="740677"/>
                  </a:moveTo>
                  <a:cubicBezTo>
                    <a:pt x="2747" y="730347"/>
                    <a:pt x="7616" y="720446"/>
                    <a:pt x="15501" y="712368"/>
                  </a:cubicBezTo>
                  <a:lnTo>
                    <a:pt x="137265" y="587630"/>
                  </a:lnTo>
                  <a:cubicBezTo>
                    <a:pt x="147779" y="576859"/>
                    <a:pt x="161663" y="571370"/>
                    <a:pt x="175610" y="571202"/>
                  </a:cubicBezTo>
                  <a:cubicBezTo>
                    <a:pt x="189558" y="571033"/>
                    <a:pt x="203571" y="576186"/>
                    <a:pt x="214341" y="586700"/>
                  </a:cubicBezTo>
                  <a:cubicBezTo>
                    <a:pt x="235881" y="607727"/>
                    <a:pt x="236298" y="642234"/>
                    <a:pt x="215271" y="663776"/>
                  </a:cubicBezTo>
                  <a:lnTo>
                    <a:pt x="181190" y="698688"/>
                  </a:lnTo>
                  <a:lnTo>
                    <a:pt x="427117" y="698688"/>
                  </a:lnTo>
                  <a:lnTo>
                    <a:pt x="424039" y="695186"/>
                  </a:lnTo>
                  <a:cubicBezTo>
                    <a:pt x="252105" y="489557"/>
                    <a:pt x="149928" y="304692"/>
                    <a:pt x="160105" y="211935"/>
                  </a:cubicBezTo>
                  <a:cubicBezTo>
                    <a:pt x="162043" y="194267"/>
                    <a:pt x="168058" y="179941"/>
                    <a:pt x="178443" y="169450"/>
                  </a:cubicBezTo>
                  <a:cubicBezTo>
                    <a:pt x="240754" y="106501"/>
                    <a:pt x="442712" y="199483"/>
                    <a:pt x="677181" y="385901"/>
                  </a:cubicBezTo>
                  <a:lnTo>
                    <a:pt x="698689" y="404035"/>
                  </a:lnTo>
                  <a:lnTo>
                    <a:pt x="698689" y="181191"/>
                  </a:lnTo>
                  <a:lnTo>
                    <a:pt x="663777" y="215271"/>
                  </a:lnTo>
                  <a:cubicBezTo>
                    <a:pt x="642236" y="236298"/>
                    <a:pt x="607728" y="235882"/>
                    <a:pt x="586701" y="214341"/>
                  </a:cubicBezTo>
                  <a:cubicBezTo>
                    <a:pt x="576187" y="203571"/>
                    <a:pt x="571034" y="189559"/>
                    <a:pt x="571203" y="175611"/>
                  </a:cubicBezTo>
                  <a:cubicBezTo>
                    <a:pt x="571371" y="161663"/>
                    <a:pt x="576860" y="147779"/>
                    <a:pt x="587631" y="137265"/>
                  </a:cubicBezTo>
                  <a:lnTo>
                    <a:pt x="712369" y="15502"/>
                  </a:lnTo>
                  <a:cubicBezTo>
                    <a:pt x="728524" y="-269"/>
                    <a:pt x="751974" y="-3977"/>
                    <a:pt x="771560" y="4242"/>
                  </a:cubicBezTo>
                  <a:lnTo>
                    <a:pt x="787156" y="14872"/>
                  </a:lnTo>
                  <a:lnTo>
                    <a:pt x="795790" y="20456"/>
                  </a:lnTo>
                  <a:cubicBezTo>
                    <a:pt x="837369" y="61045"/>
                    <a:pt x="878948" y="101632"/>
                    <a:pt x="920527" y="142221"/>
                  </a:cubicBezTo>
                  <a:cubicBezTo>
                    <a:pt x="942068" y="163248"/>
                    <a:pt x="942485" y="197756"/>
                    <a:pt x="921458" y="219297"/>
                  </a:cubicBezTo>
                  <a:lnTo>
                    <a:pt x="921458" y="219295"/>
                  </a:lnTo>
                  <a:cubicBezTo>
                    <a:pt x="900431" y="240836"/>
                    <a:pt x="865922" y="241253"/>
                    <a:pt x="844382" y="220226"/>
                  </a:cubicBezTo>
                  <a:lnTo>
                    <a:pt x="807699" y="184417"/>
                  </a:lnTo>
                  <a:lnTo>
                    <a:pt x="807698" y="429141"/>
                  </a:lnTo>
                  <a:lnTo>
                    <a:pt x="858986" y="385900"/>
                  </a:lnTo>
                  <a:cubicBezTo>
                    <a:pt x="1093454" y="199482"/>
                    <a:pt x="1295412" y="106500"/>
                    <a:pt x="1357723" y="169449"/>
                  </a:cubicBezTo>
                  <a:cubicBezTo>
                    <a:pt x="1420035" y="232397"/>
                    <a:pt x="1325003" y="433399"/>
                    <a:pt x="1136210" y="665959"/>
                  </a:cubicBezTo>
                  <a:lnTo>
                    <a:pt x="1108041" y="698688"/>
                  </a:lnTo>
                  <a:lnTo>
                    <a:pt x="1326967" y="698688"/>
                  </a:lnTo>
                  <a:lnTo>
                    <a:pt x="1292886" y="663776"/>
                  </a:lnTo>
                  <a:cubicBezTo>
                    <a:pt x="1271859" y="642234"/>
                    <a:pt x="1272276" y="607727"/>
                    <a:pt x="1293816" y="586700"/>
                  </a:cubicBezTo>
                  <a:cubicBezTo>
                    <a:pt x="1304586" y="576186"/>
                    <a:pt x="1318599" y="571033"/>
                    <a:pt x="1332547" y="571202"/>
                  </a:cubicBezTo>
                  <a:cubicBezTo>
                    <a:pt x="1346494" y="571370"/>
                    <a:pt x="1360378" y="576859"/>
                    <a:pt x="1370892" y="587630"/>
                  </a:cubicBezTo>
                  <a:lnTo>
                    <a:pt x="1492656" y="712368"/>
                  </a:lnTo>
                  <a:cubicBezTo>
                    <a:pt x="1508426" y="728523"/>
                    <a:pt x="1512134" y="751973"/>
                    <a:pt x="1503915" y="771559"/>
                  </a:cubicBezTo>
                  <a:lnTo>
                    <a:pt x="1493285" y="787155"/>
                  </a:lnTo>
                  <a:lnTo>
                    <a:pt x="1487701" y="795788"/>
                  </a:lnTo>
                  <a:cubicBezTo>
                    <a:pt x="1447113" y="837368"/>
                    <a:pt x="1406525" y="878947"/>
                    <a:pt x="1365936" y="920526"/>
                  </a:cubicBezTo>
                  <a:cubicBezTo>
                    <a:pt x="1344909" y="942067"/>
                    <a:pt x="1310402" y="942483"/>
                    <a:pt x="1288860" y="921456"/>
                  </a:cubicBezTo>
                  <a:lnTo>
                    <a:pt x="1288862" y="921456"/>
                  </a:lnTo>
                  <a:cubicBezTo>
                    <a:pt x="1267322" y="900429"/>
                    <a:pt x="1266905" y="865921"/>
                    <a:pt x="1287932" y="844381"/>
                  </a:cubicBezTo>
                  <a:lnTo>
                    <a:pt x="1323740" y="807697"/>
                  </a:lnTo>
                  <a:lnTo>
                    <a:pt x="1108163" y="807697"/>
                  </a:lnTo>
                  <a:lnTo>
                    <a:pt x="1136210" y="840285"/>
                  </a:lnTo>
                  <a:cubicBezTo>
                    <a:pt x="1325003" y="1072844"/>
                    <a:pt x="1420035" y="1273846"/>
                    <a:pt x="1357723" y="1336795"/>
                  </a:cubicBezTo>
                  <a:cubicBezTo>
                    <a:pt x="1295412" y="1399743"/>
                    <a:pt x="1093454" y="1306761"/>
                    <a:pt x="858986" y="1120343"/>
                  </a:cubicBezTo>
                  <a:lnTo>
                    <a:pt x="807698" y="1077102"/>
                  </a:lnTo>
                  <a:lnTo>
                    <a:pt x="807699" y="1311880"/>
                  </a:lnTo>
                  <a:lnTo>
                    <a:pt x="844382" y="1276072"/>
                  </a:lnTo>
                  <a:cubicBezTo>
                    <a:pt x="865922" y="1255045"/>
                    <a:pt x="900431" y="1255461"/>
                    <a:pt x="921458" y="1277002"/>
                  </a:cubicBezTo>
                  <a:lnTo>
                    <a:pt x="921458" y="1277000"/>
                  </a:lnTo>
                  <a:cubicBezTo>
                    <a:pt x="942485" y="1298541"/>
                    <a:pt x="942068" y="1333049"/>
                    <a:pt x="920527" y="1354076"/>
                  </a:cubicBezTo>
                  <a:cubicBezTo>
                    <a:pt x="878948" y="1394665"/>
                    <a:pt x="837369" y="1435253"/>
                    <a:pt x="795790" y="1475841"/>
                  </a:cubicBezTo>
                  <a:lnTo>
                    <a:pt x="787156" y="1481425"/>
                  </a:lnTo>
                  <a:lnTo>
                    <a:pt x="771560" y="1492055"/>
                  </a:lnTo>
                  <a:cubicBezTo>
                    <a:pt x="751974" y="1500274"/>
                    <a:pt x="728524" y="1496566"/>
                    <a:pt x="712369" y="1480795"/>
                  </a:cubicBezTo>
                  <a:lnTo>
                    <a:pt x="587631" y="1359032"/>
                  </a:lnTo>
                  <a:cubicBezTo>
                    <a:pt x="576860" y="1348518"/>
                    <a:pt x="571371" y="1334634"/>
                    <a:pt x="571203" y="1320687"/>
                  </a:cubicBezTo>
                  <a:cubicBezTo>
                    <a:pt x="571034" y="1306739"/>
                    <a:pt x="576187" y="1292726"/>
                    <a:pt x="586701" y="1281956"/>
                  </a:cubicBezTo>
                  <a:cubicBezTo>
                    <a:pt x="607728" y="1260416"/>
                    <a:pt x="642236" y="1259999"/>
                    <a:pt x="663777" y="1281026"/>
                  </a:cubicBezTo>
                  <a:lnTo>
                    <a:pt x="698689" y="1315107"/>
                  </a:lnTo>
                  <a:lnTo>
                    <a:pt x="698689" y="1102208"/>
                  </a:lnTo>
                  <a:lnTo>
                    <a:pt x="677181" y="1120342"/>
                  </a:lnTo>
                  <a:cubicBezTo>
                    <a:pt x="442712" y="1306760"/>
                    <a:pt x="240754" y="1399742"/>
                    <a:pt x="178443" y="1336794"/>
                  </a:cubicBezTo>
                  <a:cubicBezTo>
                    <a:pt x="168058" y="1326302"/>
                    <a:pt x="162043" y="1311976"/>
                    <a:pt x="160105" y="1294308"/>
                  </a:cubicBezTo>
                  <a:cubicBezTo>
                    <a:pt x="149928" y="1201551"/>
                    <a:pt x="252105" y="1016686"/>
                    <a:pt x="424039" y="811057"/>
                  </a:cubicBezTo>
                  <a:lnTo>
                    <a:pt x="426992" y="807697"/>
                  </a:lnTo>
                  <a:lnTo>
                    <a:pt x="184417" y="807697"/>
                  </a:lnTo>
                  <a:lnTo>
                    <a:pt x="220225" y="844381"/>
                  </a:lnTo>
                  <a:cubicBezTo>
                    <a:pt x="241252" y="865921"/>
                    <a:pt x="240835" y="900429"/>
                    <a:pt x="219295" y="921456"/>
                  </a:cubicBezTo>
                  <a:lnTo>
                    <a:pt x="219297" y="921456"/>
                  </a:lnTo>
                  <a:cubicBezTo>
                    <a:pt x="197755" y="942483"/>
                    <a:pt x="163248" y="942067"/>
                    <a:pt x="142221" y="920526"/>
                  </a:cubicBezTo>
                  <a:cubicBezTo>
                    <a:pt x="101632" y="878947"/>
                    <a:pt x="61044" y="837368"/>
                    <a:pt x="20456" y="795788"/>
                  </a:cubicBezTo>
                  <a:lnTo>
                    <a:pt x="14872" y="787155"/>
                  </a:lnTo>
                  <a:lnTo>
                    <a:pt x="4242" y="771559"/>
                  </a:lnTo>
                  <a:cubicBezTo>
                    <a:pt x="132" y="761766"/>
                    <a:pt x="-995" y="751007"/>
                    <a:pt x="876" y="740677"/>
                  </a:cubicBezTo>
                  <a:close/>
                </a:path>
              </a:pathLst>
            </a:cu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kern="0">
                <a:solidFill>
                  <a:srgbClr val="2968AF">
                    <a:lumMod val="50000"/>
                  </a:srgbClr>
                </a:solidFill>
                <a:latin typeface="Arial"/>
              </a:endParaRPr>
            </a:p>
          </p:txBody>
        </p:sp>
      </p:grpSp>
      <p:sp>
        <p:nvSpPr>
          <p:cNvPr id="228" name="Bent Arrow 227"/>
          <p:cNvSpPr/>
          <p:nvPr/>
        </p:nvSpPr>
        <p:spPr bwMode="auto">
          <a:xfrm>
            <a:off x="7042413" y="1312274"/>
            <a:ext cx="289204" cy="251007"/>
          </a:xfrm>
          <a:prstGeom prst="bentArrow">
            <a:avLst>
              <a:gd name="adj1" fmla="val 4139"/>
              <a:gd name="adj2" fmla="val 38832"/>
              <a:gd name="adj3" fmla="val 0"/>
              <a:gd name="adj4" fmla="val 6818"/>
            </a:avLst>
          </a:prstGeom>
          <a:solidFill>
            <a:schemeClr val="bg1">
              <a:lumMod val="75000"/>
            </a:schemeClr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91440" tIns="45720" rIns="91440" bIns="45720" rtlCol="0" anchor="ctr"/>
          <a:lstStyle/>
          <a:p>
            <a:pPr algn="ctr" defTabSz="514350"/>
            <a:endParaRPr lang="en-US" sz="1400" dirty="0" err="1" smtClean="0">
              <a:solidFill>
                <a:srgbClr val="FFFFFF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sp>
        <p:nvSpPr>
          <p:cNvPr id="229" name="Bent Arrow 228"/>
          <p:cNvSpPr/>
          <p:nvPr/>
        </p:nvSpPr>
        <p:spPr bwMode="auto">
          <a:xfrm flipV="1">
            <a:off x="7042413" y="1684242"/>
            <a:ext cx="289204" cy="251007"/>
          </a:xfrm>
          <a:prstGeom prst="bentArrow">
            <a:avLst>
              <a:gd name="adj1" fmla="val 4139"/>
              <a:gd name="adj2" fmla="val 38832"/>
              <a:gd name="adj3" fmla="val 0"/>
              <a:gd name="adj4" fmla="val 9348"/>
            </a:avLst>
          </a:prstGeom>
          <a:solidFill>
            <a:schemeClr val="bg1">
              <a:lumMod val="75000"/>
            </a:schemeClr>
          </a:soli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91440" tIns="45720" rIns="91440" bIns="45720" rtlCol="0" anchor="ctr"/>
          <a:lstStyle/>
          <a:p>
            <a:pPr algn="ctr" defTabSz="514350"/>
            <a:endParaRPr lang="en-US" sz="1400" dirty="0" err="1" smtClean="0">
              <a:solidFill>
                <a:srgbClr val="FFFFFF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cxnSp>
        <p:nvCxnSpPr>
          <p:cNvPr id="230" name="Straight Connector 229"/>
          <p:cNvCxnSpPr/>
          <p:nvPr/>
        </p:nvCxnSpPr>
        <p:spPr bwMode="auto">
          <a:xfrm flipH="1">
            <a:off x="6775148" y="1563281"/>
            <a:ext cx="274320" cy="0"/>
          </a:xfrm>
          <a:prstGeom prst="line">
            <a:avLst/>
          </a:prstGeom>
          <a:solidFill>
            <a:srgbClr val="0183B7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1" name="Straight Connector 230"/>
          <p:cNvCxnSpPr/>
          <p:nvPr/>
        </p:nvCxnSpPr>
        <p:spPr bwMode="auto">
          <a:xfrm flipH="1">
            <a:off x="6775148" y="1684242"/>
            <a:ext cx="274320" cy="0"/>
          </a:xfrm>
          <a:prstGeom prst="line">
            <a:avLst/>
          </a:prstGeom>
          <a:solidFill>
            <a:srgbClr val="0183B7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32" name="Group 231"/>
          <p:cNvGrpSpPr/>
          <p:nvPr/>
        </p:nvGrpSpPr>
        <p:grpSpPr>
          <a:xfrm>
            <a:off x="7181127" y="1678586"/>
            <a:ext cx="322331" cy="320040"/>
            <a:chOff x="4178310" y="3794755"/>
            <a:chExt cx="322331" cy="320040"/>
          </a:xfrm>
        </p:grpSpPr>
        <p:sp>
          <p:nvSpPr>
            <p:cNvPr id="233" name="Rounded Rectangle 232"/>
            <p:cNvSpPr/>
            <p:nvPr/>
          </p:nvSpPr>
          <p:spPr bwMode="auto">
            <a:xfrm>
              <a:off x="4178310" y="3794755"/>
              <a:ext cx="322331" cy="320040"/>
            </a:xfrm>
            <a:prstGeom prst="roundRect">
              <a:avLst>
                <a:gd name="adj" fmla="val 4802"/>
              </a:avLst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kern="0" dirty="0" err="1">
                <a:solidFill>
                  <a:srgbClr val="2968AF">
                    <a:lumMod val="50000"/>
                  </a:srgbClr>
                </a:solidFill>
                <a:latin typeface="Arial"/>
                <a:sym typeface="Arial" pitchFamily="-107" charset="0"/>
              </a:endParaRPr>
            </a:p>
          </p:txBody>
        </p:sp>
        <p:sp>
          <p:nvSpPr>
            <p:cNvPr id="234" name="Rounded Rectangle 5"/>
            <p:cNvSpPr>
              <a:spLocks noChangeAspect="1"/>
            </p:cNvSpPr>
            <p:nvPr/>
          </p:nvSpPr>
          <p:spPr>
            <a:xfrm rot="5400000">
              <a:off x="4245126" y="3844490"/>
              <a:ext cx="189270" cy="226869"/>
            </a:xfrm>
            <a:custGeom>
              <a:avLst/>
              <a:gdLst/>
              <a:ahLst/>
              <a:cxnLst/>
              <a:rect l="l" t="t" r="r" b="b"/>
              <a:pathLst>
                <a:path w="1434127" h="1719033">
                  <a:moveTo>
                    <a:pt x="928823" y="289692"/>
                  </a:moveTo>
                  <a:cubicBezTo>
                    <a:pt x="929054" y="266684"/>
                    <a:pt x="936638" y="243780"/>
                    <a:pt x="951518" y="226436"/>
                  </a:cubicBezTo>
                  <a:lnTo>
                    <a:pt x="1123848" y="25572"/>
                  </a:lnTo>
                  <a:cubicBezTo>
                    <a:pt x="1146167" y="-443"/>
                    <a:pt x="1178564" y="-6561"/>
                    <a:pt x="1205623" y="6998"/>
                  </a:cubicBezTo>
                  <a:lnTo>
                    <a:pt x="1227169" y="24533"/>
                  </a:lnTo>
                  <a:lnTo>
                    <a:pt x="1239096" y="33745"/>
                  </a:lnTo>
                  <a:cubicBezTo>
                    <a:pt x="1296540" y="100701"/>
                    <a:pt x="1353982" y="167655"/>
                    <a:pt x="1411426" y="234611"/>
                  </a:cubicBezTo>
                  <a:cubicBezTo>
                    <a:pt x="1441185" y="269298"/>
                    <a:pt x="1441761" y="326223"/>
                    <a:pt x="1412711" y="361758"/>
                  </a:cubicBezTo>
                  <a:lnTo>
                    <a:pt x="1412711" y="361755"/>
                  </a:lnTo>
                  <a:cubicBezTo>
                    <a:pt x="1383662" y="397289"/>
                    <a:pt x="1335987" y="397976"/>
                    <a:pt x="1306228" y="363290"/>
                  </a:cubicBezTo>
                  <a:lnTo>
                    <a:pt x="1255549" y="304219"/>
                  </a:lnTo>
                  <a:lnTo>
                    <a:pt x="1255548" y="852351"/>
                  </a:lnTo>
                  <a:cubicBezTo>
                    <a:pt x="1255548" y="902008"/>
                    <a:pt x="1221835" y="942263"/>
                    <a:pt x="1180248" y="942263"/>
                  </a:cubicBezTo>
                  <a:lnTo>
                    <a:pt x="1180249" y="942262"/>
                  </a:lnTo>
                  <a:cubicBezTo>
                    <a:pt x="1138662" y="942262"/>
                    <a:pt x="1104949" y="902007"/>
                    <a:pt x="1104949" y="852350"/>
                  </a:cubicBezTo>
                  <a:lnTo>
                    <a:pt x="1104949" y="298896"/>
                  </a:lnTo>
                  <a:lnTo>
                    <a:pt x="1056716" y="355117"/>
                  </a:lnTo>
                  <a:cubicBezTo>
                    <a:pt x="1026956" y="389804"/>
                    <a:pt x="979283" y="389116"/>
                    <a:pt x="950233" y="353583"/>
                  </a:cubicBezTo>
                  <a:cubicBezTo>
                    <a:pt x="935708" y="335816"/>
                    <a:pt x="928590" y="312701"/>
                    <a:pt x="928823" y="289692"/>
                  </a:cubicBezTo>
                  <a:close/>
                  <a:moveTo>
                    <a:pt x="702356" y="1429342"/>
                  </a:moveTo>
                  <a:cubicBezTo>
                    <a:pt x="702123" y="1406333"/>
                    <a:pt x="709241" y="1383217"/>
                    <a:pt x="723766" y="1365451"/>
                  </a:cubicBezTo>
                  <a:cubicBezTo>
                    <a:pt x="752816" y="1329917"/>
                    <a:pt x="800489" y="1329229"/>
                    <a:pt x="830249" y="1363916"/>
                  </a:cubicBezTo>
                  <a:lnTo>
                    <a:pt x="878482" y="1420137"/>
                  </a:lnTo>
                  <a:lnTo>
                    <a:pt x="878482" y="866684"/>
                  </a:lnTo>
                  <a:cubicBezTo>
                    <a:pt x="878482" y="817027"/>
                    <a:pt x="912195" y="776771"/>
                    <a:pt x="953782" y="776771"/>
                  </a:cubicBezTo>
                  <a:lnTo>
                    <a:pt x="953781" y="776770"/>
                  </a:lnTo>
                  <a:cubicBezTo>
                    <a:pt x="995368" y="776770"/>
                    <a:pt x="1029081" y="817025"/>
                    <a:pt x="1029081" y="866682"/>
                  </a:cubicBezTo>
                  <a:lnTo>
                    <a:pt x="1029082" y="1414814"/>
                  </a:lnTo>
                  <a:lnTo>
                    <a:pt x="1079761" y="1355744"/>
                  </a:lnTo>
                  <a:cubicBezTo>
                    <a:pt x="1109520" y="1321057"/>
                    <a:pt x="1157195" y="1321744"/>
                    <a:pt x="1186244" y="1357278"/>
                  </a:cubicBezTo>
                  <a:lnTo>
                    <a:pt x="1186244" y="1357275"/>
                  </a:lnTo>
                  <a:cubicBezTo>
                    <a:pt x="1215294" y="1392810"/>
                    <a:pt x="1214718" y="1449735"/>
                    <a:pt x="1184959" y="1484422"/>
                  </a:cubicBezTo>
                  <a:cubicBezTo>
                    <a:pt x="1127515" y="1551378"/>
                    <a:pt x="1070073" y="1618333"/>
                    <a:pt x="1012629" y="1685289"/>
                  </a:cubicBezTo>
                  <a:lnTo>
                    <a:pt x="1000702" y="1694500"/>
                  </a:lnTo>
                  <a:lnTo>
                    <a:pt x="979156" y="1712036"/>
                  </a:lnTo>
                  <a:cubicBezTo>
                    <a:pt x="952097" y="1725594"/>
                    <a:pt x="919700" y="1719476"/>
                    <a:pt x="897381" y="1693461"/>
                  </a:cubicBezTo>
                  <a:lnTo>
                    <a:pt x="725051" y="1492597"/>
                  </a:lnTo>
                  <a:cubicBezTo>
                    <a:pt x="710171" y="1475253"/>
                    <a:pt x="702587" y="1452349"/>
                    <a:pt x="702356" y="1429342"/>
                  </a:cubicBezTo>
                  <a:close/>
                  <a:moveTo>
                    <a:pt x="226473" y="289692"/>
                  </a:moveTo>
                  <a:cubicBezTo>
                    <a:pt x="226704" y="266684"/>
                    <a:pt x="234288" y="243780"/>
                    <a:pt x="249168" y="226436"/>
                  </a:cubicBezTo>
                  <a:lnTo>
                    <a:pt x="421498" y="25572"/>
                  </a:lnTo>
                  <a:cubicBezTo>
                    <a:pt x="443817" y="-443"/>
                    <a:pt x="476214" y="-6561"/>
                    <a:pt x="503273" y="6998"/>
                  </a:cubicBezTo>
                  <a:lnTo>
                    <a:pt x="524819" y="24533"/>
                  </a:lnTo>
                  <a:lnTo>
                    <a:pt x="536746" y="33745"/>
                  </a:lnTo>
                  <a:cubicBezTo>
                    <a:pt x="594190" y="100701"/>
                    <a:pt x="651632" y="167655"/>
                    <a:pt x="709076" y="234611"/>
                  </a:cubicBezTo>
                  <a:cubicBezTo>
                    <a:pt x="738835" y="269298"/>
                    <a:pt x="739411" y="326223"/>
                    <a:pt x="710361" y="361758"/>
                  </a:cubicBezTo>
                  <a:lnTo>
                    <a:pt x="710361" y="361755"/>
                  </a:lnTo>
                  <a:cubicBezTo>
                    <a:pt x="681312" y="397289"/>
                    <a:pt x="633637" y="397976"/>
                    <a:pt x="603878" y="363290"/>
                  </a:cubicBezTo>
                  <a:lnTo>
                    <a:pt x="553199" y="304219"/>
                  </a:lnTo>
                  <a:lnTo>
                    <a:pt x="553198" y="852351"/>
                  </a:lnTo>
                  <a:cubicBezTo>
                    <a:pt x="553198" y="902008"/>
                    <a:pt x="519485" y="942263"/>
                    <a:pt x="477898" y="942263"/>
                  </a:cubicBezTo>
                  <a:lnTo>
                    <a:pt x="477899" y="942262"/>
                  </a:lnTo>
                  <a:cubicBezTo>
                    <a:pt x="436312" y="942262"/>
                    <a:pt x="402599" y="902007"/>
                    <a:pt x="402599" y="852350"/>
                  </a:cubicBezTo>
                  <a:lnTo>
                    <a:pt x="402599" y="298896"/>
                  </a:lnTo>
                  <a:lnTo>
                    <a:pt x="354366" y="355117"/>
                  </a:lnTo>
                  <a:cubicBezTo>
                    <a:pt x="324606" y="389804"/>
                    <a:pt x="276933" y="389116"/>
                    <a:pt x="247883" y="353583"/>
                  </a:cubicBezTo>
                  <a:cubicBezTo>
                    <a:pt x="233358" y="335816"/>
                    <a:pt x="226239" y="312701"/>
                    <a:pt x="226473" y="289692"/>
                  </a:cubicBezTo>
                  <a:close/>
                  <a:moveTo>
                    <a:pt x="5" y="1429342"/>
                  </a:moveTo>
                  <a:cubicBezTo>
                    <a:pt x="-228" y="1406333"/>
                    <a:pt x="6891" y="1383217"/>
                    <a:pt x="21416" y="1365451"/>
                  </a:cubicBezTo>
                  <a:cubicBezTo>
                    <a:pt x="50465" y="1329917"/>
                    <a:pt x="98139" y="1329229"/>
                    <a:pt x="127899" y="1363916"/>
                  </a:cubicBezTo>
                  <a:lnTo>
                    <a:pt x="176132" y="1420137"/>
                  </a:lnTo>
                  <a:lnTo>
                    <a:pt x="176132" y="866684"/>
                  </a:lnTo>
                  <a:cubicBezTo>
                    <a:pt x="176132" y="817027"/>
                    <a:pt x="209845" y="776771"/>
                    <a:pt x="251432" y="776771"/>
                  </a:cubicBezTo>
                  <a:lnTo>
                    <a:pt x="251431" y="776770"/>
                  </a:lnTo>
                  <a:cubicBezTo>
                    <a:pt x="293018" y="776770"/>
                    <a:pt x="326731" y="817025"/>
                    <a:pt x="326731" y="866682"/>
                  </a:cubicBezTo>
                  <a:lnTo>
                    <a:pt x="326732" y="1414814"/>
                  </a:lnTo>
                  <a:lnTo>
                    <a:pt x="377411" y="1355744"/>
                  </a:lnTo>
                  <a:cubicBezTo>
                    <a:pt x="407170" y="1321057"/>
                    <a:pt x="454845" y="1321744"/>
                    <a:pt x="483894" y="1357278"/>
                  </a:cubicBezTo>
                  <a:lnTo>
                    <a:pt x="483894" y="1357275"/>
                  </a:lnTo>
                  <a:cubicBezTo>
                    <a:pt x="512944" y="1392810"/>
                    <a:pt x="512368" y="1449735"/>
                    <a:pt x="482609" y="1484422"/>
                  </a:cubicBezTo>
                  <a:cubicBezTo>
                    <a:pt x="425165" y="1551378"/>
                    <a:pt x="367723" y="1618333"/>
                    <a:pt x="310279" y="1685289"/>
                  </a:cubicBezTo>
                  <a:lnTo>
                    <a:pt x="298352" y="1694500"/>
                  </a:lnTo>
                  <a:lnTo>
                    <a:pt x="276806" y="1712036"/>
                  </a:lnTo>
                  <a:cubicBezTo>
                    <a:pt x="249747" y="1725594"/>
                    <a:pt x="217350" y="1719476"/>
                    <a:pt x="195031" y="1693461"/>
                  </a:cubicBezTo>
                  <a:lnTo>
                    <a:pt x="22701" y="1492597"/>
                  </a:lnTo>
                  <a:cubicBezTo>
                    <a:pt x="7821" y="1475253"/>
                    <a:pt x="237" y="1452349"/>
                    <a:pt x="5" y="1429342"/>
                  </a:cubicBezTo>
                  <a:close/>
                </a:path>
              </a:pathLst>
            </a:cu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lIns="91420" tIns="45710" rIns="91420" bIns="45710" rtlCol="0" anchor="ctr"/>
            <a:lstStyle/>
            <a:p>
              <a:pPr algn="ctr" defTabSz="456706"/>
              <a:endParaRPr lang="en-US" kern="0">
                <a:solidFill>
                  <a:srgbClr val="2968AF">
                    <a:lumMod val="50000"/>
                  </a:srgbClr>
                </a:solidFill>
                <a:latin typeface="Arial"/>
              </a:endParaRPr>
            </a:p>
          </p:txBody>
        </p:sp>
      </p:grpSp>
      <p:grpSp>
        <p:nvGrpSpPr>
          <p:cNvPr id="235" name="Group 234"/>
          <p:cNvGrpSpPr/>
          <p:nvPr/>
        </p:nvGrpSpPr>
        <p:grpSpPr>
          <a:xfrm>
            <a:off x="7181127" y="1272317"/>
            <a:ext cx="320040" cy="320040"/>
            <a:chOff x="5452133" y="3805670"/>
            <a:chExt cx="320040" cy="320040"/>
          </a:xfrm>
        </p:grpSpPr>
        <p:sp>
          <p:nvSpPr>
            <p:cNvPr id="236" name="Oval 235"/>
            <p:cNvSpPr/>
            <p:nvPr/>
          </p:nvSpPr>
          <p:spPr bwMode="auto">
            <a:xfrm>
              <a:off x="5452133" y="3805670"/>
              <a:ext cx="320040" cy="32004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kern="0" dirty="0" err="1">
                <a:solidFill>
                  <a:srgbClr val="2968AF">
                    <a:lumMod val="50000"/>
                  </a:srgbClr>
                </a:solidFill>
                <a:latin typeface="Arial"/>
                <a:sym typeface="Arial" pitchFamily="-107" charset="0"/>
              </a:endParaRPr>
            </a:p>
          </p:txBody>
        </p:sp>
        <p:sp>
          <p:nvSpPr>
            <p:cNvPr id="237" name="Freeform 236"/>
            <p:cNvSpPr>
              <a:spLocks noChangeAspect="1"/>
            </p:cNvSpPr>
            <p:nvPr/>
          </p:nvSpPr>
          <p:spPr>
            <a:xfrm>
              <a:off x="5481009" y="3895528"/>
              <a:ext cx="269200" cy="157032"/>
            </a:xfrm>
            <a:custGeom>
              <a:avLst/>
              <a:gdLst>
                <a:gd name="connsiteX0" fmla="*/ 542060 w 1091013"/>
                <a:gd name="connsiteY0" fmla="*/ 440253 h 636419"/>
                <a:gd name="connsiteX1" fmla="*/ 751690 w 1091013"/>
                <a:gd name="connsiteY1" fmla="*/ 555523 h 636419"/>
                <a:gd name="connsiteX2" fmla="*/ 645501 w 1091013"/>
                <a:gd name="connsiteY2" fmla="*/ 636419 h 636419"/>
                <a:gd name="connsiteX3" fmla="*/ 538855 w 1091013"/>
                <a:gd name="connsiteY3" fmla="*/ 577777 h 636419"/>
                <a:gd name="connsiteX4" fmla="*/ 429602 w 1091013"/>
                <a:gd name="connsiteY4" fmla="*/ 630893 h 636419"/>
                <a:gd name="connsiteX5" fmla="*/ 327309 w 1091013"/>
                <a:gd name="connsiteY5" fmla="*/ 544661 h 636419"/>
                <a:gd name="connsiteX6" fmla="*/ 542060 w 1091013"/>
                <a:gd name="connsiteY6" fmla="*/ 440253 h 636419"/>
                <a:gd name="connsiteX7" fmla="*/ 545874 w 1091013"/>
                <a:gd name="connsiteY7" fmla="*/ 206756 h 636419"/>
                <a:gd name="connsiteX8" fmla="*/ 930030 w 1091013"/>
                <a:gd name="connsiteY8" fmla="*/ 415440 h 636419"/>
                <a:gd name="connsiteX9" fmla="*/ 811318 w 1091013"/>
                <a:gd name="connsiteY9" fmla="*/ 507146 h 636419"/>
                <a:gd name="connsiteX10" fmla="*/ 542762 w 1091013"/>
                <a:gd name="connsiteY10" fmla="*/ 361259 h 636419"/>
                <a:gd name="connsiteX11" fmla="*/ 268572 w 1091013"/>
                <a:gd name="connsiteY11" fmla="*/ 495146 h 636419"/>
                <a:gd name="connsiteX12" fmla="*/ 153658 w 1091013"/>
                <a:gd name="connsiteY12" fmla="*/ 398274 h 636419"/>
                <a:gd name="connsiteX13" fmla="*/ 545874 w 1091013"/>
                <a:gd name="connsiteY13" fmla="*/ 206756 h 636419"/>
                <a:gd name="connsiteX14" fmla="*/ 551934 w 1091013"/>
                <a:gd name="connsiteY14" fmla="*/ 206 h 636419"/>
                <a:gd name="connsiteX15" fmla="*/ 1091013 w 1091013"/>
                <a:gd name="connsiteY15" fmla="*/ 296026 h 636419"/>
                <a:gd name="connsiteX16" fmla="*/ 984427 w 1091013"/>
                <a:gd name="connsiteY16" fmla="*/ 377415 h 636419"/>
                <a:gd name="connsiteX17" fmla="*/ 548787 w 1091013"/>
                <a:gd name="connsiteY17" fmla="*/ 138357 h 636419"/>
                <a:gd name="connsiteX18" fmla="*/ 102757 w 1091013"/>
                <a:gd name="connsiteY18" fmla="*/ 355366 h 636419"/>
                <a:gd name="connsiteX19" fmla="*/ 0 w 1091013"/>
                <a:gd name="connsiteY19" fmla="*/ 268741 h 636419"/>
                <a:gd name="connsiteX20" fmla="*/ 551934 w 1091013"/>
                <a:gd name="connsiteY20" fmla="*/ 206 h 6364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91013" h="636419">
                  <a:moveTo>
                    <a:pt x="542060" y="440253"/>
                  </a:moveTo>
                  <a:cubicBezTo>
                    <a:pt x="625253" y="442383"/>
                    <a:pt x="702753" y="484998"/>
                    <a:pt x="751690" y="555523"/>
                  </a:cubicBezTo>
                  <a:lnTo>
                    <a:pt x="645501" y="636419"/>
                  </a:lnTo>
                  <a:cubicBezTo>
                    <a:pt x="620604" y="600540"/>
                    <a:pt x="581178" y="578860"/>
                    <a:pt x="538855" y="577777"/>
                  </a:cubicBezTo>
                  <a:cubicBezTo>
                    <a:pt x="496531" y="576693"/>
                    <a:pt x="456141" y="596330"/>
                    <a:pt x="429602" y="630893"/>
                  </a:cubicBezTo>
                  <a:lnTo>
                    <a:pt x="327309" y="544661"/>
                  </a:lnTo>
                  <a:cubicBezTo>
                    <a:pt x="379475" y="476723"/>
                    <a:pt x="458866" y="438124"/>
                    <a:pt x="542060" y="440253"/>
                  </a:cubicBezTo>
                  <a:close/>
                  <a:moveTo>
                    <a:pt x="545874" y="206756"/>
                  </a:moveTo>
                  <a:cubicBezTo>
                    <a:pt x="697886" y="210117"/>
                    <a:pt x="839802" y="287209"/>
                    <a:pt x="930030" y="415440"/>
                  </a:cubicBezTo>
                  <a:lnTo>
                    <a:pt x="811318" y="507146"/>
                  </a:lnTo>
                  <a:cubicBezTo>
                    <a:pt x="748242" y="417503"/>
                    <a:pt x="649032" y="363609"/>
                    <a:pt x="542762" y="361259"/>
                  </a:cubicBezTo>
                  <a:cubicBezTo>
                    <a:pt x="436493" y="358909"/>
                    <a:pt x="335201" y="408371"/>
                    <a:pt x="268572" y="495146"/>
                  </a:cubicBezTo>
                  <a:lnTo>
                    <a:pt x="153658" y="398274"/>
                  </a:lnTo>
                  <a:cubicBezTo>
                    <a:pt x="248968" y="274145"/>
                    <a:pt x="393861" y="203395"/>
                    <a:pt x="545874" y="206756"/>
                  </a:cubicBezTo>
                  <a:close/>
                  <a:moveTo>
                    <a:pt x="551934" y="206"/>
                  </a:moveTo>
                  <a:cubicBezTo>
                    <a:pt x="765767" y="5553"/>
                    <a:pt x="965038" y="114903"/>
                    <a:pt x="1091013" y="296026"/>
                  </a:cubicBezTo>
                  <a:lnTo>
                    <a:pt x="984427" y="377415"/>
                  </a:lnTo>
                  <a:cubicBezTo>
                    <a:pt x="882624" y="231046"/>
                    <a:pt x="721590" y="142678"/>
                    <a:pt x="548787" y="138357"/>
                  </a:cubicBezTo>
                  <a:cubicBezTo>
                    <a:pt x="375984" y="134036"/>
                    <a:pt x="211110" y="214253"/>
                    <a:pt x="102757" y="355366"/>
                  </a:cubicBezTo>
                  <a:lnTo>
                    <a:pt x="0" y="268741"/>
                  </a:lnTo>
                  <a:cubicBezTo>
                    <a:pt x="134080" y="94121"/>
                    <a:pt x="338101" y="-5143"/>
                    <a:pt x="551934" y="206"/>
                  </a:cubicBezTo>
                  <a:close/>
                </a:path>
              </a:pathLst>
            </a:cu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241" name="Group 240"/>
          <p:cNvGrpSpPr/>
          <p:nvPr/>
        </p:nvGrpSpPr>
        <p:grpSpPr>
          <a:xfrm>
            <a:off x="2776694" y="1807571"/>
            <a:ext cx="731520" cy="189283"/>
            <a:chOff x="1006509" y="3740053"/>
            <a:chExt cx="731520" cy="189283"/>
          </a:xfrm>
        </p:grpSpPr>
        <p:sp>
          <p:nvSpPr>
            <p:cNvPr id="242" name="Round Same Side Corner Rectangle 241"/>
            <p:cNvSpPr/>
            <p:nvPr/>
          </p:nvSpPr>
          <p:spPr bwMode="auto">
            <a:xfrm flipV="1">
              <a:off x="1006509" y="3762688"/>
              <a:ext cx="731520" cy="128016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1"/>
            </a:solidFill>
            <a:ln w="19050" cap="rnd">
              <a:noFill/>
              <a:prstDash val="sysDot"/>
              <a:miter lim="800000"/>
              <a:headEnd type="none" w="med" len="med"/>
              <a:tailEnd type="none" w="med" len="med"/>
            </a:ln>
          </p:spPr>
          <p:txBody>
            <a:bodyPr wrap="square" lIns="91440" tIns="45720" rIns="91440" bIns="45720" rtlCol="0" anchor="ctr">
              <a:noAutofit/>
            </a:bodyPr>
            <a:lstStyle/>
            <a:p>
              <a:pPr algn="ctr" defTabSz="514350"/>
              <a:endParaRPr lang="en-US" sz="1400" dirty="0">
                <a:solidFill>
                  <a:srgbClr val="FFFFFF"/>
                </a:solidFill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  <p:sp>
          <p:nvSpPr>
            <p:cNvPr id="243" name="TextBox 242"/>
            <p:cNvSpPr txBox="1"/>
            <p:nvPr/>
          </p:nvSpPr>
          <p:spPr>
            <a:xfrm>
              <a:off x="1058806" y="3740053"/>
              <a:ext cx="635110" cy="18928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lnSpc>
                  <a:spcPct val="90000"/>
                </a:lnSpc>
                <a:spcBef>
                  <a:spcPts val="600"/>
                </a:spcBef>
              </a:pPr>
              <a:r>
                <a:rPr lang="en-US" sz="700" dirty="0" smtClean="0">
                  <a:solidFill>
                    <a:srgbClr val="FFFFFF"/>
                  </a:solidFill>
                </a:rPr>
                <a:t>SERVICES</a:t>
              </a:r>
            </a:p>
          </p:txBody>
        </p:sp>
      </p:grpSp>
      <p:sp>
        <p:nvSpPr>
          <p:cNvPr id="244" name="Freeform 243"/>
          <p:cNvSpPr>
            <a:spLocks noChangeAspect="1"/>
          </p:cNvSpPr>
          <p:nvPr/>
        </p:nvSpPr>
        <p:spPr>
          <a:xfrm>
            <a:off x="7045096" y="2653184"/>
            <a:ext cx="368094" cy="365760"/>
          </a:xfrm>
          <a:custGeom>
            <a:avLst/>
            <a:gdLst>
              <a:gd name="connsiteX0" fmla="*/ 1551941 w 2756404"/>
              <a:gd name="connsiteY0" fmla="*/ 2145997 h 2738925"/>
              <a:gd name="connsiteX1" fmla="*/ 1552784 w 2756404"/>
              <a:gd name="connsiteY1" fmla="*/ 2146456 h 2738925"/>
              <a:gd name="connsiteX2" fmla="*/ 1552447 w 2756404"/>
              <a:gd name="connsiteY2" fmla="*/ 2147409 h 2738925"/>
              <a:gd name="connsiteX3" fmla="*/ 662214 w 2756404"/>
              <a:gd name="connsiteY3" fmla="*/ 1995857 h 2738925"/>
              <a:gd name="connsiteX4" fmla="*/ 622476 w 2756404"/>
              <a:gd name="connsiteY4" fmla="*/ 2035595 h 2738925"/>
              <a:gd name="connsiteX5" fmla="*/ 622476 w 2756404"/>
              <a:gd name="connsiteY5" fmla="*/ 2120566 h 2738925"/>
              <a:gd name="connsiteX6" fmla="*/ 662214 w 2756404"/>
              <a:gd name="connsiteY6" fmla="*/ 2160303 h 2738925"/>
              <a:gd name="connsiteX7" fmla="*/ 701951 w 2756404"/>
              <a:gd name="connsiteY7" fmla="*/ 2120566 h 2738925"/>
              <a:gd name="connsiteX8" fmla="*/ 701951 w 2756404"/>
              <a:gd name="connsiteY8" fmla="*/ 2035595 h 2738925"/>
              <a:gd name="connsiteX9" fmla="*/ 662214 w 2756404"/>
              <a:gd name="connsiteY9" fmla="*/ 1995857 h 2738925"/>
              <a:gd name="connsiteX10" fmla="*/ 540123 w 2756404"/>
              <a:gd name="connsiteY10" fmla="*/ 1471680 h 2738925"/>
              <a:gd name="connsiteX11" fmla="*/ 500385 w 2756404"/>
              <a:gd name="connsiteY11" fmla="*/ 1511417 h 2738925"/>
              <a:gd name="connsiteX12" fmla="*/ 540123 w 2756404"/>
              <a:gd name="connsiteY12" fmla="*/ 1551155 h 2738925"/>
              <a:gd name="connsiteX13" fmla="*/ 785133 w 2756404"/>
              <a:gd name="connsiteY13" fmla="*/ 1551155 h 2738925"/>
              <a:gd name="connsiteX14" fmla="*/ 824870 w 2756404"/>
              <a:gd name="connsiteY14" fmla="*/ 1511417 h 2738925"/>
              <a:gd name="connsiteX15" fmla="*/ 785133 w 2756404"/>
              <a:gd name="connsiteY15" fmla="*/ 1471680 h 2738925"/>
              <a:gd name="connsiteX16" fmla="*/ 1662300 w 2756404"/>
              <a:gd name="connsiteY16" fmla="*/ 1424360 h 2738925"/>
              <a:gd name="connsiteX17" fmla="*/ 1788393 w 2756404"/>
              <a:gd name="connsiteY17" fmla="*/ 1469050 h 2738925"/>
              <a:gd name="connsiteX18" fmla="*/ 1796176 w 2756404"/>
              <a:gd name="connsiteY18" fmla="*/ 1476499 h 2738925"/>
              <a:gd name="connsiteX19" fmla="*/ 1825683 w 2756404"/>
              <a:gd name="connsiteY19" fmla="*/ 1481935 h 2738925"/>
              <a:gd name="connsiteX20" fmla="*/ 1917831 w 2756404"/>
              <a:gd name="connsiteY20" fmla="*/ 1788456 h 2738925"/>
              <a:gd name="connsiteX21" fmla="*/ 1908651 w 2756404"/>
              <a:gd name="connsiteY21" fmla="*/ 1812344 h 2738925"/>
              <a:gd name="connsiteX22" fmla="*/ 1918113 w 2756404"/>
              <a:gd name="connsiteY22" fmla="*/ 1823602 h 2738925"/>
              <a:gd name="connsiteX23" fmla="*/ 1911540 w 2756404"/>
              <a:gd name="connsiteY23" fmla="*/ 1934034 h 2738925"/>
              <a:gd name="connsiteX24" fmla="*/ 1885110 w 2756404"/>
              <a:gd name="connsiteY24" fmla="*/ 1958860 h 2738925"/>
              <a:gd name="connsiteX25" fmla="*/ 1882622 w 2756404"/>
              <a:gd name="connsiteY25" fmla="*/ 1982528 h 2738925"/>
              <a:gd name="connsiteX26" fmla="*/ 1879942 w 2756404"/>
              <a:gd name="connsiteY26" fmla="*/ 1989071 h 2738925"/>
              <a:gd name="connsiteX27" fmla="*/ 1877251 w 2756404"/>
              <a:gd name="connsiteY27" fmla="*/ 2014969 h 2738925"/>
              <a:gd name="connsiteX28" fmla="*/ 1856715 w 2756404"/>
              <a:gd name="connsiteY28" fmla="*/ 2054671 h 2738925"/>
              <a:gd name="connsiteX29" fmla="*/ 1827825 w 2756404"/>
              <a:gd name="connsiteY29" fmla="*/ 2079504 h 2738925"/>
              <a:gd name="connsiteX30" fmla="*/ 1817315 w 2756404"/>
              <a:gd name="connsiteY30" fmla="*/ 2091639 h 2738925"/>
              <a:gd name="connsiteX31" fmla="*/ 1774117 w 2756404"/>
              <a:gd name="connsiteY31" fmla="*/ 2116414 h 2738925"/>
              <a:gd name="connsiteX32" fmla="*/ 1779508 w 2756404"/>
              <a:gd name="connsiteY32" fmla="*/ 2156433 h 2738925"/>
              <a:gd name="connsiteX33" fmla="*/ 1790077 w 2756404"/>
              <a:gd name="connsiteY33" fmla="*/ 2199048 h 2738925"/>
              <a:gd name="connsiteX34" fmla="*/ 1790363 w 2756404"/>
              <a:gd name="connsiteY34" fmla="*/ 2199048 h 2738925"/>
              <a:gd name="connsiteX35" fmla="*/ 1792080 w 2756404"/>
              <a:gd name="connsiteY35" fmla="*/ 2205689 h 2738925"/>
              <a:gd name="connsiteX36" fmla="*/ 1853546 w 2756404"/>
              <a:gd name="connsiteY36" fmla="*/ 2317622 h 2738925"/>
              <a:gd name="connsiteX37" fmla="*/ 1863125 w 2756404"/>
              <a:gd name="connsiteY37" fmla="*/ 2324117 h 2738925"/>
              <a:gd name="connsiteX38" fmla="*/ 1872906 w 2756404"/>
              <a:gd name="connsiteY38" fmla="*/ 2328189 h 2738925"/>
              <a:gd name="connsiteX39" fmla="*/ 1893794 w 2756404"/>
              <a:gd name="connsiteY39" fmla="*/ 2331533 h 2738925"/>
              <a:gd name="connsiteX40" fmla="*/ 2214780 w 2756404"/>
              <a:gd name="connsiteY40" fmla="*/ 2581283 h 2738925"/>
              <a:gd name="connsiteX41" fmla="*/ 1163667 w 2756404"/>
              <a:gd name="connsiteY41" fmla="*/ 2581283 h 2738925"/>
              <a:gd name="connsiteX42" fmla="*/ 1484653 w 2756404"/>
              <a:gd name="connsiteY42" fmla="*/ 2331533 h 2738925"/>
              <a:gd name="connsiteX43" fmla="*/ 1489842 w 2756404"/>
              <a:gd name="connsiteY43" fmla="*/ 2330702 h 2738925"/>
              <a:gd name="connsiteX44" fmla="*/ 1509134 w 2756404"/>
              <a:gd name="connsiteY44" fmla="*/ 2317622 h 2738925"/>
              <a:gd name="connsiteX45" fmla="*/ 1542991 w 2756404"/>
              <a:gd name="connsiteY45" fmla="*/ 2272595 h 2738925"/>
              <a:gd name="connsiteX46" fmla="*/ 1570071 w 2756404"/>
              <a:gd name="connsiteY46" fmla="*/ 2206969 h 2738925"/>
              <a:gd name="connsiteX47" fmla="*/ 1571301 w 2756404"/>
              <a:gd name="connsiteY47" fmla="*/ 2202976 h 2738925"/>
              <a:gd name="connsiteX48" fmla="*/ 1572317 w 2756404"/>
              <a:gd name="connsiteY48" fmla="*/ 2199048 h 2738925"/>
              <a:gd name="connsiteX49" fmla="*/ 1572510 w 2756404"/>
              <a:gd name="connsiteY49" fmla="*/ 2199048 h 2738925"/>
              <a:gd name="connsiteX50" fmla="*/ 1580515 w 2756404"/>
              <a:gd name="connsiteY50" fmla="*/ 2173052 h 2738925"/>
              <a:gd name="connsiteX51" fmla="*/ 1584637 w 2756404"/>
              <a:gd name="connsiteY51" fmla="*/ 2156433 h 2738925"/>
              <a:gd name="connsiteX52" fmla="*/ 1591434 w 2756404"/>
              <a:gd name="connsiteY52" fmla="*/ 2105981 h 2738925"/>
              <a:gd name="connsiteX53" fmla="*/ 1566427 w 2756404"/>
              <a:gd name="connsiteY53" fmla="*/ 2091639 h 2738925"/>
              <a:gd name="connsiteX54" fmla="*/ 1523211 w 2756404"/>
              <a:gd name="connsiteY54" fmla="*/ 2041741 h 2738925"/>
              <a:gd name="connsiteX55" fmla="*/ 1523128 w 2756404"/>
              <a:gd name="connsiteY55" fmla="*/ 2041573 h 2738925"/>
              <a:gd name="connsiteX56" fmla="*/ 1523665 w 2756404"/>
              <a:gd name="connsiteY56" fmla="*/ 2041573 h 2738925"/>
              <a:gd name="connsiteX57" fmla="*/ 1499488 w 2756404"/>
              <a:gd name="connsiteY57" fmla="*/ 1982528 h 2738925"/>
              <a:gd name="connsiteX58" fmla="*/ 1497259 w 2756404"/>
              <a:gd name="connsiteY58" fmla="*/ 1961326 h 2738925"/>
              <a:gd name="connsiteX59" fmla="*/ 1482209 w 2756404"/>
              <a:gd name="connsiteY59" fmla="*/ 1953763 h 2738925"/>
              <a:gd name="connsiteX60" fmla="*/ 1463885 w 2756404"/>
              <a:gd name="connsiteY60" fmla="*/ 1813709 h 2738925"/>
              <a:gd name="connsiteX61" fmla="*/ 1465756 w 2756404"/>
              <a:gd name="connsiteY61" fmla="*/ 1811951 h 2738925"/>
              <a:gd name="connsiteX62" fmla="*/ 1454500 w 2756404"/>
              <a:gd name="connsiteY62" fmla="*/ 1787889 h 2738925"/>
              <a:gd name="connsiteX63" fmla="*/ 1436776 w 2756404"/>
              <a:gd name="connsiteY63" fmla="*/ 1686033 h 2738925"/>
              <a:gd name="connsiteX64" fmla="*/ 1662300 w 2756404"/>
              <a:gd name="connsiteY64" fmla="*/ 1424360 h 2738925"/>
              <a:gd name="connsiteX65" fmla="*/ 540123 w 2756404"/>
              <a:gd name="connsiteY65" fmla="*/ 1304707 h 2738925"/>
              <a:gd name="connsiteX66" fmla="*/ 500385 w 2756404"/>
              <a:gd name="connsiteY66" fmla="*/ 1344445 h 2738925"/>
              <a:gd name="connsiteX67" fmla="*/ 540123 w 2756404"/>
              <a:gd name="connsiteY67" fmla="*/ 1384183 h 2738925"/>
              <a:gd name="connsiteX68" fmla="*/ 785133 w 2756404"/>
              <a:gd name="connsiteY68" fmla="*/ 1384183 h 2738925"/>
              <a:gd name="connsiteX69" fmla="*/ 824870 w 2756404"/>
              <a:gd name="connsiteY69" fmla="*/ 1344445 h 2738925"/>
              <a:gd name="connsiteX70" fmla="*/ 785133 w 2756404"/>
              <a:gd name="connsiteY70" fmla="*/ 1304707 h 2738925"/>
              <a:gd name="connsiteX71" fmla="*/ 1135216 w 2756404"/>
              <a:gd name="connsiteY71" fmla="*/ 1217049 h 2738925"/>
              <a:gd name="connsiteX72" fmla="*/ 2239906 w 2756404"/>
              <a:gd name="connsiteY72" fmla="*/ 1217049 h 2738925"/>
              <a:gd name="connsiteX73" fmla="*/ 2270235 w 2756404"/>
              <a:gd name="connsiteY73" fmla="*/ 1247378 h 2738925"/>
              <a:gd name="connsiteX74" fmla="*/ 2270235 w 2756404"/>
              <a:gd name="connsiteY74" fmla="*/ 2013340 h 2738925"/>
              <a:gd name="connsiteX75" fmla="*/ 2239906 w 2756404"/>
              <a:gd name="connsiteY75" fmla="*/ 2043668 h 2738925"/>
              <a:gd name="connsiteX76" fmla="*/ 1911339 w 2756404"/>
              <a:gd name="connsiteY76" fmla="*/ 2043668 h 2738925"/>
              <a:gd name="connsiteX77" fmla="*/ 1924949 w 2756404"/>
              <a:gd name="connsiteY77" fmla="*/ 2012149 h 2738925"/>
              <a:gd name="connsiteX78" fmla="*/ 1927972 w 2756404"/>
              <a:gd name="connsiteY78" fmla="*/ 1984886 h 2738925"/>
              <a:gd name="connsiteX79" fmla="*/ 1960080 w 2756404"/>
              <a:gd name="connsiteY79" fmla="*/ 1956287 h 2738925"/>
              <a:gd name="connsiteX80" fmla="*/ 1968065 w 2756404"/>
              <a:gd name="connsiteY80" fmla="*/ 1829073 h 2738925"/>
              <a:gd name="connsiteX81" fmla="*/ 1956570 w 2756404"/>
              <a:gd name="connsiteY81" fmla="*/ 1816105 h 2738925"/>
              <a:gd name="connsiteX82" fmla="*/ 1967722 w 2756404"/>
              <a:gd name="connsiteY82" fmla="*/ 1788587 h 2738925"/>
              <a:gd name="connsiteX83" fmla="*/ 1855779 w 2756404"/>
              <a:gd name="connsiteY83" fmla="*/ 1435489 h 2738925"/>
              <a:gd name="connsiteX84" fmla="*/ 1819933 w 2756404"/>
              <a:gd name="connsiteY84" fmla="*/ 1429227 h 2738925"/>
              <a:gd name="connsiteX85" fmla="*/ 1810479 w 2756404"/>
              <a:gd name="connsiteY85" fmla="*/ 1420645 h 2738925"/>
              <a:gd name="connsiteX86" fmla="*/ 1657298 w 2756404"/>
              <a:gd name="connsiteY86" fmla="*/ 1369164 h 2738925"/>
              <a:gd name="connsiteX87" fmla="*/ 1383326 w 2756404"/>
              <a:gd name="connsiteY87" fmla="*/ 1670600 h 2738925"/>
              <a:gd name="connsiteX88" fmla="*/ 1404857 w 2756404"/>
              <a:gd name="connsiteY88" fmla="*/ 1787934 h 2738925"/>
              <a:gd name="connsiteX89" fmla="*/ 1418531 w 2756404"/>
              <a:gd name="connsiteY89" fmla="*/ 1815653 h 2738925"/>
              <a:gd name="connsiteX90" fmla="*/ 1416259 w 2756404"/>
              <a:gd name="connsiteY90" fmla="*/ 1817678 h 2738925"/>
              <a:gd name="connsiteX91" fmla="*/ 1438519 w 2756404"/>
              <a:gd name="connsiteY91" fmla="*/ 1979014 h 2738925"/>
              <a:gd name="connsiteX92" fmla="*/ 1456802 w 2756404"/>
              <a:gd name="connsiteY92" fmla="*/ 1987726 h 2738925"/>
              <a:gd name="connsiteX93" fmla="*/ 1459510 w 2756404"/>
              <a:gd name="connsiteY93" fmla="*/ 2012149 h 2738925"/>
              <a:gd name="connsiteX94" fmla="*/ 1473120 w 2756404"/>
              <a:gd name="connsiteY94" fmla="*/ 2043668 h 2738925"/>
              <a:gd name="connsiteX95" fmla="*/ 1135216 w 2756404"/>
              <a:gd name="connsiteY95" fmla="*/ 2043668 h 2738925"/>
              <a:gd name="connsiteX96" fmla="*/ 1104888 w 2756404"/>
              <a:gd name="connsiteY96" fmla="*/ 2013340 h 2738925"/>
              <a:gd name="connsiteX97" fmla="*/ 1104888 w 2756404"/>
              <a:gd name="connsiteY97" fmla="*/ 1247378 h 2738925"/>
              <a:gd name="connsiteX98" fmla="*/ 1135216 w 2756404"/>
              <a:gd name="connsiteY98" fmla="*/ 1217049 h 2738925"/>
              <a:gd name="connsiteX99" fmla="*/ 471471 w 2756404"/>
              <a:gd name="connsiteY99" fmla="*/ 1215633 h 2738925"/>
              <a:gd name="connsiteX100" fmla="*/ 849623 w 2756404"/>
              <a:gd name="connsiteY100" fmla="*/ 1215633 h 2738925"/>
              <a:gd name="connsiteX101" fmla="*/ 878462 w 2756404"/>
              <a:gd name="connsiteY101" fmla="*/ 1244472 h 2738925"/>
              <a:gd name="connsiteX102" fmla="*/ 878462 w 2756404"/>
              <a:gd name="connsiteY102" fmla="*/ 2265231 h 2738925"/>
              <a:gd name="connsiteX103" fmla="*/ 849623 w 2756404"/>
              <a:gd name="connsiteY103" fmla="*/ 2294070 h 2738925"/>
              <a:gd name="connsiteX104" fmla="*/ 471471 w 2756404"/>
              <a:gd name="connsiteY104" fmla="*/ 2294070 h 2738925"/>
              <a:gd name="connsiteX105" fmla="*/ 442632 w 2756404"/>
              <a:gd name="connsiteY105" fmla="*/ 2265231 h 2738925"/>
              <a:gd name="connsiteX106" fmla="*/ 442632 w 2756404"/>
              <a:gd name="connsiteY106" fmla="*/ 1244472 h 2738925"/>
              <a:gd name="connsiteX107" fmla="*/ 471471 w 2756404"/>
              <a:gd name="connsiteY107" fmla="*/ 1215633 h 2738925"/>
              <a:gd name="connsiteX108" fmla="*/ 1069385 w 2756404"/>
              <a:gd name="connsiteY108" fmla="*/ 1137735 h 2738925"/>
              <a:gd name="connsiteX109" fmla="*/ 1030445 w 2756404"/>
              <a:gd name="connsiteY109" fmla="*/ 1176675 h 2738925"/>
              <a:gd name="connsiteX110" fmla="*/ 1030445 w 2756404"/>
              <a:gd name="connsiteY110" fmla="*/ 2160108 h 2738925"/>
              <a:gd name="connsiteX111" fmla="*/ 1069385 w 2756404"/>
              <a:gd name="connsiteY111" fmla="*/ 2199048 h 2738925"/>
              <a:gd name="connsiteX112" fmla="*/ 1531235 w 2756404"/>
              <a:gd name="connsiteY112" fmla="*/ 2199048 h 2738925"/>
              <a:gd name="connsiteX113" fmla="*/ 1505265 w 2756404"/>
              <a:gd name="connsiteY113" fmla="*/ 2235882 h 2738925"/>
              <a:gd name="connsiteX114" fmla="*/ 1417026 w 2756404"/>
              <a:gd name="connsiteY114" fmla="*/ 2295999 h 2738925"/>
              <a:gd name="connsiteX115" fmla="*/ 1387793 w 2756404"/>
              <a:gd name="connsiteY115" fmla="*/ 2303853 h 2738925"/>
              <a:gd name="connsiteX116" fmla="*/ 1372320 w 2756404"/>
              <a:gd name="connsiteY116" fmla="*/ 2310296 h 2738925"/>
              <a:gd name="connsiteX117" fmla="*/ 1371680 w 2756404"/>
              <a:gd name="connsiteY117" fmla="*/ 2310911 h 2738925"/>
              <a:gd name="connsiteX118" fmla="*/ 1369951 w 2756404"/>
              <a:gd name="connsiteY118" fmla="*/ 2311654 h 2738925"/>
              <a:gd name="connsiteX119" fmla="*/ 1352860 w 2756404"/>
              <a:gd name="connsiteY119" fmla="*/ 2317346 h 2738925"/>
              <a:gd name="connsiteX120" fmla="*/ 1095265 w 2756404"/>
              <a:gd name="connsiteY120" fmla="*/ 2573621 h 2738925"/>
              <a:gd name="connsiteX121" fmla="*/ 1092035 w 2756404"/>
              <a:gd name="connsiteY121" fmla="*/ 2605043 h 2738925"/>
              <a:gd name="connsiteX122" fmla="*/ 1090710 w 2756404"/>
              <a:gd name="connsiteY122" fmla="*/ 2605043 h 2738925"/>
              <a:gd name="connsiteX123" fmla="*/ 1090710 w 2756404"/>
              <a:gd name="connsiteY123" fmla="*/ 2617925 h 2738925"/>
              <a:gd name="connsiteX124" fmla="*/ 1090484 w 2756404"/>
              <a:gd name="connsiteY124" fmla="*/ 2620127 h 2738925"/>
              <a:gd name="connsiteX125" fmla="*/ 1090710 w 2756404"/>
              <a:gd name="connsiteY125" fmla="*/ 2620127 h 2738925"/>
              <a:gd name="connsiteX126" fmla="*/ 1090710 w 2756404"/>
              <a:gd name="connsiteY126" fmla="*/ 2647486 h 2738925"/>
              <a:gd name="connsiteX127" fmla="*/ 2279835 w 2756404"/>
              <a:gd name="connsiteY127" fmla="*/ 2647486 h 2738925"/>
              <a:gd name="connsiteX128" fmla="*/ 2279835 w 2756404"/>
              <a:gd name="connsiteY128" fmla="*/ 2620127 h 2738925"/>
              <a:gd name="connsiteX129" fmla="*/ 2280692 w 2756404"/>
              <a:gd name="connsiteY129" fmla="*/ 2620127 h 2738925"/>
              <a:gd name="connsiteX130" fmla="*/ 2279835 w 2756404"/>
              <a:gd name="connsiteY130" fmla="*/ 2611798 h 2738925"/>
              <a:gd name="connsiteX131" fmla="*/ 2279835 w 2756404"/>
              <a:gd name="connsiteY131" fmla="*/ 2605043 h 2738925"/>
              <a:gd name="connsiteX132" fmla="*/ 2279140 w 2756404"/>
              <a:gd name="connsiteY132" fmla="*/ 2605043 h 2738925"/>
              <a:gd name="connsiteX133" fmla="*/ 2275910 w 2756404"/>
              <a:gd name="connsiteY133" fmla="*/ 2573621 h 2738925"/>
              <a:gd name="connsiteX134" fmla="*/ 2018316 w 2756404"/>
              <a:gd name="connsiteY134" fmla="*/ 2317346 h 2738925"/>
              <a:gd name="connsiteX135" fmla="*/ 2013079 w 2756404"/>
              <a:gd name="connsiteY135" fmla="*/ 2315602 h 2738925"/>
              <a:gd name="connsiteX136" fmla="*/ 1996569 w 2756404"/>
              <a:gd name="connsiteY136" fmla="*/ 2311180 h 2738925"/>
              <a:gd name="connsiteX137" fmla="*/ 1970952 w 2756404"/>
              <a:gd name="connsiteY137" fmla="*/ 2300513 h 2738925"/>
              <a:gd name="connsiteX138" fmla="*/ 1954148 w 2756404"/>
              <a:gd name="connsiteY138" fmla="*/ 2295999 h 2738925"/>
              <a:gd name="connsiteX139" fmla="*/ 1865909 w 2756404"/>
              <a:gd name="connsiteY139" fmla="*/ 2235882 h 2738925"/>
              <a:gd name="connsiteX140" fmla="*/ 1839938 w 2756404"/>
              <a:gd name="connsiteY140" fmla="*/ 2199048 h 2738925"/>
              <a:gd name="connsiteX141" fmla="*/ 2301790 w 2756404"/>
              <a:gd name="connsiteY141" fmla="*/ 2199048 h 2738925"/>
              <a:gd name="connsiteX142" fmla="*/ 2340730 w 2756404"/>
              <a:gd name="connsiteY142" fmla="*/ 2160108 h 2738925"/>
              <a:gd name="connsiteX143" fmla="*/ 2340730 w 2756404"/>
              <a:gd name="connsiteY143" fmla="*/ 1176675 h 2738925"/>
              <a:gd name="connsiteX144" fmla="*/ 2301790 w 2756404"/>
              <a:gd name="connsiteY144" fmla="*/ 1137735 h 2738925"/>
              <a:gd name="connsiteX145" fmla="*/ 414074 w 2756404"/>
              <a:gd name="connsiteY145" fmla="*/ 1137735 h 2738925"/>
              <a:gd name="connsiteX146" fmla="*/ 376163 w 2756404"/>
              <a:gd name="connsiteY146" fmla="*/ 1175646 h 2738925"/>
              <a:gd name="connsiteX147" fmla="*/ 376163 w 2756404"/>
              <a:gd name="connsiteY147" fmla="*/ 2332509 h 2738925"/>
              <a:gd name="connsiteX148" fmla="*/ 414074 w 2756404"/>
              <a:gd name="connsiteY148" fmla="*/ 2370419 h 2738925"/>
              <a:gd name="connsiteX149" fmla="*/ 911182 w 2756404"/>
              <a:gd name="connsiteY149" fmla="*/ 2370419 h 2738925"/>
              <a:gd name="connsiteX150" fmla="*/ 949092 w 2756404"/>
              <a:gd name="connsiteY150" fmla="*/ 2332509 h 2738925"/>
              <a:gd name="connsiteX151" fmla="*/ 949092 w 2756404"/>
              <a:gd name="connsiteY151" fmla="*/ 1175646 h 2738925"/>
              <a:gd name="connsiteX152" fmla="*/ 911182 w 2756404"/>
              <a:gd name="connsiteY152" fmla="*/ 1137735 h 2738925"/>
              <a:gd name="connsiteX153" fmla="*/ 1378203 w 2756404"/>
              <a:gd name="connsiteY153" fmla="*/ 496404 h 2738925"/>
              <a:gd name="connsiteX154" fmla="*/ 2559830 w 2756404"/>
              <a:gd name="connsiteY154" fmla="*/ 1073920 h 2738925"/>
              <a:gd name="connsiteX155" fmla="*/ 2559831 w 2756404"/>
              <a:gd name="connsiteY155" fmla="*/ 1073920 h 2738925"/>
              <a:gd name="connsiteX156" fmla="*/ 2559831 w 2756404"/>
              <a:gd name="connsiteY156" fmla="*/ 2738925 h 2738925"/>
              <a:gd name="connsiteX157" fmla="*/ 196576 w 2756404"/>
              <a:gd name="connsiteY157" fmla="*/ 2738925 h 2738925"/>
              <a:gd name="connsiteX158" fmla="*/ 196576 w 2756404"/>
              <a:gd name="connsiteY158" fmla="*/ 1073920 h 2738925"/>
              <a:gd name="connsiteX159" fmla="*/ 196575 w 2756404"/>
              <a:gd name="connsiteY159" fmla="*/ 1073920 h 2738925"/>
              <a:gd name="connsiteX160" fmla="*/ 441535 w 2756404"/>
              <a:gd name="connsiteY160" fmla="*/ 0 h 2738925"/>
              <a:gd name="connsiteX161" fmla="*/ 693944 w 2756404"/>
              <a:gd name="connsiteY161" fmla="*/ 0 h 2738925"/>
              <a:gd name="connsiteX162" fmla="*/ 693944 w 2756404"/>
              <a:gd name="connsiteY162" fmla="*/ 420806 h 2738925"/>
              <a:gd name="connsiteX163" fmla="*/ 1373851 w 2756404"/>
              <a:gd name="connsiteY163" fmla="*/ 76659 h 2738925"/>
              <a:gd name="connsiteX164" fmla="*/ 1378203 w 2756404"/>
              <a:gd name="connsiteY164" fmla="*/ 85256 h 2738925"/>
              <a:gd name="connsiteX165" fmla="*/ 1382554 w 2756404"/>
              <a:gd name="connsiteY165" fmla="*/ 76660 h 2738925"/>
              <a:gd name="connsiteX166" fmla="*/ 2756404 w 2756404"/>
              <a:gd name="connsiteY166" fmla="*/ 772060 h 2738925"/>
              <a:gd name="connsiteX167" fmla="*/ 2642414 w 2756404"/>
              <a:gd name="connsiteY167" fmla="*/ 997263 h 2738925"/>
              <a:gd name="connsiteX168" fmla="*/ 1378201 w 2756404"/>
              <a:gd name="connsiteY168" fmla="*/ 357358 h 2738925"/>
              <a:gd name="connsiteX169" fmla="*/ 113991 w 2756404"/>
              <a:gd name="connsiteY169" fmla="*/ 997262 h 2738925"/>
              <a:gd name="connsiteX170" fmla="*/ 0 w 2756404"/>
              <a:gd name="connsiteY170" fmla="*/ 772059 h 2738925"/>
              <a:gd name="connsiteX171" fmla="*/ 441535 w 2756404"/>
              <a:gd name="connsiteY171" fmla="*/ 548568 h 2738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</a:cxnLst>
            <a:rect l="l" t="t" r="r" b="b"/>
            <a:pathLst>
              <a:path w="2756404" h="2738925">
                <a:moveTo>
                  <a:pt x="1551941" y="2145997"/>
                </a:moveTo>
                <a:lnTo>
                  <a:pt x="1552784" y="2146456"/>
                </a:lnTo>
                <a:lnTo>
                  <a:pt x="1552447" y="2147409"/>
                </a:lnTo>
                <a:close/>
                <a:moveTo>
                  <a:pt x="662214" y="1995857"/>
                </a:moveTo>
                <a:cubicBezTo>
                  <a:pt x="640267" y="1995857"/>
                  <a:pt x="622476" y="2013648"/>
                  <a:pt x="622476" y="2035595"/>
                </a:cubicBezTo>
                <a:lnTo>
                  <a:pt x="622476" y="2120566"/>
                </a:lnTo>
                <a:cubicBezTo>
                  <a:pt x="622476" y="2142512"/>
                  <a:pt x="640267" y="2160303"/>
                  <a:pt x="662214" y="2160303"/>
                </a:cubicBezTo>
                <a:cubicBezTo>
                  <a:pt x="684160" y="2160303"/>
                  <a:pt x="701951" y="2142512"/>
                  <a:pt x="701951" y="2120566"/>
                </a:cubicBezTo>
                <a:lnTo>
                  <a:pt x="701951" y="2035595"/>
                </a:lnTo>
                <a:cubicBezTo>
                  <a:pt x="701951" y="2013648"/>
                  <a:pt x="684160" y="1995857"/>
                  <a:pt x="662214" y="1995857"/>
                </a:cubicBezTo>
                <a:close/>
                <a:moveTo>
                  <a:pt x="540123" y="1471680"/>
                </a:moveTo>
                <a:cubicBezTo>
                  <a:pt x="518176" y="1471680"/>
                  <a:pt x="500385" y="1489471"/>
                  <a:pt x="500385" y="1511417"/>
                </a:cubicBezTo>
                <a:cubicBezTo>
                  <a:pt x="500385" y="1533364"/>
                  <a:pt x="518176" y="1551155"/>
                  <a:pt x="540123" y="1551155"/>
                </a:cubicBezTo>
                <a:lnTo>
                  <a:pt x="785133" y="1551155"/>
                </a:lnTo>
                <a:cubicBezTo>
                  <a:pt x="807079" y="1551155"/>
                  <a:pt x="824870" y="1533364"/>
                  <a:pt x="824870" y="1511417"/>
                </a:cubicBezTo>
                <a:cubicBezTo>
                  <a:pt x="824870" y="1489471"/>
                  <a:pt x="807079" y="1471680"/>
                  <a:pt x="785133" y="1471680"/>
                </a:cubicBezTo>
                <a:close/>
                <a:moveTo>
                  <a:pt x="1662300" y="1424360"/>
                </a:moveTo>
                <a:cubicBezTo>
                  <a:pt x="1709009" y="1424360"/>
                  <a:pt x="1752399" y="1440835"/>
                  <a:pt x="1788393" y="1469050"/>
                </a:cubicBezTo>
                <a:lnTo>
                  <a:pt x="1796176" y="1476499"/>
                </a:lnTo>
                <a:lnTo>
                  <a:pt x="1825683" y="1481935"/>
                </a:lnTo>
                <a:cubicBezTo>
                  <a:pt x="1918794" y="1513733"/>
                  <a:pt x="1960050" y="1650967"/>
                  <a:pt x="1917831" y="1788456"/>
                </a:cubicBezTo>
                <a:lnTo>
                  <a:pt x="1908651" y="1812344"/>
                </a:lnTo>
                <a:lnTo>
                  <a:pt x="1918113" y="1823602"/>
                </a:lnTo>
                <a:cubicBezTo>
                  <a:pt x="1936532" y="1857274"/>
                  <a:pt x="1935226" y="1900843"/>
                  <a:pt x="1911540" y="1934034"/>
                </a:cubicBezTo>
                <a:lnTo>
                  <a:pt x="1885110" y="1958860"/>
                </a:lnTo>
                <a:lnTo>
                  <a:pt x="1882622" y="1982528"/>
                </a:lnTo>
                <a:lnTo>
                  <a:pt x="1879942" y="1989071"/>
                </a:lnTo>
                <a:lnTo>
                  <a:pt x="1877251" y="2014969"/>
                </a:lnTo>
                <a:cubicBezTo>
                  <a:pt x="1872836" y="2029641"/>
                  <a:pt x="1865811" y="2043104"/>
                  <a:pt x="1856715" y="2054671"/>
                </a:cubicBezTo>
                <a:lnTo>
                  <a:pt x="1827825" y="2079504"/>
                </a:lnTo>
                <a:lnTo>
                  <a:pt x="1817315" y="2091639"/>
                </a:lnTo>
                <a:lnTo>
                  <a:pt x="1774117" y="2116414"/>
                </a:lnTo>
                <a:lnTo>
                  <a:pt x="1779508" y="2156433"/>
                </a:lnTo>
                <a:lnTo>
                  <a:pt x="1790077" y="2199048"/>
                </a:lnTo>
                <a:lnTo>
                  <a:pt x="1790363" y="2199048"/>
                </a:lnTo>
                <a:lnTo>
                  <a:pt x="1792080" y="2205689"/>
                </a:lnTo>
                <a:cubicBezTo>
                  <a:pt x="1808041" y="2256638"/>
                  <a:pt x="1829253" y="2295845"/>
                  <a:pt x="1853546" y="2317622"/>
                </a:cubicBezTo>
                <a:lnTo>
                  <a:pt x="1863125" y="2324117"/>
                </a:lnTo>
                <a:lnTo>
                  <a:pt x="1872906" y="2328189"/>
                </a:lnTo>
                <a:lnTo>
                  <a:pt x="1893794" y="2331533"/>
                </a:lnTo>
                <a:cubicBezTo>
                  <a:pt x="2082424" y="2372680"/>
                  <a:pt x="2214780" y="2469010"/>
                  <a:pt x="2214780" y="2581283"/>
                </a:cubicBezTo>
                <a:lnTo>
                  <a:pt x="1163667" y="2581283"/>
                </a:lnTo>
                <a:cubicBezTo>
                  <a:pt x="1163667" y="2469010"/>
                  <a:pt x="1296023" y="2372680"/>
                  <a:pt x="1484653" y="2331533"/>
                </a:cubicBezTo>
                <a:lnTo>
                  <a:pt x="1489842" y="2330702"/>
                </a:lnTo>
                <a:lnTo>
                  <a:pt x="1509134" y="2317622"/>
                </a:lnTo>
                <a:cubicBezTo>
                  <a:pt x="1521280" y="2306733"/>
                  <a:pt x="1532656" y="2291487"/>
                  <a:pt x="1542991" y="2272595"/>
                </a:cubicBezTo>
                <a:lnTo>
                  <a:pt x="1570071" y="2206969"/>
                </a:lnTo>
                <a:lnTo>
                  <a:pt x="1571301" y="2202976"/>
                </a:lnTo>
                <a:lnTo>
                  <a:pt x="1572317" y="2199048"/>
                </a:lnTo>
                <a:lnTo>
                  <a:pt x="1572510" y="2199048"/>
                </a:lnTo>
                <a:lnTo>
                  <a:pt x="1580515" y="2173052"/>
                </a:lnTo>
                <a:lnTo>
                  <a:pt x="1584637" y="2156433"/>
                </a:lnTo>
                <a:lnTo>
                  <a:pt x="1591434" y="2105981"/>
                </a:lnTo>
                <a:lnTo>
                  <a:pt x="1566427" y="2091639"/>
                </a:lnTo>
                <a:cubicBezTo>
                  <a:pt x="1549382" y="2077577"/>
                  <a:pt x="1534741" y="2060709"/>
                  <a:pt x="1523211" y="2041741"/>
                </a:cubicBezTo>
                <a:lnTo>
                  <a:pt x="1523128" y="2041573"/>
                </a:lnTo>
                <a:lnTo>
                  <a:pt x="1523665" y="2041573"/>
                </a:lnTo>
                <a:lnTo>
                  <a:pt x="1499488" y="1982528"/>
                </a:lnTo>
                <a:lnTo>
                  <a:pt x="1497259" y="1961326"/>
                </a:lnTo>
                <a:lnTo>
                  <a:pt x="1482209" y="1953763"/>
                </a:lnTo>
                <a:cubicBezTo>
                  <a:pt x="1440508" y="1920669"/>
                  <a:pt x="1432304" y="1857965"/>
                  <a:pt x="1463885" y="1813709"/>
                </a:cubicBezTo>
                <a:lnTo>
                  <a:pt x="1465756" y="1811951"/>
                </a:lnTo>
                <a:lnTo>
                  <a:pt x="1454500" y="1787889"/>
                </a:lnTo>
                <a:cubicBezTo>
                  <a:pt x="1443087" y="1756582"/>
                  <a:pt x="1436776" y="1722163"/>
                  <a:pt x="1436776" y="1686033"/>
                </a:cubicBezTo>
                <a:cubicBezTo>
                  <a:pt x="1436776" y="1541515"/>
                  <a:pt x="1537747" y="1424360"/>
                  <a:pt x="1662300" y="1424360"/>
                </a:cubicBezTo>
                <a:close/>
                <a:moveTo>
                  <a:pt x="540123" y="1304707"/>
                </a:moveTo>
                <a:cubicBezTo>
                  <a:pt x="518176" y="1304707"/>
                  <a:pt x="500385" y="1322499"/>
                  <a:pt x="500385" y="1344445"/>
                </a:cubicBezTo>
                <a:cubicBezTo>
                  <a:pt x="500385" y="1366392"/>
                  <a:pt x="518176" y="1384183"/>
                  <a:pt x="540123" y="1384183"/>
                </a:cubicBezTo>
                <a:lnTo>
                  <a:pt x="785133" y="1384183"/>
                </a:lnTo>
                <a:cubicBezTo>
                  <a:pt x="807079" y="1384183"/>
                  <a:pt x="824870" y="1366392"/>
                  <a:pt x="824870" y="1344445"/>
                </a:cubicBezTo>
                <a:cubicBezTo>
                  <a:pt x="824870" y="1322499"/>
                  <a:pt x="807079" y="1304707"/>
                  <a:pt x="785133" y="1304707"/>
                </a:cubicBezTo>
                <a:close/>
                <a:moveTo>
                  <a:pt x="1135216" y="1217049"/>
                </a:moveTo>
                <a:lnTo>
                  <a:pt x="2239906" y="1217049"/>
                </a:lnTo>
                <a:cubicBezTo>
                  <a:pt x="2256656" y="1217049"/>
                  <a:pt x="2270235" y="1230627"/>
                  <a:pt x="2270235" y="1247378"/>
                </a:cubicBezTo>
                <a:lnTo>
                  <a:pt x="2270235" y="2013340"/>
                </a:lnTo>
                <a:cubicBezTo>
                  <a:pt x="2270235" y="2030090"/>
                  <a:pt x="2256656" y="2043668"/>
                  <a:pt x="2239906" y="2043668"/>
                </a:cubicBezTo>
                <a:lnTo>
                  <a:pt x="1911339" y="2043668"/>
                </a:lnTo>
                <a:lnTo>
                  <a:pt x="1924949" y="2012149"/>
                </a:lnTo>
                <a:lnTo>
                  <a:pt x="1927972" y="1984886"/>
                </a:lnTo>
                <a:lnTo>
                  <a:pt x="1960080" y="1956287"/>
                </a:lnTo>
                <a:cubicBezTo>
                  <a:pt x="1988854" y="1918052"/>
                  <a:pt x="1990441" y="1867862"/>
                  <a:pt x="1968065" y="1829073"/>
                </a:cubicBezTo>
                <a:lnTo>
                  <a:pt x="1956570" y="1816105"/>
                </a:lnTo>
                <a:lnTo>
                  <a:pt x="1967722" y="1788587"/>
                </a:lnTo>
                <a:cubicBezTo>
                  <a:pt x="2019011" y="1630206"/>
                  <a:pt x="1968893" y="1472118"/>
                  <a:pt x="1855779" y="1435489"/>
                </a:cubicBezTo>
                <a:lnTo>
                  <a:pt x="1819933" y="1429227"/>
                </a:lnTo>
                <a:lnTo>
                  <a:pt x="1810479" y="1420645"/>
                </a:lnTo>
                <a:cubicBezTo>
                  <a:pt x="1766753" y="1388143"/>
                  <a:pt x="1714040" y="1369164"/>
                  <a:pt x="1657298" y="1369164"/>
                </a:cubicBezTo>
                <a:cubicBezTo>
                  <a:pt x="1505988" y="1369164"/>
                  <a:pt x="1383326" y="1504121"/>
                  <a:pt x="1383326" y="1670600"/>
                </a:cubicBezTo>
                <a:cubicBezTo>
                  <a:pt x="1383326" y="1712220"/>
                  <a:pt x="1390993" y="1751870"/>
                  <a:pt x="1404857" y="1787934"/>
                </a:cubicBezTo>
                <a:lnTo>
                  <a:pt x="1418531" y="1815653"/>
                </a:lnTo>
                <a:lnTo>
                  <a:pt x="1416259" y="1817678"/>
                </a:lnTo>
                <a:cubicBezTo>
                  <a:pt x="1377894" y="1868658"/>
                  <a:pt x="1387860" y="1940891"/>
                  <a:pt x="1438519" y="1979014"/>
                </a:cubicBezTo>
                <a:lnTo>
                  <a:pt x="1456802" y="1987726"/>
                </a:lnTo>
                <a:lnTo>
                  <a:pt x="1459510" y="2012149"/>
                </a:lnTo>
                <a:lnTo>
                  <a:pt x="1473120" y="2043668"/>
                </a:lnTo>
                <a:lnTo>
                  <a:pt x="1135216" y="2043668"/>
                </a:lnTo>
                <a:cubicBezTo>
                  <a:pt x="1118466" y="2043668"/>
                  <a:pt x="1104888" y="2030090"/>
                  <a:pt x="1104888" y="2013340"/>
                </a:cubicBezTo>
                <a:lnTo>
                  <a:pt x="1104888" y="1247378"/>
                </a:lnTo>
                <a:cubicBezTo>
                  <a:pt x="1104888" y="1230627"/>
                  <a:pt x="1118466" y="1217049"/>
                  <a:pt x="1135216" y="1217049"/>
                </a:cubicBezTo>
                <a:close/>
                <a:moveTo>
                  <a:pt x="471471" y="1215633"/>
                </a:moveTo>
                <a:lnTo>
                  <a:pt x="849623" y="1215633"/>
                </a:lnTo>
                <a:cubicBezTo>
                  <a:pt x="865550" y="1215633"/>
                  <a:pt x="878462" y="1228545"/>
                  <a:pt x="878462" y="1244472"/>
                </a:cubicBezTo>
                <a:lnTo>
                  <a:pt x="878462" y="2265231"/>
                </a:lnTo>
                <a:cubicBezTo>
                  <a:pt x="878462" y="2281159"/>
                  <a:pt x="865550" y="2294070"/>
                  <a:pt x="849623" y="2294070"/>
                </a:cubicBezTo>
                <a:lnTo>
                  <a:pt x="471471" y="2294070"/>
                </a:lnTo>
                <a:cubicBezTo>
                  <a:pt x="455544" y="2294070"/>
                  <a:pt x="442632" y="2281159"/>
                  <a:pt x="442632" y="2265231"/>
                </a:cubicBezTo>
                <a:lnTo>
                  <a:pt x="442632" y="1244472"/>
                </a:lnTo>
                <a:cubicBezTo>
                  <a:pt x="442632" y="1228545"/>
                  <a:pt x="455544" y="1215633"/>
                  <a:pt x="471471" y="1215633"/>
                </a:cubicBezTo>
                <a:close/>
                <a:moveTo>
                  <a:pt x="1069385" y="1137735"/>
                </a:moveTo>
                <a:cubicBezTo>
                  <a:pt x="1047879" y="1137735"/>
                  <a:pt x="1030445" y="1155169"/>
                  <a:pt x="1030445" y="1176675"/>
                </a:cubicBezTo>
                <a:lnTo>
                  <a:pt x="1030445" y="2160108"/>
                </a:lnTo>
                <a:cubicBezTo>
                  <a:pt x="1030445" y="2181614"/>
                  <a:pt x="1047879" y="2199048"/>
                  <a:pt x="1069385" y="2199048"/>
                </a:cubicBezTo>
                <a:lnTo>
                  <a:pt x="1531235" y="2199048"/>
                </a:lnTo>
                <a:lnTo>
                  <a:pt x="1505265" y="2235882"/>
                </a:lnTo>
                <a:cubicBezTo>
                  <a:pt x="1481560" y="2262676"/>
                  <a:pt x="1451313" y="2283549"/>
                  <a:pt x="1417026" y="2295999"/>
                </a:cubicBezTo>
                <a:lnTo>
                  <a:pt x="1387793" y="2303853"/>
                </a:lnTo>
                <a:lnTo>
                  <a:pt x="1372320" y="2310296"/>
                </a:lnTo>
                <a:lnTo>
                  <a:pt x="1371680" y="2310911"/>
                </a:lnTo>
                <a:lnTo>
                  <a:pt x="1369951" y="2311654"/>
                </a:lnTo>
                <a:lnTo>
                  <a:pt x="1352860" y="2317346"/>
                </a:lnTo>
                <a:cubicBezTo>
                  <a:pt x="1214349" y="2374762"/>
                  <a:pt x="1117351" y="2467018"/>
                  <a:pt x="1095265" y="2573621"/>
                </a:cubicBezTo>
                <a:lnTo>
                  <a:pt x="1092035" y="2605043"/>
                </a:lnTo>
                <a:lnTo>
                  <a:pt x="1090710" y="2605043"/>
                </a:lnTo>
                <a:lnTo>
                  <a:pt x="1090710" y="2617925"/>
                </a:lnTo>
                <a:lnTo>
                  <a:pt x="1090484" y="2620127"/>
                </a:lnTo>
                <a:lnTo>
                  <a:pt x="1090710" y="2620127"/>
                </a:lnTo>
                <a:lnTo>
                  <a:pt x="1090710" y="2647486"/>
                </a:lnTo>
                <a:lnTo>
                  <a:pt x="2279835" y="2647486"/>
                </a:lnTo>
                <a:lnTo>
                  <a:pt x="2279835" y="2620127"/>
                </a:lnTo>
                <a:lnTo>
                  <a:pt x="2280692" y="2620127"/>
                </a:lnTo>
                <a:lnTo>
                  <a:pt x="2279835" y="2611798"/>
                </a:lnTo>
                <a:lnTo>
                  <a:pt x="2279835" y="2605043"/>
                </a:lnTo>
                <a:lnTo>
                  <a:pt x="2279140" y="2605043"/>
                </a:lnTo>
                <a:lnTo>
                  <a:pt x="2275910" y="2573621"/>
                </a:lnTo>
                <a:cubicBezTo>
                  <a:pt x="2253825" y="2467018"/>
                  <a:pt x="2156826" y="2374762"/>
                  <a:pt x="2018316" y="2317346"/>
                </a:cubicBezTo>
                <a:lnTo>
                  <a:pt x="2013079" y="2315602"/>
                </a:lnTo>
                <a:lnTo>
                  <a:pt x="1996569" y="2311180"/>
                </a:lnTo>
                <a:lnTo>
                  <a:pt x="1970952" y="2300513"/>
                </a:lnTo>
                <a:lnTo>
                  <a:pt x="1954148" y="2295999"/>
                </a:lnTo>
                <a:cubicBezTo>
                  <a:pt x="1919860" y="2283549"/>
                  <a:pt x="1889614" y="2262676"/>
                  <a:pt x="1865909" y="2235882"/>
                </a:cubicBezTo>
                <a:lnTo>
                  <a:pt x="1839938" y="2199048"/>
                </a:lnTo>
                <a:lnTo>
                  <a:pt x="2301790" y="2199048"/>
                </a:lnTo>
                <a:cubicBezTo>
                  <a:pt x="2323296" y="2199048"/>
                  <a:pt x="2340730" y="2181614"/>
                  <a:pt x="2340730" y="2160108"/>
                </a:cubicBezTo>
                <a:lnTo>
                  <a:pt x="2340730" y="1176675"/>
                </a:lnTo>
                <a:cubicBezTo>
                  <a:pt x="2340730" y="1155169"/>
                  <a:pt x="2323296" y="1137735"/>
                  <a:pt x="2301790" y="1137735"/>
                </a:cubicBezTo>
                <a:close/>
                <a:moveTo>
                  <a:pt x="414074" y="1137735"/>
                </a:moveTo>
                <a:cubicBezTo>
                  <a:pt x="393137" y="1137735"/>
                  <a:pt x="376163" y="1154708"/>
                  <a:pt x="376163" y="1175646"/>
                </a:cubicBezTo>
                <a:lnTo>
                  <a:pt x="376163" y="2332509"/>
                </a:lnTo>
                <a:cubicBezTo>
                  <a:pt x="376163" y="2353446"/>
                  <a:pt x="393137" y="2370419"/>
                  <a:pt x="414074" y="2370419"/>
                </a:cubicBezTo>
                <a:lnTo>
                  <a:pt x="911182" y="2370419"/>
                </a:lnTo>
                <a:cubicBezTo>
                  <a:pt x="932119" y="2370419"/>
                  <a:pt x="949092" y="2353446"/>
                  <a:pt x="949092" y="2332509"/>
                </a:cubicBezTo>
                <a:lnTo>
                  <a:pt x="949092" y="1175646"/>
                </a:lnTo>
                <a:cubicBezTo>
                  <a:pt x="949092" y="1154708"/>
                  <a:pt x="932119" y="1137735"/>
                  <a:pt x="911182" y="1137735"/>
                </a:cubicBezTo>
                <a:close/>
                <a:moveTo>
                  <a:pt x="1378203" y="496404"/>
                </a:moveTo>
                <a:lnTo>
                  <a:pt x="2559830" y="1073920"/>
                </a:lnTo>
                <a:lnTo>
                  <a:pt x="2559831" y="1073920"/>
                </a:lnTo>
                <a:lnTo>
                  <a:pt x="2559831" y="2738925"/>
                </a:lnTo>
                <a:lnTo>
                  <a:pt x="196576" y="2738925"/>
                </a:lnTo>
                <a:lnTo>
                  <a:pt x="196576" y="1073920"/>
                </a:lnTo>
                <a:lnTo>
                  <a:pt x="196575" y="1073920"/>
                </a:lnTo>
                <a:close/>
                <a:moveTo>
                  <a:pt x="441535" y="0"/>
                </a:moveTo>
                <a:lnTo>
                  <a:pt x="693944" y="0"/>
                </a:lnTo>
                <a:lnTo>
                  <a:pt x="693944" y="420806"/>
                </a:lnTo>
                <a:lnTo>
                  <a:pt x="1373851" y="76659"/>
                </a:lnTo>
                <a:lnTo>
                  <a:pt x="1378203" y="85256"/>
                </a:lnTo>
                <a:lnTo>
                  <a:pt x="1382554" y="76660"/>
                </a:lnTo>
                <a:lnTo>
                  <a:pt x="2756404" y="772060"/>
                </a:lnTo>
                <a:lnTo>
                  <a:pt x="2642414" y="997263"/>
                </a:lnTo>
                <a:lnTo>
                  <a:pt x="1378201" y="357358"/>
                </a:lnTo>
                <a:lnTo>
                  <a:pt x="113991" y="997262"/>
                </a:lnTo>
                <a:lnTo>
                  <a:pt x="0" y="772059"/>
                </a:lnTo>
                <a:lnTo>
                  <a:pt x="441535" y="548568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28575" cap="flat" cmpd="sng" algn="ctr">
            <a:noFill/>
            <a:prstDash val="solid"/>
          </a:ln>
          <a:effectLst/>
        </p:spPr>
        <p:txBody>
          <a:bodyPr lIns="91420" tIns="45710" rIns="91420" bIns="45710" rtlCol="0" anchor="ctr"/>
          <a:lstStyle/>
          <a:p>
            <a:pPr algn="ctr" defTabSz="456706"/>
            <a:endParaRPr lang="en-US" sz="1400" kern="0" dirty="0">
              <a:solidFill>
                <a:srgbClr val="FFFFFF"/>
              </a:solidFill>
              <a:latin typeface="Arial"/>
              <a:ea typeface="MS PGothic" charset="-128"/>
            </a:endParaRPr>
          </a:p>
        </p:txBody>
      </p:sp>
      <p:grpSp>
        <p:nvGrpSpPr>
          <p:cNvPr id="249" name="Group 248"/>
          <p:cNvGrpSpPr/>
          <p:nvPr/>
        </p:nvGrpSpPr>
        <p:grpSpPr>
          <a:xfrm>
            <a:off x="4176255" y="3088678"/>
            <a:ext cx="1569203" cy="1166136"/>
            <a:chOff x="4176255" y="3088678"/>
            <a:chExt cx="1569203" cy="1166136"/>
          </a:xfrm>
        </p:grpSpPr>
        <p:sp>
          <p:nvSpPr>
            <p:cNvPr id="247" name="Freeform 246"/>
            <p:cNvSpPr/>
            <p:nvPr/>
          </p:nvSpPr>
          <p:spPr bwMode="auto">
            <a:xfrm>
              <a:off x="4176255" y="3088678"/>
              <a:ext cx="1569203" cy="1166136"/>
            </a:xfrm>
            <a:custGeom>
              <a:avLst/>
              <a:gdLst>
                <a:gd name="connsiteX0" fmla="*/ 77246 w 1569203"/>
                <a:gd name="connsiteY0" fmla="*/ 10693 h 1131889"/>
                <a:gd name="connsiteX1" fmla="*/ 5327 w 1569203"/>
                <a:gd name="connsiteY1" fmla="*/ 164805 h 1131889"/>
                <a:gd name="connsiteX2" fmla="*/ 5327 w 1569203"/>
                <a:gd name="connsiteY2" fmla="*/ 452482 h 1131889"/>
                <a:gd name="connsiteX3" fmla="*/ 5327 w 1569203"/>
                <a:gd name="connsiteY3" fmla="*/ 729884 h 1131889"/>
                <a:gd name="connsiteX4" fmla="*/ 66972 w 1569203"/>
                <a:gd name="connsiteY4" fmla="*/ 1017561 h 1131889"/>
                <a:gd name="connsiteX5" fmla="*/ 313552 w 1569203"/>
                <a:gd name="connsiteY5" fmla="*/ 1130576 h 1131889"/>
                <a:gd name="connsiteX6" fmla="*/ 755341 w 1569203"/>
                <a:gd name="connsiteY6" fmla="*/ 1079205 h 1131889"/>
                <a:gd name="connsiteX7" fmla="*/ 1217678 w 1569203"/>
                <a:gd name="connsiteY7" fmla="*/ 1079205 h 1131889"/>
                <a:gd name="connsiteX8" fmla="*/ 1525902 w 1569203"/>
                <a:gd name="connsiteY8" fmla="*/ 1027835 h 1131889"/>
                <a:gd name="connsiteX9" fmla="*/ 1505354 w 1569203"/>
                <a:gd name="connsiteY9" fmla="*/ 627143 h 1131889"/>
                <a:gd name="connsiteX10" fmla="*/ 1566999 w 1569203"/>
                <a:gd name="connsiteY10" fmla="*/ 154531 h 1131889"/>
                <a:gd name="connsiteX11" fmla="*/ 1412887 w 1569203"/>
                <a:gd name="connsiteY11" fmla="*/ 20967 h 1131889"/>
                <a:gd name="connsiteX12" fmla="*/ 950549 w 1569203"/>
                <a:gd name="connsiteY12" fmla="*/ 419 h 1131889"/>
                <a:gd name="connsiteX13" fmla="*/ 642325 w 1569203"/>
                <a:gd name="connsiteY13" fmla="*/ 20967 h 1131889"/>
                <a:gd name="connsiteX14" fmla="*/ 77246 w 1569203"/>
                <a:gd name="connsiteY14" fmla="*/ 10693 h 1131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69203" h="1131889">
                  <a:moveTo>
                    <a:pt x="77246" y="10693"/>
                  </a:moveTo>
                  <a:cubicBezTo>
                    <a:pt x="-28920" y="34666"/>
                    <a:pt x="17313" y="91174"/>
                    <a:pt x="5327" y="164805"/>
                  </a:cubicBezTo>
                  <a:cubicBezTo>
                    <a:pt x="-6660" y="238437"/>
                    <a:pt x="5327" y="452482"/>
                    <a:pt x="5327" y="452482"/>
                  </a:cubicBezTo>
                  <a:cubicBezTo>
                    <a:pt x="5327" y="546662"/>
                    <a:pt x="-4947" y="635704"/>
                    <a:pt x="5327" y="729884"/>
                  </a:cubicBezTo>
                  <a:cubicBezTo>
                    <a:pt x="15601" y="824064"/>
                    <a:pt x="15601" y="950779"/>
                    <a:pt x="66972" y="1017561"/>
                  </a:cubicBezTo>
                  <a:cubicBezTo>
                    <a:pt x="118343" y="1084343"/>
                    <a:pt x="198824" y="1120302"/>
                    <a:pt x="313552" y="1130576"/>
                  </a:cubicBezTo>
                  <a:cubicBezTo>
                    <a:pt x="428280" y="1140850"/>
                    <a:pt x="604653" y="1087767"/>
                    <a:pt x="755341" y="1079205"/>
                  </a:cubicBezTo>
                  <a:cubicBezTo>
                    <a:pt x="906029" y="1070643"/>
                    <a:pt x="1089251" y="1087767"/>
                    <a:pt x="1217678" y="1079205"/>
                  </a:cubicBezTo>
                  <a:cubicBezTo>
                    <a:pt x="1346105" y="1070643"/>
                    <a:pt x="1477956" y="1103179"/>
                    <a:pt x="1525902" y="1027835"/>
                  </a:cubicBezTo>
                  <a:cubicBezTo>
                    <a:pt x="1573848" y="952491"/>
                    <a:pt x="1498505" y="772694"/>
                    <a:pt x="1505354" y="627143"/>
                  </a:cubicBezTo>
                  <a:cubicBezTo>
                    <a:pt x="1512203" y="481592"/>
                    <a:pt x="1582410" y="255560"/>
                    <a:pt x="1566999" y="154531"/>
                  </a:cubicBezTo>
                  <a:cubicBezTo>
                    <a:pt x="1551588" y="53502"/>
                    <a:pt x="1515629" y="46652"/>
                    <a:pt x="1412887" y="20967"/>
                  </a:cubicBezTo>
                  <a:cubicBezTo>
                    <a:pt x="1310145" y="-4718"/>
                    <a:pt x="1078976" y="419"/>
                    <a:pt x="950549" y="419"/>
                  </a:cubicBezTo>
                  <a:cubicBezTo>
                    <a:pt x="822122" y="419"/>
                    <a:pt x="784451" y="20967"/>
                    <a:pt x="642325" y="20967"/>
                  </a:cubicBezTo>
                  <a:cubicBezTo>
                    <a:pt x="500199" y="20967"/>
                    <a:pt x="183412" y="-13280"/>
                    <a:pt x="77246" y="10693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</a:schemeClr>
            </a:solidFill>
            <a:ln w="12700" cap="flat">
              <a:solidFill>
                <a:srgbClr val="FFFFFF"/>
              </a:solidFill>
              <a:miter lim="800000"/>
              <a:headEnd type="none" w="med" len="med"/>
              <a:tailEnd type="none" w="med" len="med"/>
            </a:ln>
          </p:spPr>
          <p:txBody>
            <a:bodyPr lIns="91440" tIns="45720" rIns="91440" bIns="45720" rtlCol="0" anchor="ctr"/>
            <a:lstStyle/>
            <a:p>
              <a:pPr algn="ctr" defTabSz="514350"/>
              <a:endParaRPr lang="en-US" sz="1400" dirty="0" err="1" smtClean="0">
                <a:solidFill>
                  <a:srgbClr val="FFFFFF"/>
                </a:solidFill>
                <a:ea typeface="Arial" pitchFamily="-107" charset="0"/>
                <a:cs typeface="Arial" pitchFamily="-107" charset="0"/>
                <a:sym typeface="Arial" pitchFamily="-107" charset="0"/>
              </a:endParaRPr>
            </a:p>
          </p:txBody>
        </p:sp>
        <p:sp>
          <p:nvSpPr>
            <p:cNvPr id="248" name="TextBox 247"/>
            <p:cNvSpPr txBox="1"/>
            <p:nvPr/>
          </p:nvSpPr>
          <p:spPr>
            <a:xfrm>
              <a:off x="4505139" y="3414670"/>
              <a:ext cx="851515" cy="4524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r>
                <a:rPr lang="en-US" sz="1300" dirty="0" smtClean="0">
                  <a:solidFill>
                    <a:srgbClr val="676767">
                      <a:lumMod val="50000"/>
                    </a:srgbClr>
                  </a:solidFill>
                </a:rPr>
                <a:t>IOS</a:t>
              </a:r>
              <a:br>
                <a:rPr lang="en-US" sz="1300" dirty="0" smtClean="0">
                  <a:solidFill>
                    <a:srgbClr val="676767">
                      <a:lumMod val="50000"/>
                    </a:srgbClr>
                  </a:solidFill>
                </a:rPr>
              </a:br>
              <a:r>
                <a:rPr lang="en-US" sz="1300" dirty="0" smtClean="0">
                  <a:solidFill>
                    <a:srgbClr val="676767">
                      <a:lumMod val="50000"/>
                    </a:srgbClr>
                  </a:solidFill>
                </a:rPr>
                <a:t>Switches</a:t>
              </a:r>
            </a:p>
          </p:txBody>
        </p:sp>
      </p:grpSp>
      <p:grpSp>
        <p:nvGrpSpPr>
          <p:cNvPr id="194" name="Group 193"/>
          <p:cNvGrpSpPr/>
          <p:nvPr/>
        </p:nvGrpSpPr>
        <p:grpSpPr>
          <a:xfrm>
            <a:off x="4323528" y="3160692"/>
            <a:ext cx="334399" cy="480306"/>
            <a:chOff x="5504309" y="3160692"/>
            <a:chExt cx="334399" cy="480306"/>
          </a:xfrm>
        </p:grpSpPr>
        <p:sp>
          <p:nvSpPr>
            <p:cNvPr id="195" name="Rounded Rectangle 194"/>
            <p:cNvSpPr/>
            <p:nvPr/>
          </p:nvSpPr>
          <p:spPr bwMode="auto">
            <a:xfrm>
              <a:off x="5504309" y="3160692"/>
              <a:ext cx="331223" cy="480306"/>
            </a:xfrm>
            <a:prstGeom prst="roundRect">
              <a:avLst>
                <a:gd name="adj" fmla="val 4802"/>
              </a:avLst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kern="0" dirty="0" err="1">
                <a:solidFill>
                  <a:srgbClr val="2968AF">
                    <a:lumMod val="50000"/>
                  </a:srgbClr>
                </a:solidFill>
                <a:latin typeface="Arial"/>
                <a:sym typeface="Arial" pitchFamily="-107" charset="0"/>
              </a:endParaRPr>
            </a:p>
          </p:txBody>
        </p:sp>
        <p:sp>
          <p:nvSpPr>
            <p:cNvPr id="196" name="Freeform 195"/>
            <p:cNvSpPr>
              <a:spLocks noChangeAspect="1"/>
            </p:cNvSpPr>
            <p:nvPr/>
          </p:nvSpPr>
          <p:spPr>
            <a:xfrm>
              <a:off x="5513201" y="3190571"/>
              <a:ext cx="325507" cy="426897"/>
            </a:xfrm>
            <a:custGeom>
              <a:avLst/>
              <a:gdLst>
                <a:gd name="connsiteX0" fmla="*/ 1271221 w 2604807"/>
                <a:gd name="connsiteY0" fmla="*/ 1424004 h 3416161"/>
                <a:gd name="connsiteX1" fmla="*/ 1310797 w 2604807"/>
                <a:gd name="connsiteY1" fmla="*/ 1428317 h 3416161"/>
                <a:gd name="connsiteX2" fmla="*/ 1330784 w 2604807"/>
                <a:gd name="connsiteY2" fmla="*/ 1441940 h 3416161"/>
                <a:gd name="connsiteX3" fmla="*/ 1341848 w 2604807"/>
                <a:gd name="connsiteY3" fmla="*/ 1449096 h 3416161"/>
                <a:gd name="connsiteX4" fmla="*/ 1501705 w 2604807"/>
                <a:gd name="connsiteY4" fmla="*/ 1605143 h 3416161"/>
                <a:gd name="connsiteX5" fmla="*/ 1502897 w 2604807"/>
                <a:gd name="connsiteY5" fmla="*/ 1703919 h 3416161"/>
                <a:gd name="connsiteX6" fmla="*/ 1502897 w 2604807"/>
                <a:gd name="connsiteY6" fmla="*/ 1703917 h 3416161"/>
                <a:gd name="connsiteX7" fmla="*/ 1404121 w 2604807"/>
                <a:gd name="connsiteY7" fmla="*/ 1705109 h 3416161"/>
                <a:gd name="connsiteX8" fmla="*/ 1357110 w 2604807"/>
                <a:gd name="connsiteY8" fmla="*/ 1659219 h 3416161"/>
                <a:gd name="connsiteX9" fmla="*/ 1357109 w 2604807"/>
                <a:gd name="connsiteY9" fmla="*/ 2080050 h 3416161"/>
                <a:gd name="connsiteX10" fmla="*/ 1424754 w 2604807"/>
                <a:gd name="connsiteY10" fmla="*/ 2101048 h 3416161"/>
                <a:gd name="connsiteX11" fmla="*/ 1474912 w 2604807"/>
                <a:gd name="connsiteY11" fmla="*/ 2128273 h 3416161"/>
                <a:gd name="connsiteX12" fmla="*/ 1779768 w 2604807"/>
                <a:gd name="connsiteY12" fmla="*/ 1843057 h 3416161"/>
                <a:gd name="connsiteX13" fmla="*/ 1710789 w 2604807"/>
                <a:gd name="connsiteY13" fmla="*/ 1843215 h 3416161"/>
                <a:gd name="connsiteX14" fmla="*/ 1644263 w 2604807"/>
                <a:gd name="connsiteY14" fmla="*/ 1770189 h 3416161"/>
                <a:gd name="connsiteX15" fmla="*/ 1644261 w 2604807"/>
                <a:gd name="connsiteY15" fmla="*/ 1770191 h 3416161"/>
                <a:gd name="connsiteX16" fmla="*/ 1724419 w 2604807"/>
                <a:gd name="connsiteY16" fmla="*/ 1696830 h 3416161"/>
                <a:gd name="connsiteX17" fmla="*/ 1958978 w 2604807"/>
                <a:gd name="connsiteY17" fmla="*/ 1696292 h 3416161"/>
                <a:gd name="connsiteX18" fmla="*/ 1972285 w 2604807"/>
                <a:gd name="connsiteY18" fmla="*/ 1698994 h 3416161"/>
                <a:gd name="connsiteX19" fmla="*/ 1996883 w 2604807"/>
                <a:gd name="connsiteY19" fmla="*/ 1703351 h 3416161"/>
                <a:gd name="connsiteX20" fmla="*/ 2037117 w 2604807"/>
                <a:gd name="connsiteY20" fmla="*/ 1769588 h 3416161"/>
                <a:gd name="connsiteX21" fmla="*/ 2020985 w 2604807"/>
                <a:gd name="connsiteY21" fmla="*/ 2003592 h 3416161"/>
                <a:gd name="connsiteX22" fmla="*/ 1995895 w 2604807"/>
                <a:gd name="connsiteY22" fmla="*/ 2055895 h 3416161"/>
                <a:gd name="connsiteX23" fmla="*/ 1942456 w 2604807"/>
                <a:gd name="connsiteY23" fmla="*/ 2078693 h 3416161"/>
                <a:gd name="connsiteX24" fmla="*/ 1874016 w 2604807"/>
                <a:gd name="connsiteY24" fmla="*/ 2007459 h 3416161"/>
                <a:gd name="connsiteX25" fmla="*/ 1878531 w 2604807"/>
                <a:gd name="connsiteY25" fmla="*/ 1941964 h 3416161"/>
                <a:gd name="connsiteX26" fmla="*/ 1577476 w 2604807"/>
                <a:gd name="connsiteY26" fmla="*/ 2223624 h 3416161"/>
                <a:gd name="connsiteX27" fmla="*/ 1585677 w 2604807"/>
                <a:gd name="connsiteY27" fmla="*/ 2233565 h 3416161"/>
                <a:gd name="connsiteX28" fmla="*/ 1640712 w 2604807"/>
                <a:gd name="connsiteY28" fmla="*/ 2364352 h 3416161"/>
                <a:gd name="connsiteX29" fmla="*/ 1642168 w 2604807"/>
                <a:gd name="connsiteY29" fmla="*/ 2378795 h 3416161"/>
                <a:gd name="connsiteX30" fmla="*/ 2041651 w 2604807"/>
                <a:gd name="connsiteY30" fmla="*/ 2378795 h 3416161"/>
                <a:gd name="connsiteX31" fmla="*/ 1997975 w 2604807"/>
                <a:gd name="connsiteY31" fmla="*/ 2334053 h 3416161"/>
                <a:gd name="connsiteX32" fmla="*/ 1999167 w 2604807"/>
                <a:gd name="connsiteY32" fmla="*/ 2235277 h 3416161"/>
                <a:gd name="connsiteX33" fmla="*/ 2048802 w 2604807"/>
                <a:gd name="connsiteY33" fmla="*/ 2215416 h 3416161"/>
                <a:gd name="connsiteX34" fmla="*/ 2097943 w 2604807"/>
                <a:gd name="connsiteY34" fmla="*/ 2236469 h 3416161"/>
                <a:gd name="connsiteX35" fmla="*/ 2253988 w 2604807"/>
                <a:gd name="connsiteY35" fmla="*/ 2396326 h 3416161"/>
                <a:gd name="connsiteX36" fmla="*/ 2268418 w 2604807"/>
                <a:gd name="connsiteY36" fmla="*/ 2472182 h 3416161"/>
                <a:gd name="connsiteX37" fmla="*/ 2254795 w 2604807"/>
                <a:gd name="connsiteY37" fmla="*/ 2492169 h 3416161"/>
                <a:gd name="connsiteX38" fmla="*/ 2247639 w 2604807"/>
                <a:gd name="connsiteY38" fmla="*/ 2503233 h 3416161"/>
                <a:gd name="connsiteX39" fmla="*/ 2091592 w 2604807"/>
                <a:gd name="connsiteY39" fmla="*/ 2663090 h 3416161"/>
                <a:gd name="connsiteX40" fmla="*/ 1992816 w 2604807"/>
                <a:gd name="connsiteY40" fmla="*/ 2664282 h 3416161"/>
                <a:gd name="connsiteX41" fmla="*/ 1992818 w 2604807"/>
                <a:gd name="connsiteY41" fmla="*/ 2664282 h 3416161"/>
                <a:gd name="connsiteX42" fmla="*/ 1991626 w 2604807"/>
                <a:gd name="connsiteY42" fmla="*/ 2565506 h 3416161"/>
                <a:gd name="connsiteX43" fmla="*/ 2037516 w 2604807"/>
                <a:gd name="connsiteY43" fmla="*/ 2518495 h 3416161"/>
                <a:gd name="connsiteX44" fmla="*/ 1638628 w 2604807"/>
                <a:gd name="connsiteY44" fmla="*/ 2518494 h 3416161"/>
                <a:gd name="connsiteX45" fmla="*/ 1619400 w 2604807"/>
                <a:gd name="connsiteY45" fmla="*/ 2580436 h 3416161"/>
                <a:gd name="connsiteX46" fmla="*/ 1603503 w 2604807"/>
                <a:gd name="connsiteY46" fmla="*/ 2609724 h 3416161"/>
                <a:gd name="connsiteX47" fmla="*/ 1889657 w 2604807"/>
                <a:gd name="connsiteY47" fmla="*/ 2900388 h 3416161"/>
                <a:gd name="connsiteX48" fmla="*/ 1890900 w 2604807"/>
                <a:gd name="connsiteY48" fmla="*/ 2837875 h 3416161"/>
                <a:gd name="connsiteX49" fmla="*/ 1962125 w 2604807"/>
                <a:gd name="connsiteY49" fmla="*/ 2769427 h 3416161"/>
                <a:gd name="connsiteX50" fmla="*/ 2011100 w 2604807"/>
                <a:gd name="connsiteY50" fmla="*/ 2790864 h 3416161"/>
                <a:gd name="connsiteX51" fmla="*/ 2030573 w 2604807"/>
                <a:gd name="connsiteY51" fmla="*/ 2840652 h 3416161"/>
                <a:gd name="connsiteX52" fmla="*/ 2026131 w 2604807"/>
                <a:gd name="connsiteY52" fmla="*/ 3064001 h 3416161"/>
                <a:gd name="connsiteX53" fmla="*/ 1982199 w 2604807"/>
                <a:gd name="connsiteY53" fmla="*/ 3127501 h 3416161"/>
                <a:gd name="connsiteX54" fmla="*/ 1958398 w 2604807"/>
                <a:gd name="connsiteY54" fmla="*/ 3131815 h 3416161"/>
                <a:gd name="connsiteX55" fmla="*/ 1945494 w 2604807"/>
                <a:gd name="connsiteY55" fmla="*/ 3134478 h 3416161"/>
                <a:gd name="connsiteX56" fmla="*/ 1722101 w 2604807"/>
                <a:gd name="connsiteY56" fmla="*/ 3135426 h 3416161"/>
                <a:gd name="connsiteX57" fmla="*/ 1651955 w 2604807"/>
                <a:gd name="connsiteY57" fmla="*/ 3065873 h 3416161"/>
                <a:gd name="connsiteX58" fmla="*/ 1651956 w 2604807"/>
                <a:gd name="connsiteY58" fmla="*/ 3065874 h 3416161"/>
                <a:gd name="connsiteX59" fmla="*/ 1721509 w 2604807"/>
                <a:gd name="connsiteY59" fmla="*/ 2995728 h 3416161"/>
                <a:gd name="connsiteX60" fmla="*/ 1787204 w 2604807"/>
                <a:gd name="connsiteY60" fmla="*/ 2995449 h 3416161"/>
                <a:gd name="connsiteX61" fmla="*/ 1514569 w 2604807"/>
                <a:gd name="connsiteY61" fmla="*/ 2718516 h 3416161"/>
                <a:gd name="connsiteX62" fmla="*/ 1486883 w 2604807"/>
                <a:gd name="connsiteY62" fmla="*/ 2741359 h 3416161"/>
                <a:gd name="connsiteX63" fmla="*/ 1356097 w 2604807"/>
                <a:gd name="connsiteY63" fmla="*/ 2796394 h 3416161"/>
                <a:gd name="connsiteX64" fmla="*/ 1351097 w 2604807"/>
                <a:gd name="connsiteY64" fmla="*/ 2796898 h 3416161"/>
                <a:gd name="connsiteX65" fmla="*/ 1351098 w 2604807"/>
                <a:gd name="connsiteY65" fmla="*/ 3179823 h 3416161"/>
                <a:gd name="connsiteX66" fmla="*/ 1398109 w 2604807"/>
                <a:gd name="connsiteY66" fmla="*/ 3133933 h 3416161"/>
                <a:gd name="connsiteX67" fmla="*/ 1496885 w 2604807"/>
                <a:gd name="connsiteY67" fmla="*/ 3135125 h 3416161"/>
                <a:gd name="connsiteX68" fmla="*/ 1496885 w 2604807"/>
                <a:gd name="connsiteY68" fmla="*/ 3135123 h 3416161"/>
                <a:gd name="connsiteX69" fmla="*/ 1495693 w 2604807"/>
                <a:gd name="connsiteY69" fmla="*/ 3233899 h 3416161"/>
                <a:gd name="connsiteX70" fmla="*/ 1335836 w 2604807"/>
                <a:gd name="connsiteY70" fmla="*/ 3389946 h 3416161"/>
                <a:gd name="connsiteX71" fmla="*/ 1324772 w 2604807"/>
                <a:gd name="connsiteY71" fmla="*/ 3397102 h 3416161"/>
                <a:gd name="connsiteX72" fmla="*/ 1304785 w 2604807"/>
                <a:gd name="connsiteY72" fmla="*/ 3410725 h 3416161"/>
                <a:gd name="connsiteX73" fmla="*/ 1228929 w 2604807"/>
                <a:gd name="connsiteY73" fmla="*/ 3396295 h 3416161"/>
                <a:gd name="connsiteX74" fmla="*/ 1069072 w 2604807"/>
                <a:gd name="connsiteY74" fmla="*/ 3240250 h 3416161"/>
                <a:gd name="connsiteX75" fmla="*/ 1048019 w 2604807"/>
                <a:gd name="connsiteY75" fmla="*/ 3191109 h 3416161"/>
                <a:gd name="connsiteX76" fmla="*/ 1067880 w 2604807"/>
                <a:gd name="connsiteY76" fmla="*/ 3141474 h 3416161"/>
                <a:gd name="connsiteX77" fmla="*/ 1166656 w 2604807"/>
                <a:gd name="connsiteY77" fmla="*/ 3140282 h 3416161"/>
                <a:gd name="connsiteX78" fmla="*/ 1211398 w 2604807"/>
                <a:gd name="connsiteY78" fmla="*/ 3183958 h 3416161"/>
                <a:gd name="connsiteX79" fmla="*/ 1211398 w 2604807"/>
                <a:gd name="connsiteY79" fmla="*/ 2796669 h 3416161"/>
                <a:gd name="connsiteX80" fmla="*/ 1208670 w 2604807"/>
                <a:gd name="connsiteY80" fmla="*/ 2796394 h 3416161"/>
                <a:gd name="connsiteX81" fmla="*/ 1077883 w 2604807"/>
                <a:gd name="connsiteY81" fmla="*/ 2741359 h 3416161"/>
                <a:gd name="connsiteX82" fmla="*/ 1054811 w 2604807"/>
                <a:gd name="connsiteY82" fmla="*/ 2722323 h 3416161"/>
                <a:gd name="connsiteX83" fmla="*/ 792691 w 2604807"/>
                <a:gd name="connsiteY83" fmla="*/ 2991862 h 3416161"/>
                <a:gd name="connsiteX84" fmla="*/ 858386 w 2604807"/>
                <a:gd name="connsiteY84" fmla="*/ 2991738 h 3416161"/>
                <a:gd name="connsiteX85" fmla="*/ 928368 w 2604807"/>
                <a:gd name="connsiteY85" fmla="*/ 3061456 h 3416161"/>
                <a:gd name="connsiteX86" fmla="*/ 928370 w 2604807"/>
                <a:gd name="connsiteY86" fmla="*/ 3061455 h 3416161"/>
                <a:gd name="connsiteX87" fmla="*/ 858651 w 2604807"/>
                <a:gd name="connsiteY87" fmla="*/ 3131437 h 3416161"/>
                <a:gd name="connsiteX88" fmla="*/ 635257 w 2604807"/>
                <a:gd name="connsiteY88" fmla="*/ 3131859 h 3416161"/>
                <a:gd name="connsiteX89" fmla="*/ 622337 w 2604807"/>
                <a:gd name="connsiteY89" fmla="*/ 3129276 h 3416161"/>
                <a:gd name="connsiteX90" fmla="*/ 598510 w 2604807"/>
                <a:gd name="connsiteY90" fmla="*/ 3125108 h 3416161"/>
                <a:gd name="connsiteX91" fmla="*/ 554189 w 2604807"/>
                <a:gd name="connsiteY91" fmla="*/ 3061878 h 3416161"/>
                <a:gd name="connsiteX92" fmla="*/ 548378 w 2604807"/>
                <a:gd name="connsiteY92" fmla="*/ 2838561 h 3416161"/>
                <a:gd name="connsiteX93" fmla="*/ 567544 w 2604807"/>
                <a:gd name="connsiteY93" fmla="*/ 2788654 h 3416161"/>
                <a:gd name="connsiteX94" fmla="*/ 616387 w 2604807"/>
                <a:gd name="connsiteY94" fmla="*/ 2766917 h 3416161"/>
                <a:gd name="connsiteX95" fmla="*/ 688031 w 2604807"/>
                <a:gd name="connsiteY95" fmla="*/ 2834927 h 3416161"/>
                <a:gd name="connsiteX96" fmla="*/ 689657 w 2604807"/>
                <a:gd name="connsiteY96" fmla="*/ 2897431 h 3416161"/>
                <a:gd name="connsiteX97" fmla="*/ 964194 w 2604807"/>
                <a:gd name="connsiteY97" fmla="*/ 2615124 h 3416161"/>
                <a:gd name="connsiteX98" fmla="*/ 945366 w 2604807"/>
                <a:gd name="connsiteY98" fmla="*/ 2580436 h 3416161"/>
                <a:gd name="connsiteX99" fmla="*/ 924054 w 2604807"/>
                <a:gd name="connsiteY99" fmla="*/ 2511779 h 3416161"/>
                <a:gd name="connsiteX100" fmla="*/ 919672 w 2604807"/>
                <a:gd name="connsiteY100" fmla="*/ 2468313 h 3416161"/>
                <a:gd name="connsiteX101" fmla="*/ 513056 w 2604807"/>
                <a:gd name="connsiteY101" fmla="*/ 2468314 h 3416161"/>
                <a:gd name="connsiteX102" fmla="*/ 558946 w 2604807"/>
                <a:gd name="connsiteY102" fmla="*/ 2515325 h 3416161"/>
                <a:gd name="connsiteX103" fmla="*/ 557754 w 2604807"/>
                <a:gd name="connsiteY103" fmla="*/ 2614101 h 3416161"/>
                <a:gd name="connsiteX104" fmla="*/ 557756 w 2604807"/>
                <a:gd name="connsiteY104" fmla="*/ 2614101 h 3416161"/>
                <a:gd name="connsiteX105" fmla="*/ 458980 w 2604807"/>
                <a:gd name="connsiteY105" fmla="*/ 2612909 h 3416161"/>
                <a:gd name="connsiteX106" fmla="*/ 302933 w 2604807"/>
                <a:gd name="connsiteY106" fmla="*/ 2453052 h 3416161"/>
                <a:gd name="connsiteX107" fmla="*/ 295777 w 2604807"/>
                <a:gd name="connsiteY107" fmla="*/ 2441988 h 3416161"/>
                <a:gd name="connsiteX108" fmla="*/ 282154 w 2604807"/>
                <a:gd name="connsiteY108" fmla="*/ 2422001 h 3416161"/>
                <a:gd name="connsiteX109" fmla="*/ 296584 w 2604807"/>
                <a:gd name="connsiteY109" fmla="*/ 2346145 h 3416161"/>
                <a:gd name="connsiteX110" fmla="*/ 452629 w 2604807"/>
                <a:gd name="connsiteY110" fmla="*/ 2186288 h 3416161"/>
                <a:gd name="connsiteX111" fmla="*/ 501770 w 2604807"/>
                <a:gd name="connsiteY111" fmla="*/ 2165235 h 3416161"/>
                <a:gd name="connsiteX112" fmla="*/ 551405 w 2604807"/>
                <a:gd name="connsiteY112" fmla="*/ 2185096 h 3416161"/>
                <a:gd name="connsiteX113" fmla="*/ 552597 w 2604807"/>
                <a:gd name="connsiteY113" fmla="*/ 2283872 h 3416161"/>
                <a:gd name="connsiteX114" fmla="*/ 508921 w 2604807"/>
                <a:gd name="connsiteY114" fmla="*/ 2328614 h 3416161"/>
                <a:gd name="connsiteX115" fmla="*/ 935147 w 2604807"/>
                <a:gd name="connsiteY115" fmla="*/ 2328614 h 3416161"/>
                <a:gd name="connsiteX116" fmla="*/ 945366 w 2604807"/>
                <a:gd name="connsiteY116" fmla="*/ 2295695 h 3416161"/>
                <a:gd name="connsiteX117" fmla="*/ 979089 w 2604807"/>
                <a:gd name="connsiteY117" fmla="*/ 2233565 h 3416161"/>
                <a:gd name="connsiteX118" fmla="*/ 984070 w 2604807"/>
                <a:gd name="connsiteY118" fmla="*/ 2227528 h 3416161"/>
                <a:gd name="connsiteX119" fmla="*/ 686257 w 2604807"/>
                <a:gd name="connsiteY119" fmla="*/ 1931274 h 3416161"/>
                <a:gd name="connsiteX120" fmla="*/ 685667 w 2604807"/>
                <a:gd name="connsiteY120" fmla="*/ 1993797 h 3416161"/>
                <a:gd name="connsiteX121" fmla="*/ 615160 w 2604807"/>
                <a:gd name="connsiteY121" fmla="*/ 2062984 h 3416161"/>
                <a:gd name="connsiteX122" fmla="*/ 565964 w 2604807"/>
                <a:gd name="connsiteY122" fmla="*/ 2042060 h 3416161"/>
                <a:gd name="connsiteX123" fmla="*/ 545973 w 2604807"/>
                <a:gd name="connsiteY123" fmla="*/ 1992478 h 3416161"/>
                <a:gd name="connsiteX124" fmla="*/ 548082 w 2604807"/>
                <a:gd name="connsiteY124" fmla="*/ 1769095 h 3416161"/>
                <a:gd name="connsiteX125" fmla="*/ 591349 w 2604807"/>
                <a:gd name="connsiteY125" fmla="*/ 1705139 h 3416161"/>
                <a:gd name="connsiteX126" fmla="*/ 615103 w 2604807"/>
                <a:gd name="connsiteY126" fmla="*/ 1700577 h 3416161"/>
                <a:gd name="connsiteX127" fmla="*/ 627979 w 2604807"/>
                <a:gd name="connsiteY127" fmla="*/ 1697780 h 3416161"/>
                <a:gd name="connsiteX128" fmla="*/ 851349 w 2604807"/>
                <a:gd name="connsiteY128" fmla="*/ 1694500 h 3416161"/>
                <a:gd name="connsiteX129" fmla="*/ 922218 w 2604807"/>
                <a:gd name="connsiteY129" fmla="*/ 1763316 h 3416161"/>
                <a:gd name="connsiteX130" fmla="*/ 922217 w 2604807"/>
                <a:gd name="connsiteY130" fmla="*/ 1763315 h 3416161"/>
                <a:gd name="connsiteX131" fmla="*/ 853400 w 2604807"/>
                <a:gd name="connsiteY131" fmla="*/ 1834184 h 3416161"/>
                <a:gd name="connsiteX132" fmla="*/ 787712 w 2604807"/>
                <a:gd name="connsiteY132" fmla="*/ 1835149 h 3416161"/>
                <a:gd name="connsiteX133" fmla="*/ 1085017 w 2604807"/>
                <a:gd name="connsiteY133" fmla="*/ 2130899 h 3416161"/>
                <a:gd name="connsiteX134" fmla="*/ 1140013 w 2604807"/>
                <a:gd name="connsiteY134" fmla="*/ 2101048 h 3416161"/>
                <a:gd name="connsiteX135" fmla="*/ 1208670 w 2604807"/>
                <a:gd name="connsiteY135" fmla="*/ 2079736 h 3416161"/>
                <a:gd name="connsiteX136" fmla="*/ 1217410 w 2604807"/>
                <a:gd name="connsiteY136" fmla="*/ 2078855 h 3416161"/>
                <a:gd name="connsiteX137" fmla="*/ 1217410 w 2604807"/>
                <a:gd name="connsiteY137" fmla="*/ 1655084 h 3416161"/>
                <a:gd name="connsiteX138" fmla="*/ 1172668 w 2604807"/>
                <a:gd name="connsiteY138" fmla="*/ 1698760 h 3416161"/>
                <a:gd name="connsiteX139" fmla="*/ 1073892 w 2604807"/>
                <a:gd name="connsiteY139" fmla="*/ 1697568 h 3416161"/>
                <a:gd name="connsiteX140" fmla="*/ 1054031 w 2604807"/>
                <a:gd name="connsiteY140" fmla="*/ 1647933 h 3416161"/>
                <a:gd name="connsiteX141" fmla="*/ 1075084 w 2604807"/>
                <a:gd name="connsiteY141" fmla="*/ 1598792 h 3416161"/>
                <a:gd name="connsiteX142" fmla="*/ 1234941 w 2604807"/>
                <a:gd name="connsiteY142" fmla="*/ 1442747 h 3416161"/>
                <a:gd name="connsiteX143" fmla="*/ 1271221 w 2604807"/>
                <a:gd name="connsiteY143" fmla="*/ 1424004 h 3416161"/>
                <a:gd name="connsiteX144" fmla="*/ 0 w 2604807"/>
                <a:gd name="connsiteY144" fmla="*/ 1189092 h 3416161"/>
                <a:gd name="connsiteX145" fmla="*/ 2604807 w 2604807"/>
                <a:gd name="connsiteY145" fmla="*/ 1189092 h 3416161"/>
                <a:gd name="connsiteX146" fmla="*/ 2604807 w 2604807"/>
                <a:gd name="connsiteY146" fmla="*/ 1234811 h 3416161"/>
                <a:gd name="connsiteX147" fmla="*/ 0 w 2604807"/>
                <a:gd name="connsiteY147" fmla="*/ 1234811 h 3416161"/>
                <a:gd name="connsiteX148" fmla="*/ 1272401 w 2604807"/>
                <a:gd name="connsiteY148" fmla="*/ 492763 h 3416161"/>
                <a:gd name="connsiteX149" fmla="*/ 846124 w 2604807"/>
                <a:gd name="connsiteY149" fmla="*/ 652174 h 3416161"/>
                <a:gd name="connsiteX150" fmla="*/ 846125 w 2604807"/>
                <a:gd name="connsiteY150" fmla="*/ 767258 h 3416161"/>
                <a:gd name="connsiteX151" fmla="*/ 1704448 w 2604807"/>
                <a:gd name="connsiteY151" fmla="*/ 767257 h 3416161"/>
                <a:gd name="connsiteX152" fmla="*/ 1704448 w 2604807"/>
                <a:gd name="connsiteY152" fmla="*/ 654332 h 3416161"/>
                <a:gd name="connsiteX153" fmla="*/ 846124 w 2604807"/>
                <a:gd name="connsiteY153" fmla="*/ 150767 h 3416161"/>
                <a:gd name="connsiteX154" fmla="*/ 846124 w 2604807"/>
                <a:gd name="connsiteY154" fmla="*/ 284541 h 3416161"/>
                <a:gd name="connsiteX155" fmla="*/ 1272401 w 2604807"/>
                <a:gd name="connsiteY155" fmla="*/ 443951 h 3416161"/>
                <a:gd name="connsiteX156" fmla="*/ 1704447 w 2604807"/>
                <a:gd name="connsiteY156" fmla="*/ 282383 h 3416161"/>
                <a:gd name="connsiteX157" fmla="*/ 1704447 w 2604807"/>
                <a:gd name="connsiteY157" fmla="*/ 150768 h 3416161"/>
                <a:gd name="connsiteX158" fmla="*/ 1736460 w 2604807"/>
                <a:gd name="connsiteY158" fmla="*/ 0 h 3416161"/>
                <a:gd name="connsiteX159" fmla="*/ 2222257 w 2604807"/>
                <a:gd name="connsiteY159" fmla="*/ 1 h 3416161"/>
                <a:gd name="connsiteX160" fmla="*/ 2254270 w 2604807"/>
                <a:gd name="connsiteY160" fmla="*/ 32014 h 3416161"/>
                <a:gd name="connsiteX161" fmla="*/ 2254269 w 2604807"/>
                <a:gd name="connsiteY161" fmla="*/ 295280 h 3416161"/>
                <a:gd name="connsiteX162" fmla="*/ 2222256 w 2604807"/>
                <a:gd name="connsiteY162" fmla="*/ 327293 h 3416161"/>
                <a:gd name="connsiteX163" fmla="*/ 1736460 w 2604807"/>
                <a:gd name="connsiteY163" fmla="*/ 327294 h 3416161"/>
                <a:gd name="connsiteX164" fmla="*/ 1726221 w 2604807"/>
                <a:gd name="connsiteY164" fmla="*/ 323052 h 3416161"/>
                <a:gd name="connsiteX165" fmla="*/ 1337664 w 2604807"/>
                <a:gd name="connsiteY165" fmla="*/ 468357 h 3416161"/>
                <a:gd name="connsiteX166" fmla="*/ 1729294 w 2604807"/>
                <a:gd name="connsiteY166" fmla="*/ 614812 h 3416161"/>
                <a:gd name="connsiteX167" fmla="*/ 1736461 w 2604807"/>
                <a:gd name="connsiteY167" fmla="*/ 611843 h 3416161"/>
                <a:gd name="connsiteX168" fmla="*/ 2222257 w 2604807"/>
                <a:gd name="connsiteY168" fmla="*/ 611843 h 3416161"/>
                <a:gd name="connsiteX169" fmla="*/ 2254269 w 2604807"/>
                <a:gd name="connsiteY169" fmla="*/ 643857 h 3416161"/>
                <a:gd name="connsiteX170" fmla="*/ 2254270 w 2604807"/>
                <a:gd name="connsiteY170" fmla="*/ 907123 h 3416161"/>
                <a:gd name="connsiteX171" fmla="*/ 2222257 w 2604807"/>
                <a:gd name="connsiteY171" fmla="*/ 939136 h 3416161"/>
                <a:gd name="connsiteX172" fmla="*/ 1736460 w 2604807"/>
                <a:gd name="connsiteY172" fmla="*/ 939137 h 3416161"/>
                <a:gd name="connsiteX173" fmla="*/ 1704448 w 2604807"/>
                <a:gd name="connsiteY173" fmla="*/ 907124 h 3416161"/>
                <a:gd name="connsiteX174" fmla="*/ 1704448 w 2604807"/>
                <a:gd name="connsiteY174" fmla="*/ 812976 h 3416161"/>
                <a:gd name="connsiteX175" fmla="*/ 846125 w 2604807"/>
                <a:gd name="connsiteY175" fmla="*/ 812976 h 3416161"/>
                <a:gd name="connsiteX176" fmla="*/ 846125 w 2604807"/>
                <a:gd name="connsiteY176" fmla="*/ 907123 h 3416161"/>
                <a:gd name="connsiteX177" fmla="*/ 814112 w 2604807"/>
                <a:gd name="connsiteY177" fmla="*/ 939137 h 3416161"/>
                <a:gd name="connsiteX178" fmla="*/ 328316 w 2604807"/>
                <a:gd name="connsiteY178" fmla="*/ 939137 h 3416161"/>
                <a:gd name="connsiteX179" fmla="*/ 296303 w 2604807"/>
                <a:gd name="connsiteY179" fmla="*/ 907123 h 3416161"/>
                <a:gd name="connsiteX180" fmla="*/ 296303 w 2604807"/>
                <a:gd name="connsiteY180" fmla="*/ 643857 h 3416161"/>
                <a:gd name="connsiteX181" fmla="*/ 328316 w 2604807"/>
                <a:gd name="connsiteY181" fmla="*/ 611843 h 3416161"/>
                <a:gd name="connsiteX182" fmla="*/ 814112 w 2604807"/>
                <a:gd name="connsiteY182" fmla="*/ 611843 h 3416161"/>
                <a:gd name="connsiteX183" fmla="*/ 818541 w 2604807"/>
                <a:gd name="connsiteY183" fmla="*/ 613678 h 3416161"/>
                <a:gd name="connsiteX184" fmla="*/ 1207139 w 2604807"/>
                <a:gd name="connsiteY184" fmla="*/ 468357 h 3416161"/>
                <a:gd name="connsiteX185" fmla="*/ 821615 w 2604807"/>
                <a:gd name="connsiteY185" fmla="*/ 324186 h 3416161"/>
                <a:gd name="connsiteX186" fmla="*/ 814112 w 2604807"/>
                <a:gd name="connsiteY186" fmla="*/ 327295 h 3416161"/>
                <a:gd name="connsiteX187" fmla="*/ 328316 w 2604807"/>
                <a:gd name="connsiteY187" fmla="*/ 327295 h 3416161"/>
                <a:gd name="connsiteX188" fmla="*/ 296302 w 2604807"/>
                <a:gd name="connsiteY188" fmla="*/ 295281 h 3416161"/>
                <a:gd name="connsiteX189" fmla="*/ 296303 w 2604807"/>
                <a:gd name="connsiteY189" fmla="*/ 32015 h 3416161"/>
                <a:gd name="connsiteX190" fmla="*/ 328315 w 2604807"/>
                <a:gd name="connsiteY190" fmla="*/ 1 h 3416161"/>
                <a:gd name="connsiteX191" fmla="*/ 814111 w 2604807"/>
                <a:gd name="connsiteY191" fmla="*/ 1 h 3416161"/>
                <a:gd name="connsiteX192" fmla="*/ 846124 w 2604807"/>
                <a:gd name="connsiteY192" fmla="*/ 32014 h 3416161"/>
                <a:gd name="connsiteX193" fmla="*/ 846124 w 2604807"/>
                <a:gd name="connsiteY193" fmla="*/ 105049 h 3416161"/>
                <a:gd name="connsiteX194" fmla="*/ 1704447 w 2604807"/>
                <a:gd name="connsiteY194" fmla="*/ 105048 h 3416161"/>
                <a:gd name="connsiteX195" fmla="*/ 1704447 w 2604807"/>
                <a:gd name="connsiteY195" fmla="*/ 32013 h 3416161"/>
                <a:gd name="connsiteX196" fmla="*/ 1736460 w 2604807"/>
                <a:gd name="connsiteY196" fmla="*/ 0 h 341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</a:cxnLst>
              <a:rect l="l" t="t" r="r" b="b"/>
              <a:pathLst>
                <a:path w="2604807" h="3416161">
                  <a:moveTo>
                    <a:pt x="1271221" y="1424004"/>
                  </a:moveTo>
                  <a:cubicBezTo>
                    <a:pt x="1284459" y="1421606"/>
                    <a:pt x="1298247" y="1423051"/>
                    <a:pt x="1310797" y="1428317"/>
                  </a:cubicBezTo>
                  <a:lnTo>
                    <a:pt x="1330784" y="1441940"/>
                  </a:lnTo>
                  <a:lnTo>
                    <a:pt x="1341848" y="1449096"/>
                  </a:lnTo>
                  <a:cubicBezTo>
                    <a:pt x="1395134" y="1501112"/>
                    <a:pt x="1448419" y="1553127"/>
                    <a:pt x="1501705" y="1605143"/>
                  </a:cubicBezTo>
                  <a:cubicBezTo>
                    <a:pt x="1529310" y="1632090"/>
                    <a:pt x="1529844" y="1676313"/>
                    <a:pt x="1502897" y="1703919"/>
                  </a:cubicBezTo>
                  <a:lnTo>
                    <a:pt x="1502897" y="1703917"/>
                  </a:lnTo>
                  <a:cubicBezTo>
                    <a:pt x="1475950" y="1731522"/>
                    <a:pt x="1431726" y="1732056"/>
                    <a:pt x="1404121" y="1705109"/>
                  </a:cubicBezTo>
                  <a:lnTo>
                    <a:pt x="1357110" y="1659219"/>
                  </a:lnTo>
                  <a:lnTo>
                    <a:pt x="1357109" y="2080050"/>
                  </a:lnTo>
                  <a:lnTo>
                    <a:pt x="1424754" y="2101048"/>
                  </a:lnTo>
                  <a:lnTo>
                    <a:pt x="1474912" y="2128273"/>
                  </a:lnTo>
                  <a:lnTo>
                    <a:pt x="1779768" y="1843057"/>
                  </a:lnTo>
                  <a:lnTo>
                    <a:pt x="1710789" y="1843215"/>
                  </a:lnTo>
                  <a:cubicBezTo>
                    <a:pt x="1670284" y="1843308"/>
                    <a:pt x="1640499" y="1810612"/>
                    <a:pt x="1644263" y="1770189"/>
                  </a:cubicBezTo>
                  <a:lnTo>
                    <a:pt x="1644261" y="1770191"/>
                  </a:lnTo>
                  <a:cubicBezTo>
                    <a:pt x="1648026" y="1729767"/>
                    <a:pt x="1683914" y="1696922"/>
                    <a:pt x="1724419" y="1696830"/>
                  </a:cubicBezTo>
                  <a:cubicBezTo>
                    <a:pt x="1802606" y="1696651"/>
                    <a:pt x="1880791" y="1696471"/>
                    <a:pt x="1958978" y="1696292"/>
                  </a:cubicBezTo>
                  <a:lnTo>
                    <a:pt x="1972285" y="1698994"/>
                  </a:lnTo>
                  <a:lnTo>
                    <a:pt x="1996883" y="1703351"/>
                  </a:lnTo>
                  <a:cubicBezTo>
                    <a:pt x="2022492" y="1713764"/>
                    <a:pt x="2039206" y="1739282"/>
                    <a:pt x="2037117" y="1769588"/>
                  </a:cubicBezTo>
                  <a:lnTo>
                    <a:pt x="2020985" y="2003592"/>
                  </a:lnTo>
                  <a:cubicBezTo>
                    <a:pt x="2019592" y="2023797"/>
                    <a:pt x="2010106" y="2042306"/>
                    <a:pt x="1995895" y="2055895"/>
                  </a:cubicBezTo>
                  <a:cubicBezTo>
                    <a:pt x="1981684" y="2069486"/>
                    <a:pt x="1962748" y="2078160"/>
                    <a:pt x="1942456" y="2078693"/>
                  </a:cubicBezTo>
                  <a:cubicBezTo>
                    <a:pt x="1901872" y="2079761"/>
                    <a:pt x="1871230" y="2047869"/>
                    <a:pt x="1874016" y="2007459"/>
                  </a:cubicBezTo>
                  <a:lnTo>
                    <a:pt x="1878531" y="1941964"/>
                  </a:lnTo>
                  <a:lnTo>
                    <a:pt x="1577476" y="2223624"/>
                  </a:lnTo>
                  <a:lnTo>
                    <a:pt x="1585677" y="2233565"/>
                  </a:lnTo>
                  <a:cubicBezTo>
                    <a:pt x="1611969" y="2272482"/>
                    <a:pt x="1630968" y="2316731"/>
                    <a:pt x="1640712" y="2364352"/>
                  </a:cubicBezTo>
                  <a:lnTo>
                    <a:pt x="1642168" y="2378795"/>
                  </a:lnTo>
                  <a:lnTo>
                    <a:pt x="2041651" y="2378795"/>
                  </a:lnTo>
                  <a:lnTo>
                    <a:pt x="1997975" y="2334053"/>
                  </a:lnTo>
                  <a:cubicBezTo>
                    <a:pt x="1971028" y="2306447"/>
                    <a:pt x="1971562" y="2262224"/>
                    <a:pt x="1999167" y="2235277"/>
                  </a:cubicBezTo>
                  <a:cubicBezTo>
                    <a:pt x="2012969" y="2221803"/>
                    <a:pt x="2030927" y="2215200"/>
                    <a:pt x="2048802" y="2215416"/>
                  </a:cubicBezTo>
                  <a:cubicBezTo>
                    <a:pt x="2066676" y="2215631"/>
                    <a:pt x="2084469" y="2222666"/>
                    <a:pt x="2097943" y="2236469"/>
                  </a:cubicBezTo>
                  <a:lnTo>
                    <a:pt x="2253988" y="2396326"/>
                  </a:lnTo>
                  <a:cubicBezTo>
                    <a:pt x="2274198" y="2417030"/>
                    <a:pt x="2278951" y="2447082"/>
                    <a:pt x="2268418" y="2472182"/>
                  </a:cubicBezTo>
                  <a:lnTo>
                    <a:pt x="2254795" y="2492169"/>
                  </a:lnTo>
                  <a:lnTo>
                    <a:pt x="2247639" y="2503233"/>
                  </a:lnTo>
                  <a:cubicBezTo>
                    <a:pt x="2195623" y="2556519"/>
                    <a:pt x="2143608" y="2609804"/>
                    <a:pt x="2091592" y="2663090"/>
                  </a:cubicBezTo>
                  <a:cubicBezTo>
                    <a:pt x="2064645" y="2690695"/>
                    <a:pt x="2020422" y="2691229"/>
                    <a:pt x="1992816" y="2664282"/>
                  </a:cubicBezTo>
                  <a:lnTo>
                    <a:pt x="1992818" y="2664282"/>
                  </a:lnTo>
                  <a:cubicBezTo>
                    <a:pt x="1965213" y="2637335"/>
                    <a:pt x="1964679" y="2593111"/>
                    <a:pt x="1991626" y="2565506"/>
                  </a:cubicBezTo>
                  <a:lnTo>
                    <a:pt x="2037516" y="2518495"/>
                  </a:lnTo>
                  <a:lnTo>
                    <a:pt x="1638628" y="2518494"/>
                  </a:lnTo>
                  <a:lnTo>
                    <a:pt x="1619400" y="2580436"/>
                  </a:lnTo>
                  <a:lnTo>
                    <a:pt x="1603503" y="2609724"/>
                  </a:lnTo>
                  <a:lnTo>
                    <a:pt x="1889657" y="2900388"/>
                  </a:lnTo>
                  <a:lnTo>
                    <a:pt x="1890900" y="2837875"/>
                  </a:lnTo>
                  <a:cubicBezTo>
                    <a:pt x="1891667" y="2799305"/>
                    <a:pt x="1923556" y="2768660"/>
                    <a:pt x="1962125" y="2769427"/>
                  </a:cubicBezTo>
                  <a:cubicBezTo>
                    <a:pt x="1981410" y="2769810"/>
                    <a:pt x="1998714" y="2777975"/>
                    <a:pt x="2011100" y="2790864"/>
                  </a:cubicBezTo>
                  <a:cubicBezTo>
                    <a:pt x="2023487" y="2803752"/>
                    <a:pt x="2030956" y="2821367"/>
                    <a:pt x="2030573" y="2840652"/>
                  </a:cubicBezTo>
                  <a:lnTo>
                    <a:pt x="2026131" y="3064001"/>
                  </a:lnTo>
                  <a:cubicBezTo>
                    <a:pt x="2025556" y="3092928"/>
                    <a:pt x="2007475" y="3117398"/>
                    <a:pt x="1982199" y="3127501"/>
                  </a:cubicBezTo>
                  <a:lnTo>
                    <a:pt x="1958398" y="3131815"/>
                  </a:lnTo>
                  <a:lnTo>
                    <a:pt x="1945494" y="3134478"/>
                  </a:lnTo>
                  <a:cubicBezTo>
                    <a:pt x="1871029" y="3134794"/>
                    <a:pt x="1796566" y="3135110"/>
                    <a:pt x="1722101" y="3135426"/>
                  </a:cubicBezTo>
                  <a:cubicBezTo>
                    <a:pt x="1683525" y="3135589"/>
                    <a:pt x="1652119" y="3104450"/>
                    <a:pt x="1651955" y="3065873"/>
                  </a:cubicBezTo>
                  <a:lnTo>
                    <a:pt x="1651956" y="3065874"/>
                  </a:lnTo>
                  <a:cubicBezTo>
                    <a:pt x="1651793" y="3027298"/>
                    <a:pt x="1682933" y="2995892"/>
                    <a:pt x="1721509" y="2995728"/>
                  </a:cubicBezTo>
                  <a:lnTo>
                    <a:pt x="1787204" y="2995449"/>
                  </a:lnTo>
                  <a:lnTo>
                    <a:pt x="1514569" y="2718516"/>
                  </a:lnTo>
                  <a:lnTo>
                    <a:pt x="1486883" y="2741359"/>
                  </a:lnTo>
                  <a:cubicBezTo>
                    <a:pt x="1447966" y="2767651"/>
                    <a:pt x="1403717" y="2786650"/>
                    <a:pt x="1356097" y="2796394"/>
                  </a:cubicBezTo>
                  <a:lnTo>
                    <a:pt x="1351097" y="2796898"/>
                  </a:lnTo>
                  <a:lnTo>
                    <a:pt x="1351098" y="3179823"/>
                  </a:lnTo>
                  <a:lnTo>
                    <a:pt x="1398109" y="3133933"/>
                  </a:lnTo>
                  <a:cubicBezTo>
                    <a:pt x="1425714" y="3106986"/>
                    <a:pt x="1469938" y="3107520"/>
                    <a:pt x="1496885" y="3135125"/>
                  </a:cubicBezTo>
                  <a:lnTo>
                    <a:pt x="1496885" y="3135123"/>
                  </a:lnTo>
                  <a:cubicBezTo>
                    <a:pt x="1523832" y="3162729"/>
                    <a:pt x="1523298" y="3206952"/>
                    <a:pt x="1495693" y="3233899"/>
                  </a:cubicBezTo>
                  <a:cubicBezTo>
                    <a:pt x="1442407" y="3285915"/>
                    <a:pt x="1389122" y="3337930"/>
                    <a:pt x="1335836" y="3389946"/>
                  </a:cubicBezTo>
                  <a:lnTo>
                    <a:pt x="1324772" y="3397102"/>
                  </a:lnTo>
                  <a:lnTo>
                    <a:pt x="1304785" y="3410725"/>
                  </a:lnTo>
                  <a:cubicBezTo>
                    <a:pt x="1279685" y="3421258"/>
                    <a:pt x="1249633" y="3416505"/>
                    <a:pt x="1228929" y="3396295"/>
                  </a:cubicBezTo>
                  <a:lnTo>
                    <a:pt x="1069072" y="3240250"/>
                  </a:lnTo>
                  <a:cubicBezTo>
                    <a:pt x="1055269" y="3226776"/>
                    <a:pt x="1048234" y="3208983"/>
                    <a:pt x="1048019" y="3191109"/>
                  </a:cubicBezTo>
                  <a:cubicBezTo>
                    <a:pt x="1047803" y="3173234"/>
                    <a:pt x="1054406" y="3155276"/>
                    <a:pt x="1067880" y="3141474"/>
                  </a:cubicBezTo>
                  <a:cubicBezTo>
                    <a:pt x="1094827" y="3113869"/>
                    <a:pt x="1139050" y="3113335"/>
                    <a:pt x="1166656" y="3140282"/>
                  </a:cubicBezTo>
                  <a:lnTo>
                    <a:pt x="1211398" y="3183958"/>
                  </a:lnTo>
                  <a:lnTo>
                    <a:pt x="1211398" y="2796669"/>
                  </a:lnTo>
                  <a:lnTo>
                    <a:pt x="1208670" y="2796394"/>
                  </a:lnTo>
                  <a:cubicBezTo>
                    <a:pt x="1161050" y="2786650"/>
                    <a:pt x="1116800" y="2767651"/>
                    <a:pt x="1077883" y="2741359"/>
                  </a:cubicBezTo>
                  <a:lnTo>
                    <a:pt x="1054811" y="2722323"/>
                  </a:lnTo>
                  <a:lnTo>
                    <a:pt x="792691" y="2991862"/>
                  </a:lnTo>
                  <a:lnTo>
                    <a:pt x="858386" y="2991738"/>
                  </a:lnTo>
                  <a:cubicBezTo>
                    <a:pt x="896963" y="2991665"/>
                    <a:pt x="928295" y="3022880"/>
                    <a:pt x="928368" y="3061456"/>
                  </a:cubicBezTo>
                  <a:lnTo>
                    <a:pt x="928370" y="3061455"/>
                  </a:lnTo>
                  <a:cubicBezTo>
                    <a:pt x="928442" y="3100032"/>
                    <a:pt x="897228" y="3131364"/>
                    <a:pt x="858651" y="3131437"/>
                  </a:cubicBezTo>
                  <a:cubicBezTo>
                    <a:pt x="784186" y="3131578"/>
                    <a:pt x="709723" y="3131718"/>
                    <a:pt x="635257" y="3131859"/>
                  </a:cubicBezTo>
                  <a:lnTo>
                    <a:pt x="622337" y="3129276"/>
                  </a:lnTo>
                  <a:lnTo>
                    <a:pt x="598510" y="3125108"/>
                  </a:lnTo>
                  <a:cubicBezTo>
                    <a:pt x="573173" y="3115160"/>
                    <a:pt x="554942" y="3090801"/>
                    <a:pt x="554189" y="3061878"/>
                  </a:cubicBezTo>
                  <a:lnTo>
                    <a:pt x="548378" y="2838561"/>
                  </a:lnTo>
                  <a:cubicBezTo>
                    <a:pt x="547876" y="2819279"/>
                    <a:pt x="555237" y="2801618"/>
                    <a:pt x="567544" y="2788654"/>
                  </a:cubicBezTo>
                  <a:cubicBezTo>
                    <a:pt x="579851" y="2775689"/>
                    <a:pt x="597105" y="2767418"/>
                    <a:pt x="616387" y="2766917"/>
                  </a:cubicBezTo>
                  <a:cubicBezTo>
                    <a:pt x="654951" y="2765914"/>
                    <a:pt x="687027" y="2796362"/>
                    <a:pt x="688031" y="2834927"/>
                  </a:cubicBezTo>
                  <a:lnTo>
                    <a:pt x="689657" y="2897431"/>
                  </a:lnTo>
                  <a:lnTo>
                    <a:pt x="964194" y="2615124"/>
                  </a:lnTo>
                  <a:lnTo>
                    <a:pt x="945366" y="2580436"/>
                  </a:lnTo>
                  <a:cubicBezTo>
                    <a:pt x="936112" y="2558556"/>
                    <a:pt x="928926" y="2535589"/>
                    <a:pt x="924054" y="2511779"/>
                  </a:cubicBezTo>
                  <a:lnTo>
                    <a:pt x="919672" y="2468313"/>
                  </a:lnTo>
                  <a:lnTo>
                    <a:pt x="513056" y="2468314"/>
                  </a:lnTo>
                  <a:lnTo>
                    <a:pt x="558946" y="2515325"/>
                  </a:lnTo>
                  <a:cubicBezTo>
                    <a:pt x="585893" y="2542930"/>
                    <a:pt x="585359" y="2587154"/>
                    <a:pt x="557754" y="2614101"/>
                  </a:cubicBezTo>
                  <a:lnTo>
                    <a:pt x="557756" y="2614101"/>
                  </a:lnTo>
                  <a:cubicBezTo>
                    <a:pt x="530150" y="2641048"/>
                    <a:pt x="485927" y="2640514"/>
                    <a:pt x="458980" y="2612909"/>
                  </a:cubicBezTo>
                  <a:cubicBezTo>
                    <a:pt x="406964" y="2559623"/>
                    <a:pt x="354949" y="2506338"/>
                    <a:pt x="302933" y="2453052"/>
                  </a:cubicBezTo>
                  <a:lnTo>
                    <a:pt x="295777" y="2441988"/>
                  </a:lnTo>
                  <a:lnTo>
                    <a:pt x="282154" y="2422001"/>
                  </a:lnTo>
                  <a:cubicBezTo>
                    <a:pt x="271621" y="2396901"/>
                    <a:pt x="276374" y="2366849"/>
                    <a:pt x="296584" y="2346145"/>
                  </a:cubicBezTo>
                  <a:lnTo>
                    <a:pt x="452629" y="2186288"/>
                  </a:lnTo>
                  <a:cubicBezTo>
                    <a:pt x="466103" y="2172485"/>
                    <a:pt x="483896" y="2165450"/>
                    <a:pt x="501770" y="2165235"/>
                  </a:cubicBezTo>
                  <a:cubicBezTo>
                    <a:pt x="519645" y="2165019"/>
                    <a:pt x="537603" y="2171622"/>
                    <a:pt x="551405" y="2185096"/>
                  </a:cubicBezTo>
                  <a:cubicBezTo>
                    <a:pt x="579010" y="2212043"/>
                    <a:pt x="579544" y="2256266"/>
                    <a:pt x="552597" y="2283872"/>
                  </a:cubicBezTo>
                  <a:lnTo>
                    <a:pt x="508921" y="2328614"/>
                  </a:lnTo>
                  <a:lnTo>
                    <a:pt x="935147" y="2328614"/>
                  </a:lnTo>
                  <a:lnTo>
                    <a:pt x="945366" y="2295695"/>
                  </a:lnTo>
                  <a:cubicBezTo>
                    <a:pt x="954620" y="2273815"/>
                    <a:pt x="965943" y="2253024"/>
                    <a:pt x="979089" y="2233565"/>
                  </a:cubicBezTo>
                  <a:lnTo>
                    <a:pt x="984070" y="2227528"/>
                  </a:lnTo>
                  <a:lnTo>
                    <a:pt x="686257" y="1931274"/>
                  </a:lnTo>
                  <a:lnTo>
                    <a:pt x="685667" y="1993797"/>
                  </a:lnTo>
                  <a:cubicBezTo>
                    <a:pt x="685302" y="2032373"/>
                    <a:pt x="653736" y="2063348"/>
                    <a:pt x="615160" y="2062984"/>
                  </a:cubicBezTo>
                  <a:cubicBezTo>
                    <a:pt x="595873" y="2062803"/>
                    <a:pt x="578485" y="2054819"/>
                    <a:pt x="565964" y="2042060"/>
                  </a:cubicBezTo>
                  <a:cubicBezTo>
                    <a:pt x="553444" y="2029302"/>
                    <a:pt x="545791" y="2011766"/>
                    <a:pt x="545973" y="1992478"/>
                  </a:cubicBezTo>
                  <a:lnTo>
                    <a:pt x="548082" y="1769095"/>
                  </a:lnTo>
                  <a:cubicBezTo>
                    <a:pt x="548356" y="1740163"/>
                    <a:pt x="566180" y="1715506"/>
                    <a:pt x="591349" y="1705139"/>
                  </a:cubicBezTo>
                  <a:lnTo>
                    <a:pt x="615103" y="1700577"/>
                  </a:lnTo>
                  <a:lnTo>
                    <a:pt x="627979" y="1697780"/>
                  </a:lnTo>
                  <a:cubicBezTo>
                    <a:pt x="702437" y="1696686"/>
                    <a:pt x="776892" y="1695593"/>
                    <a:pt x="851349" y="1694500"/>
                  </a:cubicBezTo>
                  <a:cubicBezTo>
                    <a:pt x="889922" y="1693933"/>
                    <a:pt x="921651" y="1724743"/>
                    <a:pt x="922218" y="1763316"/>
                  </a:cubicBezTo>
                  <a:lnTo>
                    <a:pt x="922217" y="1763315"/>
                  </a:lnTo>
                  <a:cubicBezTo>
                    <a:pt x="922783" y="1801887"/>
                    <a:pt x="891973" y="1833617"/>
                    <a:pt x="853400" y="1834184"/>
                  </a:cubicBezTo>
                  <a:lnTo>
                    <a:pt x="787712" y="1835149"/>
                  </a:lnTo>
                  <a:lnTo>
                    <a:pt x="1085017" y="2130899"/>
                  </a:lnTo>
                  <a:lnTo>
                    <a:pt x="1140013" y="2101048"/>
                  </a:lnTo>
                  <a:cubicBezTo>
                    <a:pt x="1161892" y="2091794"/>
                    <a:pt x="1184860" y="2084608"/>
                    <a:pt x="1208670" y="2079736"/>
                  </a:cubicBezTo>
                  <a:lnTo>
                    <a:pt x="1217410" y="2078855"/>
                  </a:lnTo>
                  <a:lnTo>
                    <a:pt x="1217410" y="1655084"/>
                  </a:lnTo>
                  <a:lnTo>
                    <a:pt x="1172668" y="1698760"/>
                  </a:lnTo>
                  <a:cubicBezTo>
                    <a:pt x="1145062" y="1725707"/>
                    <a:pt x="1100839" y="1725173"/>
                    <a:pt x="1073892" y="1697568"/>
                  </a:cubicBezTo>
                  <a:cubicBezTo>
                    <a:pt x="1060418" y="1683766"/>
                    <a:pt x="1053815" y="1665808"/>
                    <a:pt x="1054031" y="1647933"/>
                  </a:cubicBezTo>
                  <a:cubicBezTo>
                    <a:pt x="1054246" y="1630059"/>
                    <a:pt x="1061281" y="1612266"/>
                    <a:pt x="1075084" y="1598792"/>
                  </a:cubicBezTo>
                  <a:lnTo>
                    <a:pt x="1234941" y="1442747"/>
                  </a:lnTo>
                  <a:cubicBezTo>
                    <a:pt x="1245293" y="1432642"/>
                    <a:pt x="1257982" y="1426402"/>
                    <a:pt x="1271221" y="1424004"/>
                  </a:cubicBezTo>
                  <a:close/>
                  <a:moveTo>
                    <a:pt x="0" y="1189092"/>
                  </a:moveTo>
                  <a:lnTo>
                    <a:pt x="2604807" y="1189092"/>
                  </a:lnTo>
                  <a:lnTo>
                    <a:pt x="2604807" y="1234811"/>
                  </a:lnTo>
                  <a:lnTo>
                    <a:pt x="0" y="1234811"/>
                  </a:lnTo>
                  <a:close/>
                  <a:moveTo>
                    <a:pt x="1272401" y="492763"/>
                  </a:moveTo>
                  <a:lnTo>
                    <a:pt x="846124" y="652174"/>
                  </a:lnTo>
                  <a:lnTo>
                    <a:pt x="846125" y="767258"/>
                  </a:lnTo>
                  <a:lnTo>
                    <a:pt x="1704448" y="767257"/>
                  </a:lnTo>
                  <a:lnTo>
                    <a:pt x="1704448" y="654332"/>
                  </a:lnTo>
                  <a:close/>
                  <a:moveTo>
                    <a:pt x="846124" y="150767"/>
                  </a:moveTo>
                  <a:lnTo>
                    <a:pt x="846124" y="284541"/>
                  </a:lnTo>
                  <a:lnTo>
                    <a:pt x="1272401" y="443951"/>
                  </a:lnTo>
                  <a:lnTo>
                    <a:pt x="1704447" y="282383"/>
                  </a:lnTo>
                  <a:lnTo>
                    <a:pt x="1704447" y="150768"/>
                  </a:lnTo>
                  <a:close/>
                  <a:moveTo>
                    <a:pt x="1736460" y="0"/>
                  </a:moveTo>
                  <a:lnTo>
                    <a:pt x="2222257" y="1"/>
                  </a:lnTo>
                  <a:cubicBezTo>
                    <a:pt x="2239936" y="0"/>
                    <a:pt x="2254270" y="14334"/>
                    <a:pt x="2254270" y="32014"/>
                  </a:cubicBezTo>
                  <a:lnTo>
                    <a:pt x="2254269" y="295280"/>
                  </a:lnTo>
                  <a:cubicBezTo>
                    <a:pt x="2254270" y="312960"/>
                    <a:pt x="2239936" y="327294"/>
                    <a:pt x="2222256" y="327293"/>
                  </a:cubicBezTo>
                  <a:lnTo>
                    <a:pt x="1736460" y="327294"/>
                  </a:lnTo>
                  <a:lnTo>
                    <a:pt x="1726221" y="323052"/>
                  </a:lnTo>
                  <a:lnTo>
                    <a:pt x="1337664" y="468357"/>
                  </a:lnTo>
                  <a:lnTo>
                    <a:pt x="1729294" y="614812"/>
                  </a:lnTo>
                  <a:lnTo>
                    <a:pt x="1736461" y="611843"/>
                  </a:lnTo>
                  <a:lnTo>
                    <a:pt x="2222257" y="611843"/>
                  </a:lnTo>
                  <a:cubicBezTo>
                    <a:pt x="2239937" y="611843"/>
                    <a:pt x="2254270" y="626177"/>
                    <a:pt x="2254269" y="643857"/>
                  </a:cubicBezTo>
                  <a:lnTo>
                    <a:pt x="2254270" y="907123"/>
                  </a:lnTo>
                  <a:cubicBezTo>
                    <a:pt x="2254270" y="924803"/>
                    <a:pt x="2239936" y="939137"/>
                    <a:pt x="2222257" y="939136"/>
                  </a:cubicBezTo>
                  <a:lnTo>
                    <a:pt x="1736460" y="939137"/>
                  </a:lnTo>
                  <a:cubicBezTo>
                    <a:pt x="1718780" y="939137"/>
                    <a:pt x="1704448" y="924803"/>
                    <a:pt x="1704448" y="907124"/>
                  </a:cubicBezTo>
                  <a:lnTo>
                    <a:pt x="1704448" y="812976"/>
                  </a:lnTo>
                  <a:lnTo>
                    <a:pt x="846125" y="812976"/>
                  </a:lnTo>
                  <a:lnTo>
                    <a:pt x="846125" y="907123"/>
                  </a:lnTo>
                  <a:cubicBezTo>
                    <a:pt x="846125" y="924804"/>
                    <a:pt x="831792" y="939136"/>
                    <a:pt x="814112" y="939137"/>
                  </a:cubicBezTo>
                  <a:lnTo>
                    <a:pt x="328316" y="939137"/>
                  </a:lnTo>
                  <a:cubicBezTo>
                    <a:pt x="310636" y="939137"/>
                    <a:pt x="296302" y="924803"/>
                    <a:pt x="296303" y="907123"/>
                  </a:cubicBezTo>
                  <a:lnTo>
                    <a:pt x="296303" y="643857"/>
                  </a:lnTo>
                  <a:cubicBezTo>
                    <a:pt x="296302" y="626177"/>
                    <a:pt x="310636" y="611843"/>
                    <a:pt x="328316" y="611843"/>
                  </a:cubicBezTo>
                  <a:lnTo>
                    <a:pt x="814112" y="611843"/>
                  </a:lnTo>
                  <a:lnTo>
                    <a:pt x="818541" y="613678"/>
                  </a:lnTo>
                  <a:lnTo>
                    <a:pt x="1207139" y="468357"/>
                  </a:lnTo>
                  <a:lnTo>
                    <a:pt x="821615" y="324186"/>
                  </a:lnTo>
                  <a:lnTo>
                    <a:pt x="814112" y="327295"/>
                  </a:lnTo>
                  <a:lnTo>
                    <a:pt x="328316" y="327295"/>
                  </a:lnTo>
                  <a:cubicBezTo>
                    <a:pt x="310636" y="327295"/>
                    <a:pt x="296302" y="312961"/>
                    <a:pt x="296302" y="295281"/>
                  </a:cubicBezTo>
                  <a:lnTo>
                    <a:pt x="296303" y="32015"/>
                  </a:lnTo>
                  <a:cubicBezTo>
                    <a:pt x="296303" y="14334"/>
                    <a:pt x="310635" y="1"/>
                    <a:pt x="328315" y="1"/>
                  </a:cubicBezTo>
                  <a:lnTo>
                    <a:pt x="814111" y="1"/>
                  </a:lnTo>
                  <a:cubicBezTo>
                    <a:pt x="831791" y="1"/>
                    <a:pt x="846125" y="14335"/>
                    <a:pt x="846124" y="32014"/>
                  </a:cubicBezTo>
                  <a:lnTo>
                    <a:pt x="846124" y="105049"/>
                  </a:lnTo>
                  <a:lnTo>
                    <a:pt x="1704447" y="105048"/>
                  </a:lnTo>
                  <a:lnTo>
                    <a:pt x="1704447" y="32013"/>
                  </a:lnTo>
                  <a:cubicBezTo>
                    <a:pt x="1704448" y="14333"/>
                    <a:pt x="1718780" y="1"/>
                    <a:pt x="1736460" y="0"/>
                  </a:cubicBezTo>
                  <a:close/>
                </a:path>
              </a:pathLst>
            </a:cu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kern="0">
                <a:solidFill>
                  <a:srgbClr val="2968AF">
                    <a:lumMod val="50000"/>
                  </a:srgbClr>
                </a:solidFill>
                <a:latin typeface="Arial"/>
              </a:endParaRPr>
            </a:p>
          </p:txBody>
        </p:sp>
      </p:grpSp>
      <p:grpSp>
        <p:nvGrpSpPr>
          <p:cNvPr id="197" name="Group 196"/>
          <p:cNvGrpSpPr/>
          <p:nvPr/>
        </p:nvGrpSpPr>
        <p:grpSpPr>
          <a:xfrm>
            <a:off x="5191138" y="3160495"/>
            <a:ext cx="334399" cy="480306"/>
            <a:chOff x="5504309" y="3160692"/>
            <a:chExt cx="334399" cy="480306"/>
          </a:xfrm>
        </p:grpSpPr>
        <p:sp>
          <p:nvSpPr>
            <p:cNvPr id="198" name="Rounded Rectangle 197"/>
            <p:cNvSpPr/>
            <p:nvPr/>
          </p:nvSpPr>
          <p:spPr bwMode="auto">
            <a:xfrm>
              <a:off x="5504309" y="3160692"/>
              <a:ext cx="331223" cy="480306"/>
            </a:xfrm>
            <a:prstGeom prst="roundRect">
              <a:avLst>
                <a:gd name="adj" fmla="val 4802"/>
              </a:avLst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kern="0" dirty="0" err="1">
                <a:solidFill>
                  <a:srgbClr val="2968AF">
                    <a:lumMod val="50000"/>
                  </a:srgbClr>
                </a:solidFill>
                <a:latin typeface="Arial"/>
                <a:sym typeface="Arial" pitchFamily="-107" charset="0"/>
              </a:endParaRPr>
            </a:p>
          </p:txBody>
        </p:sp>
        <p:sp>
          <p:nvSpPr>
            <p:cNvPr id="199" name="Freeform 198"/>
            <p:cNvSpPr>
              <a:spLocks noChangeAspect="1"/>
            </p:cNvSpPr>
            <p:nvPr/>
          </p:nvSpPr>
          <p:spPr>
            <a:xfrm>
              <a:off x="5513201" y="3190571"/>
              <a:ext cx="325507" cy="426897"/>
            </a:xfrm>
            <a:custGeom>
              <a:avLst/>
              <a:gdLst>
                <a:gd name="connsiteX0" fmla="*/ 1271221 w 2604807"/>
                <a:gd name="connsiteY0" fmla="*/ 1424004 h 3416161"/>
                <a:gd name="connsiteX1" fmla="*/ 1310797 w 2604807"/>
                <a:gd name="connsiteY1" fmla="*/ 1428317 h 3416161"/>
                <a:gd name="connsiteX2" fmla="*/ 1330784 w 2604807"/>
                <a:gd name="connsiteY2" fmla="*/ 1441940 h 3416161"/>
                <a:gd name="connsiteX3" fmla="*/ 1341848 w 2604807"/>
                <a:gd name="connsiteY3" fmla="*/ 1449096 h 3416161"/>
                <a:gd name="connsiteX4" fmla="*/ 1501705 w 2604807"/>
                <a:gd name="connsiteY4" fmla="*/ 1605143 h 3416161"/>
                <a:gd name="connsiteX5" fmla="*/ 1502897 w 2604807"/>
                <a:gd name="connsiteY5" fmla="*/ 1703919 h 3416161"/>
                <a:gd name="connsiteX6" fmla="*/ 1502897 w 2604807"/>
                <a:gd name="connsiteY6" fmla="*/ 1703917 h 3416161"/>
                <a:gd name="connsiteX7" fmla="*/ 1404121 w 2604807"/>
                <a:gd name="connsiteY7" fmla="*/ 1705109 h 3416161"/>
                <a:gd name="connsiteX8" fmla="*/ 1357110 w 2604807"/>
                <a:gd name="connsiteY8" fmla="*/ 1659219 h 3416161"/>
                <a:gd name="connsiteX9" fmla="*/ 1357109 w 2604807"/>
                <a:gd name="connsiteY9" fmla="*/ 2080050 h 3416161"/>
                <a:gd name="connsiteX10" fmla="*/ 1424754 w 2604807"/>
                <a:gd name="connsiteY10" fmla="*/ 2101048 h 3416161"/>
                <a:gd name="connsiteX11" fmla="*/ 1474912 w 2604807"/>
                <a:gd name="connsiteY11" fmla="*/ 2128273 h 3416161"/>
                <a:gd name="connsiteX12" fmla="*/ 1779768 w 2604807"/>
                <a:gd name="connsiteY12" fmla="*/ 1843057 h 3416161"/>
                <a:gd name="connsiteX13" fmla="*/ 1710789 w 2604807"/>
                <a:gd name="connsiteY13" fmla="*/ 1843215 h 3416161"/>
                <a:gd name="connsiteX14" fmla="*/ 1644263 w 2604807"/>
                <a:gd name="connsiteY14" fmla="*/ 1770189 h 3416161"/>
                <a:gd name="connsiteX15" fmla="*/ 1644261 w 2604807"/>
                <a:gd name="connsiteY15" fmla="*/ 1770191 h 3416161"/>
                <a:gd name="connsiteX16" fmla="*/ 1724419 w 2604807"/>
                <a:gd name="connsiteY16" fmla="*/ 1696830 h 3416161"/>
                <a:gd name="connsiteX17" fmla="*/ 1958978 w 2604807"/>
                <a:gd name="connsiteY17" fmla="*/ 1696292 h 3416161"/>
                <a:gd name="connsiteX18" fmla="*/ 1972285 w 2604807"/>
                <a:gd name="connsiteY18" fmla="*/ 1698994 h 3416161"/>
                <a:gd name="connsiteX19" fmla="*/ 1996883 w 2604807"/>
                <a:gd name="connsiteY19" fmla="*/ 1703351 h 3416161"/>
                <a:gd name="connsiteX20" fmla="*/ 2037117 w 2604807"/>
                <a:gd name="connsiteY20" fmla="*/ 1769588 h 3416161"/>
                <a:gd name="connsiteX21" fmla="*/ 2020985 w 2604807"/>
                <a:gd name="connsiteY21" fmla="*/ 2003592 h 3416161"/>
                <a:gd name="connsiteX22" fmla="*/ 1995895 w 2604807"/>
                <a:gd name="connsiteY22" fmla="*/ 2055895 h 3416161"/>
                <a:gd name="connsiteX23" fmla="*/ 1942456 w 2604807"/>
                <a:gd name="connsiteY23" fmla="*/ 2078693 h 3416161"/>
                <a:gd name="connsiteX24" fmla="*/ 1874016 w 2604807"/>
                <a:gd name="connsiteY24" fmla="*/ 2007459 h 3416161"/>
                <a:gd name="connsiteX25" fmla="*/ 1878531 w 2604807"/>
                <a:gd name="connsiteY25" fmla="*/ 1941964 h 3416161"/>
                <a:gd name="connsiteX26" fmla="*/ 1577476 w 2604807"/>
                <a:gd name="connsiteY26" fmla="*/ 2223624 h 3416161"/>
                <a:gd name="connsiteX27" fmla="*/ 1585677 w 2604807"/>
                <a:gd name="connsiteY27" fmla="*/ 2233565 h 3416161"/>
                <a:gd name="connsiteX28" fmla="*/ 1640712 w 2604807"/>
                <a:gd name="connsiteY28" fmla="*/ 2364352 h 3416161"/>
                <a:gd name="connsiteX29" fmla="*/ 1642168 w 2604807"/>
                <a:gd name="connsiteY29" fmla="*/ 2378795 h 3416161"/>
                <a:gd name="connsiteX30" fmla="*/ 2041651 w 2604807"/>
                <a:gd name="connsiteY30" fmla="*/ 2378795 h 3416161"/>
                <a:gd name="connsiteX31" fmla="*/ 1997975 w 2604807"/>
                <a:gd name="connsiteY31" fmla="*/ 2334053 h 3416161"/>
                <a:gd name="connsiteX32" fmla="*/ 1999167 w 2604807"/>
                <a:gd name="connsiteY32" fmla="*/ 2235277 h 3416161"/>
                <a:gd name="connsiteX33" fmla="*/ 2048802 w 2604807"/>
                <a:gd name="connsiteY33" fmla="*/ 2215416 h 3416161"/>
                <a:gd name="connsiteX34" fmla="*/ 2097943 w 2604807"/>
                <a:gd name="connsiteY34" fmla="*/ 2236469 h 3416161"/>
                <a:gd name="connsiteX35" fmla="*/ 2253988 w 2604807"/>
                <a:gd name="connsiteY35" fmla="*/ 2396326 h 3416161"/>
                <a:gd name="connsiteX36" fmla="*/ 2268418 w 2604807"/>
                <a:gd name="connsiteY36" fmla="*/ 2472182 h 3416161"/>
                <a:gd name="connsiteX37" fmla="*/ 2254795 w 2604807"/>
                <a:gd name="connsiteY37" fmla="*/ 2492169 h 3416161"/>
                <a:gd name="connsiteX38" fmla="*/ 2247639 w 2604807"/>
                <a:gd name="connsiteY38" fmla="*/ 2503233 h 3416161"/>
                <a:gd name="connsiteX39" fmla="*/ 2091592 w 2604807"/>
                <a:gd name="connsiteY39" fmla="*/ 2663090 h 3416161"/>
                <a:gd name="connsiteX40" fmla="*/ 1992816 w 2604807"/>
                <a:gd name="connsiteY40" fmla="*/ 2664282 h 3416161"/>
                <a:gd name="connsiteX41" fmla="*/ 1992818 w 2604807"/>
                <a:gd name="connsiteY41" fmla="*/ 2664282 h 3416161"/>
                <a:gd name="connsiteX42" fmla="*/ 1991626 w 2604807"/>
                <a:gd name="connsiteY42" fmla="*/ 2565506 h 3416161"/>
                <a:gd name="connsiteX43" fmla="*/ 2037516 w 2604807"/>
                <a:gd name="connsiteY43" fmla="*/ 2518495 h 3416161"/>
                <a:gd name="connsiteX44" fmla="*/ 1638628 w 2604807"/>
                <a:gd name="connsiteY44" fmla="*/ 2518494 h 3416161"/>
                <a:gd name="connsiteX45" fmla="*/ 1619400 w 2604807"/>
                <a:gd name="connsiteY45" fmla="*/ 2580436 h 3416161"/>
                <a:gd name="connsiteX46" fmla="*/ 1603503 w 2604807"/>
                <a:gd name="connsiteY46" fmla="*/ 2609724 h 3416161"/>
                <a:gd name="connsiteX47" fmla="*/ 1889657 w 2604807"/>
                <a:gd name="connsiteY47" fmla="*/ 2900388 h 3416161"/>
                <a:gd name="connsiteX48" fmla="*/ 1890900 w 2604807"/>
                <a:gd name="connsiteY48" fmla="*/ 2837875 h 3416161"/>
                <a:gd name="connsiteX49" fmla="*/ 1962125 w 2604807"/>
                <a:gd name="connsiteY49" fmla="*/ 2769427 h 3416161"/>
                <a:gd name="connsiteX50" fmla="*/ 2011100 w 2604807"/>
                <a:gd name="connsiteY50" fmla="*/ 2790864 h 3416161"/>
                <a:gd name="connsiteX51" fmla="*/ 2030573 w 2604807"/>
                <a:gd name="connsiteY51" fmla="*/ 2840652 h 3416161"/>
                <a:gd name="connsiteX52" fmla="*/ 2026131 w 2604807"/>
                <a:gd name="connsiteY52" fmla="*/ 3064001 h 3416161"/>
                <a:gd name="connsiteX53" fmla="*/ 1982199 w 2604807"/>
                <a:gd name="connsiteY53" fmla="*/ 3127501 h 3416161"/>
                <a:gd name="connsiteX54" fmla="*/ 1958398 w 2604807"/>
                <a:gd name="connsiteY54" fmla="*/ 3131815 h 3416161"/>
                <a:gd name="connsiteX55" fmla="*/ 1945494 w 2604807"/>
                <a:gd name="connsiteY55" fmla="*/ 3134478 h 3416161"/>
                <a:gd name="connsiteX56" fmla="*/ 1722101 w 2604807"/>
                <a:gd name="connsiteY56" fmla="*/ 3135426 h 3416161"/>
                <a:gd name="connsiteX57" fmla="*/ 1651955 w 2604807"/>
                <a:gd name="connsiteY57" fmla="*/ 3065873 h 3416161"/>
                <a:gd name="connsiteX58" fmla="*/ 1651956 w 2604807"/>
                <a:gd name="connsiteY58" fmla="*/ 3065874 h 3416161"/>
                <a:gd name="connsiteX59" fmla="*/ 1721509 w 2604807"/>
                <a:gd name="connsiteY59" fmla="*/ 2995728 h 3416161"/>
                <a:gd name="connsiteX60" fmla="*/ 1787204 w 2604807"/>
                <a:gd name="connsiteY60" fmla="*/ 2995449 h 3416161"/>
                <a:gd name="connsiteX61" fmla="*/ 1514569 w 2604807"/>
                <a:gd name="connsiteY61" fmla="*/ 2718516 h 3416161"/>
                <a:gd name="connsiteX62" fmla="*/ 1486883 w 2604807"/>
                <a:gd name="connsiteY62" fmla="*/ 2741359 h 3416161"/>
                <a:gd name="connsiteX63" fmla="*/ 1356097 w 2604807"/>
                <a:gd name="connsiteY63" fmla="*/ 2796394 h 3416161"/>
                <a:gd name="connsiteX64" fmla="*/ 1351097 w 2604807"/>
                <a:gd name="connsiteY64" fmla="*/ 2796898 h 3416161"/>
                <a:gd name="connsiteX65" fmla="*/ 1351098 w 2604807"/>
                <a:gd name="connsiteY65" fmla="*/ 3179823 h 3416161"/>
                <a:gd name="connsiteX66" fmla="*/ 1398109 w 2604807"/>
                <a:gd name="connsiteY66" fmla="*/ 3133933 h 3416161"/>
                <a:gd name="connsiteX67" fmla="*/ 1496885 w 2604807"/>
                <a:gd name="connsiteY67" fmla="*/ 3135125 h 3416161"/>
                <a:gd name="connsiteX68" fmla="*/ 1496885 w 2604807"/>
                <a:gd name="connsiteY68" fmla="*/ 3135123 h 3416161"/>
                <a:gd name="connsiteX69" fmla="*/ 1495693 w 2604807"/>
                <a:gd name="connsiteY69" fmla="*/ 3233899 h 3416161"/>
                <a:gd name="connsiteX70" fmla="*/ 1335836 w 2604807"/>
                <a:gd name="connsiteY70" fmla="*/ 3389946 h 3416161"/>
                <a:gd name="connsiteX71" fmla="*/ 1324772 w 2604807"/>
                <a:gd name="connsiteY71" fmla="*/ 3397102 h 3416161"/>
                <a:gd name="connsiteX72" fmla="*/ 1304785 w 2604807"/>
                <a:gd name="connsiteY72" fmla="*/ 3410725 h 3416161"/>
                <a:gd name="connsiteX73" fmla="*/ 1228929 w 2604807"/>
                <a:gd name="connsiteY73" fmla="*/ 3396295 h 3416161"/>
                <a:gd name="connsiteX74" fmla="*/ 1069072 w 2604807"/>
                <a:gd name="connsiteY74" fmla="*/ 3240250 h 3416161"/>
                <a:gd name="connsiteX75" fmla="*/ 1048019 w 2604807"/>
                <a:gd name="connsiteY75" fmla="*/ 3191109 h 3416161"/>
                <a:gd name="connsiteX76" fmla="*/ 1067880 w 2604807"/>
                <a:gd name="connsiteY76" fmla="*/ 3141474 h 3416161"/>
                <a:gd name="connsiteX77" fmla="*/ 1166656 w 2604807"/>
                <a:gd name="connsiteY77" fmla="*/ 3140282 h 3416161"/>
                <a:gd name="connsiteX78" fmla="*/ 1211398 w 2604807"/>
                <a:gd name="connsiteY78" fmla="*/ 3183958 h 3416161"/>
                <a:gd name="connsiteX79" fmla="*/ 1211398 w 2604807"/>
                <a:gd name="connsiteY79" fmla="*/ 2796669 h 3416161"/>
                <a:gd name="connsiteX80" fmla="*/ 1208670 w 2604807"/>
                <a:gd name="connsiteY80" fmla="*/ 2796394 h 3416161"/>
                <a:gd name="connsiteX81" fmla="*/ 1077883 w 2604807"/>
                <a:gd name="connsiteY81" fmla="*/ 2741359 h 3416161"/>
                <a:gd name="connsiteX82" fmla="*/ 1054811 w 2604807"/>
                <a:gd name="connsiteY82" fmla="*/ 2722323 h 3416161"/>
                <a:gd name="connsiteX83" fmla="*/ 792691 w 2604807"/>
                <a:gd name="connsiteY83" fmla="*/ 2991862 h 3416161"/>
                <a:gd name="connsiteX84" fmla="*/ 858386 w 2604807"/>
                <a:gd name="connsiteY84" fmla="*/ 2991738 h 3416161"/>
                <a:gd name="connsiteX85" fmla="*/ 928368 w 2604807"/>
                <a:gd name="connsiteY85" fmla="*/ 3061456 h 3416161"/>
                <a:gd name="connsiteX86" fmla="*/ 928370 w 2604807"/>
                <a:gd name="connsiteY86" fmla="*/ 3061455 h 3416161"/>
                <a:gd name="connsiteX87" fmla="*/ 858651 w 2604807"/>
                <a:gd name="connsiteY87" fmla="*/ 3131437 h 3416161"/>
                <a:gd name="connsiteX88" fmla="*/ 635257 w 2604807"/>
                <a:gd name="connsiteY88" fmla="*/ 3131859 h 3416161"/>
                <a:gd name="connsiteX89" fmla="*/ 622337 w 2604807"/>
                <a:gd name="connsiteY89" fmla="*/ 3129276 h 3416161"/>
                <a:gd name="connsiteX90" fmla="*/ 598510 w 2604807"/>
                <a:gd name="connsiteY90" fmla="*/ 3125108 h 3416161"/>
                <a:gd name="connsiteX91" fmla="*/ 554189 w 2604807"/>
                <a:gd name="connsiteY91" fmla="*/ 3061878 h 3416161"/>
                <a:gd name="connsiteX92" fmla="*/ 548378 w 2604807"/>
                <a:gd name="connsiteY92" fmla="*/ 2838561 h 3416161"/>
                <a:gd name="connsiteX93" fmla="*/ 567544 w 2604807"/>
                <a:gd name="connsiteY93" fmla="*/ 2788654 h 3416161"/>
                <a:gd name="connsiteX94" fmla="*/ 616387 w 2604807"/>
                <a:gd name="connsiteY94" fmla="*/ 2766917 h 3416161"/>
                <a:gd name="connsiteX95" fmla="*/ 688031 w 2604807"/>
                <a:gd name="connsiteY95" fmla="*/ 2834927 h 3416161"/>
                <a:gd name="connsiteX96" fmla="*/ 689657 w 2604807"/>
                <a:gd name="connsiteY96" fmla="*/ 2897431 h 3416161"/>
                <a:gd name="connsiteX97" fmla="*/ 964194 w 2604807"/>
                <a:gd name="connsiteY97" fmla="*/ 2615124 h 3416161"/>
                <a:gd name="connsiteX98" fmla="*/ 945366 w 2604807"/>
                <a:gd name="connsiteY98" fmla="*/ 2580436 h 3416161"/>
                <a:gd name="connsiteX99" fmla="*/ 924054 w 2604807"/>
                <a:gd name="connsiteY99" fmla="*/ 2511779 h 3416161"/>
                <a:gd name="connsiteX100" fmla="*/ 919672 w 2604807"/>
                <a:gd name="connsiteY100" fmla="*/ 2468313 h 3416161"/>
                <a:gd name="connsiteX101" fmla="*/ 513056 w 2604807"/>
                <a:gd name="connsiteY101" fmla="*/ 2468314 h 3416161"/>
                <a:gd name="connsiteX102" fmla="*/ 558946 w 2604807"/>
                <a:gd name="connsiteY102" fmla="*/ 2515325 h 3416161"/>
                <a:gd name="connsiteX103" fmla="*/ 557754 w 2604807"/>
                <a:gd name="connsiteY103" fmla="*/ 2614101 h 3416161"/>
                <a:gd name="connsiteX104" fmla="*/ 557756 w 2604807"/>
                <a:gd name="connsiteY104" fmla="*/ 2614101 h 3416161"/>
                <a:gd name="connsiteX105" fmla="*/ 458980 w 2604807"/>
                <a:gd name="connsiteY105" fmla="*/ 2612909 h 3416161"/>
                <a:gd name="connsiteX106" fmla="*/ 302933 w 2604807"/>
                <a:gd name="connsiteY106" fmla="*/ 2453052 h 3416161"/>
                <a:gd name="connsiteX107" fmla="*/ 295777 w 2604807"/>
                <a:gd name="connsiteY107" fmla="*/ 2441988 h 3416161"/>
                <a:gd name="connsiteX108" fmla="*/ 282154 w 2604807"/>
                <a:gd name="connsiteY108" fmla="*/ 2422001 h 3416161"/>
                <a:gd name="connsiteX109" fmla="*/ 296584 w 2604807"/>
                <a:gd name="connsiteY109" fmla="*/ 2346145 h 3416161"/>
                <a:gd name="connsiteX110" fmla="*/ 452629 w 2604807"/>
                <a:gd name="connsiteY110" fmla="*/ 2186288 h 3416161"/>
                <a:gd name="connsiteX111" fmla="*/ 501770 w 2604807"/>
                <a:gd name="connsiteY111" fmla="*/ 2165235 h 3416161"/>
                <a:gd name="connsiteX112" fmla="*/ 551405 w 2604807"/>
                <a:gd name="connsiteY112" fmla="*/ 2185096 h 3416161"/>
                <a:gd name="connsiteX113" fmla="*/ 552597 w 2604807"/>
                <a:gd name="connsiteY113" fmla="*/ 2283872 h 3416161"/>
                <a:gd name="connsiteX114" fmla="*/ 508921 w 2604807"/>
                <a:gd name="connsiteY114" fmla="*/ 2328614 h 3416161"/>
                <a:gd name="connsiteX115" fmla="*/ 935147 w 2604807"/>
                <a:gd name="connsiteY115" fmla="*/ 2328614 h 3416161"/>
                <a:gd name="connsiteX116" fmla="*/ 945366 w 2604807"/>
                <a:gd name="connsiteY116" fmla="*/ 2295695 h 3416161"/>
                <a:gd name="connsiteX117" fmla="*/ 979089 w 2604807"/>
                <a:gd name="connsiteY117" fmla="*/ 2233565 h 3416161"/>
                <a:gd name="connsiteX118" fmla="*/ 984070 w 2604807"/>
                <a:gd name="connsiteY118" fmla="*/ 2227528 h 3416161"/>
                <a:gd name="connsiteX119" fmla="*/ 686257 w 2604807"/>
                <a:gd name="connsiteY119" fmla="*/ 1931274 h 3416161"/>
                <a:gd name="connsiteX120" fmla="*/ 685667 w 2604807"/>
                <a:gd name="connsiteY120" fmla="*/ 1993797 h 3416161"/>
                <a:gd name="connsiteX121" fmla="*/ 615160 w 2604807"/>
                <a:gd name="connsiteY121" fmla="*/ 2062984 h 3416161"/>
                <a:gd name="connsiteX122" fmla="*/ 565964 w 2604807"/>
                <a:gd name="connsiteY122" fmla="*/ 2042060 h 3416161"/>
                <a:gd name="connsiteX123" fmla="*/ 545973 w 2604807"/>
                <a:gd name="connsiteY123" fmla="*/ 1992478 h 3416161"/>
                <a:gd name="connsiteX124" fmla="*/ 548082 w 2604807"/>
                <a:gd name="connsiteY124" fmla="*/ 1769095 h 3416161"/>
                <a:gd name="connsiteX125" fmla="*/ 591349 w 2604807"/>
                <a:gd name="connsiteY125" fmla="*/ 1705139 h 3416161"/>
                <a:gd name="connsiteX126" fmla="*/ 615103 w 2604807"/>
                <a:gd name="connsiteY126" fmla="*/ 1700577 h 3416161"/>
                <a:gd name="connsiteX127" fmla="*/ 627979 w 2604807"/>
                <a:gd name="connsiteY127" fmla="*/ 1697780 h 3416161"/>
                <a:gd name="connsiteX128" fmla="*/ 851349 w 2604807"/>
                <a:gd name="connsiteY128" fmla="*/ 1694500 h 3416161"/>
                <a:gd name="connsiteX129" fmla="*/ 922218 w 2604807"/>
                <a:gd name="connsiteY129" fmla="*/ 1763316 h 3416161"/>
                <a:gd name="connsiteX130" fmla="*/ 922217 w 2604807"/>
                <a:gd name="connsiteY130" fmla="*/ 1763315 h 3416161"/>
                <a:gd name="connsiteX131" fmla="*/ 853400 w 2604807"/>
                <a:gd name="connsiteY131" fmla="*/ 1834184 h 3416161"/>
                <a:gd name="connsiteX132" fmla="*/ 787712 w 2604807"/>
                <a:gd name="connsiteY132" fmla="*/ 1835149 h 3416161"/>
                <a:gd name="connsiteX133" fmla="*/ 1085017 w 2604807"/>
                <a:gd name="connsiteY133" fmla="*/ 2130899 h 3416161"/>
                <a:gd name="connsiteX134" fmla="*/ 1140013 w 2604807"/>
                <a:gd name="connsiteY134" fmla="*/ 2101048 h 3416161"/>
                <a:gd name="connsiteX135" fmla="*/ 1208670 w 2604807"/>
                <a:gd name="connsiteY135" fmla="*/ 2079736 h 3416161"/>
                <a:gd name="connsiteX136" fmla="*/ 1217410 w 2604807"/>
                <a:gd name="connsiteY136" fmla="*/ 2078855 h 3416161"/>
                <a:gd name="connsiteX137" fmla="*/ 1217410 w 2604807"/>
                <a:gd name="connsiteY137" fmla="*/ 1655084 h 3416161"/>
                <a:gd name="connsiteX138" fmla="*/ 1172668 w 2604807"/>
                <a:gd name="connsiteY138" fmla="*/ 1698760 h 3416161"/>
                <a:gd name="connsiteX139" fmla="*/ 1073892 w 2604807"/>
                <a:gd name="connsiteY139" fmla="*/ 1697568 h 3416161"/>
                <a:gd name="connsiteX140" fmla="*/ 1054031 w 2604807"/>
                <a:gd name="connsiteY140" fmla="*/ 1647933 h 3416161"/>
                <a:gd name="connsiteX141" fmla="*/ 1075084 w 2604807"/>
                <a:gd name="connsiteY141" fmla="*/ 1598792 h 3416161"/>
                <a:gd name="connsiteX142" fmla="*/ 1234941 w 2604807"/>
                <a:gd name="connsiteY142" fmla="*/ 1442747 h 3416161"/>
                <a:gd name="connsiteX143" fmla="*/ 1271221 w 2604807"/>
                <a:gd name="connsiteY143" fmla="*/ 1424004 h 3416161"/>
                <a:gd name="connsiteX144" fmla="*/ 0 w 2604807"/>
                <a:gd name="connsiteY144" fmla="*/ 1189092 h 3416161"/>
                <a:gd name="connsiteX145" fmla="*/ 2604807 w 2604807"/>
                <a:gd name="connsiteY145" fmla="*/ 1189092 h 3416161"/>
                <a:gd name="connsiteX146" fmla="*/ 2604807 w 2604807"/>
                <a:gd name="connsiteY146" fmla="*/ 1234811 h 3416161"/>
                <a:gd name="connsiteX147" fmla="*/ 0 w 2604807"/>
                <a:gd name="connsiteY147" fmla="*/ 1234811 h 3416161"/>
                <a:gd name="connsiteX148" fmla="*/ 1272401 w 2604807"/>
                <a:gd name="connsiteY148" fmla="*/ 492763 h 3416161"/>
                <a:gd name="connsiteX149" fmla="*/ 846124 w 2604807"/>
                <a:gd name="connsiteY149" fmla="*/ 652174 h 3416161"/>
                <a:gd name="connsiteX150" fmla="*/ 846125 w 2604807"/>
                <a:gd name="connsiteY150" fmla="*/ 767258 h 3416161"/>
                <a:gd name="connsiteX151" fmla="*/ 1704448 w 2604807"/>
                <a:gd name="connsiteY151" fmla="*/ 767257 h 3416161"/>
                <a:gd name="connsiteX152" fmla="*/ 1704448 w 2604807"/>
                <a:gd name="connsiteY152" fmla="*/ 654332 h 3416161"/>
                <a:gd name="connsiteX153" fmla="*/ 846124 w 2604807"/>
                <a:gd name="connsiteY153" fmla="*/ 150767 h 3416161"/>
                <a:gd name="connsiteX154" fmla="*/ 846124 w 2604807"/>
                <a:gd name="connsiteY154" fmla="*/ 284541 h 3416161"/>
                <a:gd name="connsiteX155" fmla="*/ 1272401 w 2604807"/>
                <a:gd name="connsiteY155" fmla="*/ 443951 h 3416161"/>
                <a:gd name="connsiteX156" fmla="*/ 1704447 w 2604807"/>
                <a:gd name="connsiteY156" fmla="*/ 282383 h 3416161"/>
                <a:gd name="connsiteX157" fmla="*/ 1704447 w 2604807"/>
                <a:gd name="connsiteY157" fmla="*/ 150768 h 3416161"/>
                <a:gd name="connsiteX158" fmla="*/ 1736460 w 2604807"/>
                <a:gd name="connsiteY158" fmla="*/ 0 h 3416161"/>
                <a:gd name="connsiteX159" fmla="*/ 2222257 w 2604807"/>
                <a:gd name="connsiteY159" fmla="*/ 1 h 3416161"/>
                <a:gd name="connsiteX160" fmla="*/ 2254270 w 2604807"/>
                <a:gd name="connsiteY160" fmla="*/ 32014 h 3416161"/>
                <a:gd name="connsiteX161" fmla="*/ 2254269 w 2604807"/>
                <a:gd name="connsiteY161" fmla="*/ 295280 h 3416161"/>
                <a:gd name="connsiteX162" fmla="*/ 2222256 w 2604807"/>
                <a:gd name="connsiteY162" fmla="*/ 327293 h 3416161"/>
                <a:gd name="connsiteX163" fmla="*/ 1736460 w 2604807"/>
                <a:gd name="connsiteY163" fmla="*/ 327294 h 3416161"/>
                <a:gd name="connsiteX164" fmla="*/ 1726221 w 2604807"/>
                <a:gd name="connsiteY164" fmla="*/ 323052 h 3416161"/>
                <a:gd name="connsiteX165" fmla="*/ 1337664 w 2604807"/>
                <a:gd name="connsiteY165" fmla="*/ 468357 h 3416161"/>
                <a:gd name="connsiteX166" fmla="*/ 1729294 w 2604807"/>
                <a:gd name="connsiteY166" fmla="*/ 614812 h 3416161"/>
                <a:gd name="connsiteX167" fmla="*/ 1736461 w 2604807"/>
                <a:gd name="connsiteY167" fmla="*/ 611843 h 3416161"/>
                <a:gd name="connsiteX168" fmla="*/ 2222257 w 2604807"/>
                <a:gd name="connsiteY168" fmla="*/ 611843 h 3416161"/>
                <a:gd name="connsiteX169" fmla="*/ 2254269 w 2604807"/>
                <a:gd name="connsiteY169" fmla="*/ 643857 h 3416161"/>
                <a:gd name="connsiteX170" fmla="*/ 2254270 w 2604807"/>
                <a:gd name="connsiteY170" fmla="*/ 907123 h 3416161"/>
                <a:gd name="connsiteX171" fmla="*/ 2222257 w 2604807"/>
                <a:gd name="connsiteY171" fmla="*/ 939136 h 3416161"/>
                <a:gd name="connsiteX172" fmla="*/ 1736460 w 2604807"/>
                <a:gd name="connsiteY172" fmla="*/ 939137 h 3416161"/>
                <a:gd name="connsiteX173" fmla="*/ 1704448 w 2604807"/>
                <a:gd name="connsiteY173" fmla="*/ 907124 h 3416161"/>
                <a:gd name="connsiteX174" fmla="*/ 1704448 w 2604807"/>
                <a:gd name="connsiteY174" fmla="*/ 812976 h 3416161"/>
                <a:gd name="connsiteX175" fmla="*/ 846125 w 2604807"/>
                <a:gd name="connsiteY175" fmla="*/ 812976 h 3416161"/>
                <a:gd name="connsiteX176" fmla="*/ 846125 w 2604807"/>
                <a:gd name="connsiteY176" fmla="*/ 907123 h 3416161"/>
                <a:gd name="connsiteX177" fmla="*/ 814112 w 2604807"/>
                <a:gd name="connsiteY177" fmla="*/ 939137 h 3416161"/>
                <a:gd name="connsiteX178" fmla="*/ 328316 w 2604807"/>
                <a:gd name="connsiteY178" fmla="*/ 939137 h 3416161"/>
                <a:gd name="connsiteX179" fmla="*/ 296303 w 2604807"/>
                <a:gd name="connsiteY179" fmla="*/ 907123 h 3416161"/>
                <a:gd name="connsiteX180" fmla="*/ 296303 w 2604807"/>
                <a:gd name="connsiteY180" fmla="*/ 643857 h 3416161"/>
                <a:gd name="connsiteX181" fmla="*/ 328316 w 2604807"/>
                <a:gd name="connsiteY181" fmla="*/ 611843 h 3416161"/>
                <a:gd name="connsiteX182" fmla="*/ 814112 w 2604807"/>
                <a:gd name="connsiteY182" fmla="*/ 611843 h 3416161"/>
                <a:gd name="connsiteX183" fmla="*/ 818541 w 2604807"/>
                <a:gd name="connsiteY183" fmla="*/ 613678 h 3416161"/>
                <a:gd name="connsiteX184" fmla="*/ 1207139 w 2604807"/>
                <a:gd name="connsiteY184" fmla="*/ 468357 h 3416161"/>
                <a:gd name="connsiteX185" fmla="*/ 821615 w 2604807"/>
                <a:gd name="connsiteY185" fmla="*/ 324186 h 3416161"/>
                <a:gd name="connsiteX186" fmla="*/ 814112 w 2604807"/>
                <a:gd name="connsiteY186" fmla="*/ 327295 h 3416161"/>
                <a:gd name="connsiteX187" fmla="*/ 328316 w 2604807"/>
                <a:gd name="connsiteY187" fmla="*/ 327295 h 3416161"/>
                <a:gd name="connsiteX188" fmla="*/ 296302 w 2604807"/>
                <a:gd name="connsiteY188" fmla="*/ 295281 h 3416161"/>
                <a:gd name="connsiteX189" fmla="*/ 296303 w 2604807"/>
                <a:gd name="connsiteY189" fmla="*/ 32015 h 3416161"/>
                <a:gd name="connsiteX190" fmla="*/ 328315 w 2604807"/>
                <a:gd name="connsiteY190" fmla="*/ 1 h 3416161"/>
                <a:gd name="connsiteX191" fmla="*/ 814111 w 2604807"/>
                <a:gd name="connsiteY191" fmla="*/ 1 h 3416161"/>
                <a:gd name="connsiteX192" fmla="*/ 846124 w 2604807"/>
                <a:gd name="connsiteY192" fmla="*/ 32014 h 3416161"/>
                <a:gd name="connsiteX193" fmla="*/ 846124 w 2604807"/>
                <a:gd name="connsiteY193" fmla="*/ 105049 h 3416161"/>
                <a:gd name="connsiteX194" fmla="*/ 1704447 w 2604807"/>
                <a:gd name="connsiteY194" fmla="*/ 105048 h 3416161"/>
                <a:gd name="connsiteX195" fmla="*/ 1704447 w 2604807"/>
                <a:gd name="connsiteY195" fmla="*/ 32013 h 3416161"/>
                <a:gd name="connsiteX196" fmla="*/ 1736460 w 2604807"/>
                <a:gd name="connsiteY196" fmla="*/ 0 h 341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</a:cxnLst>
              <a:rect l="l" t="t" r="r" b="b"/>
              <a:pathLst>
                <a:path w="2604807" h="3416161">
                  <a:moveTo>
                    <a:pt x="1271221" y="1424004"/>
                  </a:moveTo>
                  <a:cubicBezTo>
                    <a:pt x="1284459" y="1421606"/>
                    <a:pt x="1298247" y="1423051"/>
                    <a:pt x="1310797" y="1428317"/>
                  </a:cubicBezTo>
                  <a:lnTo>
                    <a:pt x="1330784" y="1441940"/>
                  </a:lnTo>
                  <a:lnTo>
                    <a:pt x="1341848" y="1449096"/>
                  </a:lnTo>
                  <a:cubicBezTo>
                    <a:pt x="1395134" y="1501112"/>
                    <a:pt x="1448419" y="1553127"/>
                    <a:pt x="1501705" y="1605143"/>
                  </a:cubicBezTo>
                  <a:cubicBezTo>
                    <a:pt x="1529310" y="1632090"/>
                    <a:pt x="1529844" y="1676313"/>
                    <a:pt x="1502897" y="1703919"/>
                  </a:cubicBezTo>
                  <a:lnTo>
                    <a:pt x="1502897" y="1703917"/>
                  </a:lnTo>
                  <a:cubicBezTo>
                    <a:pt x="1475950" y="1731522"/>
                    <a:pt x="1431726" y="1732056"/>
                    <a:pt x="1404121" y="1705109"/>
                  </a:cubicBezTo>
                  <a:lnTo>
                    <a:pt x="1357110" y="1659219"/>
                  </a:lnTo>
                  <a:lnTo>
                    <a:pt x="1357109" y="2080050"/>
                  </a:lnTo>
                  <a:lnTo>
                    <a:pt x="1424754" y="2101048"/>
                  </a:lnTo>
                  <a:lnTo>
                    <a:pt x="1474912" y="2128273"/>
                  </a:lnTo>
                  <a:lnTo>
                    <a:pt x="1779768" y="1843057"/>
                  </a:lnTo>
                  <a:lnTo>
                    <a:pt x="1710789" y="1843215"/>
                  </a:lnTo>
                  <a:cubicBezTo>
                    <a:pt x="1670284" y="1843308"/>
                    <a:pt x="1640499" y="1810612"/>
                    <a:pt x="1644263" y="1770189"/>
                  </a:cubicBezTo>
                  <a:lnTo>
                    <a:pt x="1644261" y="1770191"/>
                  </a:lnTo>
                  <a:cubicBezTo>
                    <a:pt x="1648026" y="1729767"/>
                    <a:pt x="1683914" y="1696922"/>
                    <a:pt x="1724419" y="1696830"/>
                  </a:cubicBezTo>
                  <a:cubicBezTo>
                    <a:pt x="1802606" y="1696651"/>
                    <a:pt x="1880791" y="1696471"/>
                    <a:pt x="1958978" y="1696292"/>
                  </a:cubicBezTo>
                  <a:lnTo>
                    <a:pt x="1972285" y="1698994"/>
                  </a:lnTo>
                  <a:lnTo>
                    <a:pt x="1996883" y="1703351"/>
                  </a:lnTo>
                  <a:cubicBezTo>
                    <a:pt x="2022492" y="1713764"/>
                    <a:pt x="2039206" y="1739282"/>
                    <a:pt x="2037117" y="1769588"/>
                  </a:cubicBezTo>
                  <a:lnTo>
                    <a:pt x="2020985" y="2003592"/>
                  </a:lnTo>
                  <a:cubicBezTo>
                    <a:pt x="2019592" y="2023797"/>
                    <a:pt x="2010106" y="2042306"/>
                    <a:pt x="1995895" y="2055895"/>
                  </a:cubicBezTo>
                  <a:cubicBezTo>
                    <a:pt x="1981684" y="2069486"/>
                    <a:pt x="1962748" y="2078160"/>
                    <a:pt x="1942456" y="2078693"/>
                  </a:cubicBezTo>
                  <a:cubicBezTo>
                    <a:pt x="1901872" y="2079761"/>
                    <a:pt x="1871230" y="2047869"/>
                    <a:pt x="1874016" y="2007459"/>
                  </a:cubicBezTo>
                  <a:lnTo>
                    <a:pt x="1878531" y="1941964"/>
                  </a:lnTo>
                  <a:lnTo>
                    <a:pt x="1577476" y="2223624"/>
                  </a:lnTo>
                  <a:lnTo>
                    <a:pt x="1585677" y="2233565"/>
                  </a:lnTo>
                  <a:cubicBezTo>
                    <a:pt x="1611969" y="2272482"/>
                    <a:pt x="1630968" y="2316731"/>
                    <a:pt x="1640712" y="2364352"/>
                  </a:cubicBezTo>
                  <a:lnTo>
                    <a:pt x="1642168" y="2378795"/>
                  </a:lnTo>
                  <a:lnTo>
                    <a:pt x="2041651" y="2378795"/>
                  </a:lnTo>
                  <a:lnTo>
                    <a:pt x="1997975" y="2334053"/>
                  </a:lnTo>
                  <a:cubicBezTo>
                    <a:pt x="1971028" y="2306447"/>
                    <a:pt x="1971562" y="2262224"/>
                    <a:pt x="1999167" y="2235277"/>
                  </a:cubicBezTo>
                  <a:cubicBezTo>
                    <a:pt x="2012969" y="2221803"/>
                    <a:pt x="2030927" y="2215200"/>
                    <a:pt x="2048802" y="2215416"/>
                  </a:cubicBezTo>
                  <a:cubicBezTo>
                    <a:pt x="2066676" y="2215631"/>
                    <a:pt x="2084469" y="2222666"/>
                    <a:pt x="2097943" y="2236469"/>
                  </a:cubicBezTo>
                  <a:lnTo>
                    <a:pt x="2253988" y="2396326"/>
                  </a:lnTo>
                  <a:cubicBezTo>
                    <a:pt x="2274198" y="2417030"/>
                    <a:pt x="2278951" y="2447082"/>
                    <a:pt x="2268418" y="2472182"/>
                  </a:cubicBezTo>
                  <a:lnTo>
                    <a:pt x="2254795" y="2492169"/>
                  </a:lnTo>
                  <a:lnTo>
                    <a:pt x="2247639" y="2503233"/>
                  </a:lnTo>
                  <a:cubicBezTo>
                    <a:pt x="2195623" y="2556519"/>
                    <a:pt x="2143608" y="2609804"/>
                    <a:pt x="2091592" y="2663090"/>
                  </a:cubicBezTo>
                  <a:cubicBezTo>
                    <a:pt x="2064645" y="2690695"/>
                    <a:pt x="2020422" y="2691229"/>
                    <a:pt x="1992816" y="2664282"/>
                  </a:cubicBezTo>
                  <a:lnTo>
                    <a:pt x="1992818" y="2664282"/>
                  </a:lnTo>
                  <a:cubicBezTo>
                    <a:pt x="1965213" y="2637335"/>
                    <a:pt x="1964679" y="2593111"/>
                    <a:pt x="1991626" y="2565506"/>
                  </a:cubicBezTo>
                  <a:lnTo>
                    <a:pt x="2037516" y="2518495"/>
                  </a:lnTo>
                  <a:lnTo>
                    <a:pt x="1638628" y="2518494"/>
                  </a:lnTo>
                  <a:lnTo>
                    <a:pt x="1619400" y="2580436"/>
                  </a:lnTo>
                  <a:lnTo>
                    <a:pt x="1603503" y="2609724"/>
                  </a:lnTo>
                  <a:lnTo>
                    <a:pt x="1889657" y="2900388"/>
                  </a:lnTo>
                  <a:lnTo>
                    <a:pt x="1890900" y="2837875"/>
                  </a:lnTo>
                  <a:cubicBezTo>
                    <a:pt x="1891667" y="2799305"/>
                    <a:pt x="1923556" y="2768660"/>
                    <a:pt x="1962125" y="2769427"/>
                  </a:cubicBezTo>
                  <a:cubicBezTo>
                    <a:pt x="1981410" y="2769810"/>
                    <a:pt x="1998714" y="2777975"/>
                    <a:pt x="2011100" y="2790864"/>
                  </a:cubicBezTo>
                  <a:cubicBezTo>
                    <a:pt x="2023487" y="2803752"/>
                    <a:pt x="2030956" y="2821367"/>
                    <a:pt x="2030573" y="2840652"/>
                  </a:cubicBezTo>
                  <a:lnTo>
                    <a:pt x="2026131" y="3064001"/>
                  </a:lnTo>
                  <a:cubicBezTo>
                    <a:pt x="2025556" y="3092928"/>
                    <a:pt x="2007475" y="3117398"/>
                    <a:pt x="1982199" y="3127501"/>
                  </a:cubicBezTo>
                  <a:lnTo>
                    <a:pt x="1958398" y="3131815"/>
                  </a:lnTo>
                  <a:lnTo>
                    <a:pt x="1945494" y="3134478"/>
                  </a:lnTo>
                  <a:cubicBezTo>
                    <a:pt x="1871029" y="3134794"/>
                    <a:pt x="1796566" y="3135110"/>
                    <a:pt x="1722101" y="3135426"/>
                  </a:cubicBezTo>
                  <a:cubicBezTo>
                    <a:pt x="1683525" y="3135589"/>
                    <a:pt x="1652119" y="3104450"/>
                    <a:pt x="1651955" y="3065873"/>
                  </a:cubicBezTo>
                  <a:lnTo>
                    <a:pt x="1651956" y="3065874"/>
                  </a:lnTo>
                  <a:cubicBezTo>
                    <a:pt x="1651793" y="3027298"/>
                    <a:pt x="1682933" y="2995892"/>
                    <a:pt x="1721509" y="2995728"/>
                  </a:cubicBezTo>
                  <a:lnTo>
                    <a:pt x="1787204" y="2995449"/>
                  </a:lnTo>
                  <a:lnTo>
                    <a:pt x="1514569" y="2718516"/>
                  </a:lnTo>
                  <a:lnTo>
                    <a:pt x="1486883" y="2741359"/>
                  </a:lnTo>
                  <a:cubicBezTo>
                    <a:pt x="1447966" y="2767651"/>
                    <a:pt x="1403717" y="2786650"/>
                    <a:pt x="1356097" y="2796394"/>
                  </a:cubicBezTo>
                  <a:lnTo>
                    <a:pt x="1351097" y="2796898"/>
                  </a:lnTo>
                  <a:lnTo>
                    <a:pt x="1351098" y="3179823"/>
                  </a:lnTo>
                  <a:lnTo>
                    <a:pt x="1398109" y="3133933"/>
                  </a:lnTo>
                  <a:cubicBezTo>
                    <a:pt x="1425714" y="3106986"/>
                    <a:pt x="1469938" y="3107520"/>
                    <a:pt x="1496885" y="3135125"/>
                  </a:cubicBezTo>
                  <a:lnTo>
                    <a:pt x="1496885" y="3135123"/>
                  </a:lnTo>
                  <a:cubicBezTo>
                    <a:pt x="1523832" y="3162729"/>
                    <a:pt x="1523298" y="3206952"/>
                    <a:pt x="1495693" y="3233899"/>
                  </a:cubicBezTo>
                  <a:cubicBezTo>
                    <a:pt x="1442407" y="3285915"/>
                    <a:pt x="1389122" y="3337930"/>
                    <a:pt x="1335836" y="3389946"/>
                  </a:cubicBezTo>
                  <a:lnTo>
                    <a:pt x="1324772" y="3397102"/>
                  </a:lnTo>
                  <a:lnTo>
                    <a:pt x="1304785" y="3410725"/>
                  </a:lnTo>
                  <a:cubicBezTo>
                    <a:pt x="1279685" y="3421258"/>
                    <a:pt x="1249633" y="3416505"/>
                    <a:pt x="1228929" y="3396295"/>
                  </a:cubicBezTo>
                  <a:lnTo>
                    <a:pt x="1069072" y="3240250"/>
                  </a:lnTo>
                  <a:cubicBezTo>
                    <a:pt x="1055269" y="3226776"/>
                    <a:pt x="1048234" y="3208983"/>
                    <a:pt x="1048019" y="3191109"/>
                  </a:cubicBezTo>
                  <a:cubicBezTo>
                    <a:pt x="1047803" y="3173234"/>
                    <a:pt x="1054406" y="3155276"/>
                    <a:pt x="1067880" y="3141474"/>
                  </a:cubicBezTo>
                  <a:cubicBezTo>
                    <a:pt x="1094827" y="3113869"/>
                    <a:pt x="1139050" y="3113335"/>
                    <a:pt x="1166656" y="3140282"/>
                  </a:cubicBezTo>
                  <a:lnTo>
                    <a:pt x="1211398" y="3183958"/>
                  </a:lnTo>
                  <a:lnTo>
                    <a:pt x="1211398" y="2796669"/>
                  </a:lnTo>
                  <a:lnTo>
                    <a:pt x="1208670" y="2796394"/>
                  </a:lnTo>
                  <a:cubicBezTo>
                    <a:pt x="1161050" y="2786650"/>
                    <a:pt x="1116800" y="2767651"/>
                    <a:pt x="1077883" y="2741359"/>
                  </a:cubicBezTo>
                  <a:lnTo>
                    <a:pt x="1054811" y="2722323"/>
                  </a:lnTo>
                  <a:lnTo>
                    <a:pt x="792691" y="2991862"/>
                  </a:lnTo>
                  <a:lnTo>
                    <a:pt x="858386" y="2991738"/>
                  </a:lnTo>
                  <a:cubicBezTo>
                    <a:pt x="896963" y="2991665"/>
                    <a:pt x="928295" y="3022880"/>
                    <a:pt x="928368" y="3061456"/>
                  </a:cubicBezTo>
                  <a:lnTo>
                    <a:pt x="928370" y="3061455"/>
                  </a:lnTo>
                  <a:cubicBezTo>
                    <a:pt x="928442" y="3100032"/>
                    <a:pt x="897228" y="3131364"/>
                    <a:pt x="858651" y="3131437"/>
                  </a:cubicBezTo>
                  <a:cubicBezTo>
                    <a:pt x="784186" y="3131578"/>
                    <a:pt x="709723" y="3131718"/>
                    <a:pt x="635257" y="3131859"/>
                  </a:cubicBezTo>
                  <a:lnTo>
                    <a:pt x="622337" y="3129276"/>
                  </a:lnTo>
                  <a:lnTo>
                    <a:pt x="598510" y="3125108"/>
                  </a:lnTo>
                  <a:cubicBezTo>
                    <a:pt x="573173" y="3115160"/>
                    <a:pt x="554942" y="3090801"/>
                    <a:pt x="554189" y="3061878"/>
                  </a:cubicBezTo>
                  <a:lnTo>
                    <a:pt x="548378" y="2838561"/>
                  </a:lnTo>
                  <a:cubicBezTo>
                    <a:pt x="547876" y="2819279"/>
                    <a:pt x="555237" y="2801618"/>
                    <a:pt x="567544" y="2788654"/>
                  </a:cubicBezTo>
                  <a:cubicBezTo>
                    <a:pt x="579851" y="2775689"/>
                    <a:pt x="597105" y="2767418"/>
                    <a:pt x="616387" y="2766917"/>
                  </a:cubicBezTo>
                  <a:cubicBezTo>
                    <a:pt x="654951" y="2765914"/>
                    <a:pt x="687027" y="2796362"/>
                    <a:pt x="688031" y="2834927"/>
                  </a:cubicBezTo>
                  <a:lnTo>
                    <a:pt x="689657" y="2897431"/>
                  </a:lnTo>
                  <a:lnTo>
                    <a:pt x="964194" y="2615124"/>
                  </a:lnTo>
                  <a:lnTo>
                    <a:pt x="945366" y="2580436"/>
                  </a:lnTo>
                  <a:cubicBezTo>
                    <a:pt x="936112" y="2558556"/>
                    <a:pt x="928926" y="2535589"/>
                    <a:pt x="924054" y="2511779"/>
                  </a:cubicBezTo>
                  <a:lnTo>
                    <a:pt x="919672" y="2468313"/>
                  </a:lnTo>
                  <a:lnTo>
                    <a:pt x="513056" y="2468314"/>
                  </a:lnTo>
                  <a:lnTo>
                    <a:pt x="558946" y="2515325"/>
                  </a:lnTo>
                  <a:cubicBezTo>
                    <a:pt x="585893" y="2542930"/>
                    <a:pt x="585359" y="2587154"/>
                    <a:pt x="557754" y="2614101"/>
                  </a:cubicBezTo>
                  <a:lnTo>
                    <a:pt x="557756" y="2614101"/>
                  </a:lnTo>
                  <a:cubicBezTo>
                    <a:pt x="530150" y="2641048"/>
                    <a:pt x="485927" y="2640514"/>
                    <a:pt x="458980" y="2612909"/>
                  </a:cubicBezTo>
                  <a:cubicBezTo>
                    <a:pt x="406964" y="2559623"/>
                    <a:pt x="354949" y="2506338"/>
                    <a:pt x="302933" y="2453052"/>
                  </a:cubicBezTo>
                  <a:lnTo>
                    <a:pt x="295777" y="2441988"/>
                  </a:lnTo>
                  <a:lnTo>
                    <a:pt x="282154" y="2422001"/>
                  </a:lnTo>
                  <a:cubicBezTo>
                    <a:pt x="271621" y="2396901"/>
                    <a:pt x="276374" y="2366849"/>
                    <a:pt x="296584" y="2346145"/>
                  </a:cubicBezTo>
                  <a:lnTo>
                    <a:pt x="452629" y="2186288"/>
                  </a:lnTo>
                  <a:cubicBezTo>
                    <a:pt x="466103" y="2172485"/>
                    <a:pt x="483896" y="2165450"/>
                    <a:pt x="501770" y="2165235"/>
                  </a:cubicBezTo>
                  <a:cubicBezTo>
                    <a:pt x="519645" y="2165019"/>
                    <a:pt x="537603" y="2171622"/>
                    <a:pt x="551405" y="2185096"/>
                  </a:cubicBezTo>
                  <a:cubicBezTo>
                    <a:pt x="579010" y="2212043"/>
                    <a:pt x="579544" y="2256266"/>
                    <a:pt x="552597" y="2283872"/>
                  </a:cubicBezTo>
                  <a:lnTo>
                    <a:pt x="508921" y="2328614"/>
                  </a:lnTo>
                  <a:lnTo>
                    <a:pt x="935147" y="2328614"/>
                  </a:lnTo>
                  <a:lnTo>
                    <a:pt x="945366" y="2295695"/>
                  </a:lnTo>
                  <a:cubicBezTo>
                    <a:pt x="954620" y="2273815"/>
                    <a:pt x="965943" y="2253024"/>
                    <a:pt x="979089" y="2233565"/>
                  </a:cubicBezTo>
                  <a:lnTo>
                    <a:pt x="984070" y="2227528"/>
                  </a:lnTo>
                  <a:lnTo>
                    <a:pt x="686257" y="1931274"/>
                  </a:lnTo>
                  <a:lnTo>
                    <a:pt x="685667" y="1993797"/>
                  </a:lnTo>
                  <a:cubicBezTo>
                    <a:pt x="685302" y="2032373"/>
                    <a:pt x="653736" y="2063348"/>
                    <a:pt x="615160" y="2062984"/>
                  </a:cubicBezTo>
                  <a:cubicBezTo>
                    <a:pt x="595873" y="2062803"/>
                    <a:pt x="578485" y="2054819"/>
                    <a:pt x="565964" y="2042060"/>
                  </a:cubicBezTo>
                  <a:cubicBezTo>
                    <a:pt x="553444" y="2029302"/>
                    <a:pt x="545791" y="2011766"/>
                    <a:pt x="545973" y="1992478"/>
                  </a:cubicBezTo>
                  <a:lnTo>
                    <a:pt x="548082" y="1769095"/>
                  </a:lnTo>
                  <a:cubicBezTo>
                    <a:pt x="548356" y="1740163"/>
                    <a:pt x="566180" y="1715506"/>
                    <a:pt x="591349" y="1705139"/>
                  </a:cubicBezTo>
                  <a:lnTo>
                    <a:pt x="615103" y="1700577"/>
                  </a:lnTo>
                  <a:lnTo>
                    <a:pt x="627979" y="1697780"/>
                  </a:lnTo>
                  <a:cubicBezTo>
                    <a:pt x="702437" y="1696686"/>
                    <a:pt x="776892" y="1695593"/>
                    <a:pt x="851349" y="1694500"/>
                  </a:cubicBezTo>
                  <a:cubicBezTo>
                    <a:pt x="889922" y="1693933"/>
                    <a:pt x="921651" y="1724743"/>
                    <a:pt x="922218" y="1763316"/>
                  </a:cubicBezTo>
                  <a:lnTo>
                    <a:pt x="922217" y="1763315"/>
                  </a:lnTo>
                  <a:cubicBezTo>
                    <a:pt x="922783" y="1801887"/>
                    <a:pt x="891973" y="1833617"/>
                    <a:pt x="853400" y="1834184"/>
                  </a:cubicBezTo>
                  <a:lnTo>
                    <a:pt x="787712" y="1835149"/>
                  </a:lnTo>
                  <a:lnTo>
                    <a:pt x="1085017" y="2130899"/>
                  </a:lnTo>
                  <a:lnTo>
                    <a:pt x="1140013" y="2101048"/>
                  </a:lnTo>
                  <a:cubicBezTo>
                    <a:pt x="1161892" y="2091794"/>
                    <a:pt x="1184860" y="2084608"/>
                    <a:pt x="1208670" y="2079736"/>
                  </a:cubicBezTo>
                  <a:lnTo>
                    <a:pt x="1217410" y="2078855"/>
                  </a:lnTo>
                  <a:lnTo>
                    <a:pt x="1217410" y="1655084"/>
                  </a:lnTo>
                  <a:lnTo>
                    <a:pt x="1172668" y="1698760"/>
                  </a:lnTo>
                  <a:cubicBezTo>
                    <a:pt x="1145062" y="1725707"/>
                    <a:pt x="1100839" y="1725173"/>
                    <a:pt x="1073892" y="1697568"/>
                  </a:cubicBezTo>
                  <a:cubicBezTo>
                    <a:pt x="1060418" y="1683766"/>
                    <a:pt x="1053815" y="1665808"/>
                    <a:pt x="1054031" y="1647933"/>
                  </a:cubicBezTo>
                  <a:cubicBezTo>
                    <a:pt x="1054246" y="1630059"/>
                    <a:pt x="1061281" y="1612266"/>
                    <a:pt x="1075084" y="1598792"/>
                  </a:cubicBezTo>
                  <a:lnTo>
                    <a:pt x="1234941" y="1442747"/>
                  </a:lnTo>
                  <a:cubicBezTo>
                    <a:pt x="1245293" y="1432642"/>
                    <a:pt x="1257982" y="1426402"/>
                    <a:pt x="1271221" y="1424004"/>
                  </a:cubicBezTo>
                  <a:close/>
                  <a:moveTo>
                    <a:pt x="0" y="1189092"/>
                  </a:moveTo>
                  <a:lnTo>
                    <a:pt x="2604807" y="1189092"/>
                  </a:lnTo>
                  <a:lnTo>
                    <a:pt x="2604807" y="1234811"/>
                  </a:lnTo>
                  <a:lnTo>
                    <a:pt x="0" y="1234811"/>
                  </a:lnTo>
                  <a:close/>
                  <a:moveTo>
                    <a:pt x="1272401" y="492763"/>
                  </a:moveTo>
                  <a:lnTo>
                    <a:pt x="846124" y="652174"/>
                  </a:lnTo>
                  <a:lnTo>
                    <a:pt x="846125" y="767258"/>
                  </a:lnTo>
                  <a:lnTo>
                    <a:pt x="1704448" y="767257"/>
                  </a:lnTo>
                  <a:lnTo>
                    <a:pt x="1704448" y="654332"/>
                  </a:lnTo>
                  <a:close/>
                  <a:moveTo>
                    <a:pt x="846124" y="150767"/>
                  </a:moveTo>
                  <a:lnTo>
                    <a:pt x="846124" y="284541"/>
                  </a:lnTo>
                  <a:lnTo>
                    <a:pt x="1272401" y="443951"/>
                  </a:lnTo>
                  <a:lnTo>
                    <a:pt x="1704447" y="282383"/>
                  </a:lnTo>
                  <a:lnTo>
                    <a:pt x="1704447" y="150768"/>
                  </a:lnTo>
                  <a:close/>
                  <a:moveTo>
                    <a:pt x="1736460" y="0"/>
                  </a:moveTo>
                  <a:lnTo>
                    <a:pt x="2222257" y="1"/>
                  </a:lnTo>
                  <a:cubicBezTo>
                    <a:pt x="2239936" y="0"/>
                    <a:pt x="2254270" y="14334"/>
                    <a:pt x="2254270" y="32014"/>
                  </a:cubicBezTo>
                  <a:lnTo>
                    <a:pt x="2254269" y="295280"/>
                  </a:lnTo>
                  <a:cubicBezTo>
                    <a:pt x="2254270" y="312960"/>
                    <a:pt x="2239936" y="327294"/>
                    <a:pt x="2222256" y="327293"/>
                  </a:cubicBezTo>
                  <a:lnTo>
                    <a:pt x="1736460" y="327294"/>
                  </a:lnTo>
                  <a:lnTo>
                    <a:pt x="1726221" y="323052"/>
                  </a:lnTo>
                  <a:lnTo>
                    <a:pt x="1337664" y="468357"/>
                  </a:lnTo>
                  <a:lnTo>
                    <a:pt x="1729294" y="614812"/>
                  </a:lnTo>
                  <a:lnTo>
                    <a:pt x="1736461" y="611843"/>
                  </a:lnTo>
                  <a:lnTo>
                    <a:pt x="2222257" y="611843"/>
                  </a:lnTo>
                  <a:cubicBezTo>
                    <a:pt x="2239937" y="611843"/>
                    <a:pt x="2254270" y="626177"/>
                    <a:pt x="2254269" y="643857"/>
                  </a:cubicBezTo>
                  <a:lnTo>
                    <a:pt x="2254270" y="907123"/>
                  </a:lnTo>
                  <a:cubicBezTo>
                    <a:pt x="2254270" y="924803"/>
                    <a:pt x="2239936" y="939137"/>
                    <a:pt x="2222257" y="939136"/>
                  </a:cubicBezTo>
                  <a:lnTo>
                    <a:pt x="1736460" y="939137"/>
                  </a:lnTo>
                  <a:cubicBezTo>
                    <a:pt x="1718780" y="939137"/>
                    <a:pt x="1704448" y="924803"/>
                    <a:pt x="1704448" y="907124"/>
                  </a:cubicBezTo>
                  <a:lnTo>
                    <a:pt x="1704448" y="812976"/>
                  </a:lnTo>
                  <a:lnTo>
                    <a:pt x="846125" y="812976"/>
                  </a:lnTo>
                  <a:lnTo>
                    <a:pt x="846125" y="907123"/>
                  </a:lnTo>
                  <a:cubicBezTo>
                    <a:pt x="846125" y="924804"/>
                    <a:pt x="831792" y="939136"/>
                    <a:pt x="814112" y="939137"/>
                  </a:cubicBezTo>
                  <a:lnTo>
                    <a:pt x="328316" y="939137"/>
                  </a:lnTo>
                  <a:cubicBezTo>
                    <a:pt x="310636" y="939137"/>
                    <a:pt x="296302" y="924803"/>
                    <a:pt x="296303" y="907123"/>
                  </a:cubicBezTo>
                  <a:lnTo>
                    <a:pt x="296303" y="643857"/>
                  </a:lnTo>
                  <a:cubicBezTo>
                    <a:pt x="296302" y="626177"/>
                    <a:pt x="310636" y="611843"/>
                    <a:pt x="328316" y="611843"/>
                  </a:cubicBezTo>
                  <a:lnTo>
                    <a:pt x="814112" y="611843"/>
                  </a:lnTo>
                  <a:lnTo>
                    <a:pt x="818541" y="613678"/>
                  </a:lnTo>
                  <a:lnTo>
                    <a:pt x="1207139" y="468357"/>
                  </a:lnTo>
                  <a:lnTo>
                    <a:pt x="821615" y="324186"/>
                  </a:lnTo>
                  <a:lnTo>
                    <a:pt x="814112" y="327295"/>
                  </a:lnTo>
                  <a:lnTo>
                    <a:pt x="328316" y="327295"/>
                  </a:lnTo>
                  <a:cubicBezTo>
                    <a:pt x="310636" y="327295"/>
                    <a:pt x="296302" y="312961"/>
                    <a:pt x="296302" y="295281"/>
                  </a:cubicBezTo>
                  <a:lnTo>
                    <a:pt x="296303" y="32015"/>
                  </a:lnTo>
                  <a:cubicBezTo>
                    <a:pt x="296303" y="14334"/>
                    <a:pt x="310635" y="1"/>
                    <a:pt x="328315" y="1"/>
                  </a:cubicBezTo>
                  <a:lnTo>
                    <a:pt x="814111" y="1"/>
                  </a:lnTo>
                  <a:cubicBezTo>
                    <a:pt x="831791" y="1"/>
                    <a:pt x="846125" y="14335"/>
                    <a:pt x="846124" y="32014"/>
                  </a:cubicBezTo>
                  <a:lnTo>
                    <a:pt x="846124" y="105049"/>
                  </a:lnTo>
                  <a:lnTo>
                    <a:pt x="1704447" y="105048"/>
                  </a:lnTo>
                  <a:lnTo>
                    <a:pt x="1704447" y="32013"/>
                  </a:lnTo>
                  <a:cubicBezTo>
                    <a:pt x="1704448" y="14333"/>
                    <a:pt x="1718780" y="1"/>
                    <a:pt x="1736460" y="0"/>
                  </a:cubicBezTo>
                  <a:close/>
                </a:path>
              </a:pathLst>
            </a:cu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kern="0">
                <a:solidFill>
                  <a:srgbClr val="2968AF">
                    <a:lumMod val="50000"/>
                  </a:srgbClr>
                </a:solidFill>
                <a:latin typeface="Arial"/>
              </a:endParaRPr>
            </a:p>
          </p:txBody>
        </p:sp>
      </p:grpSp>
      <p:grpSp>
        <p:nvGrpSpPr>
          <p:cNvPr id="200" name="Group 199"/>
          <p:cNvGrpSpPr/>
          <p:nvPr/>
        </p:nvGrpSpPr>
        <p:grpSpPr>
          <a:xfrm>
            <a:off x="4332420" y="3794755"/>
            <a:ext cx="322331" cy="320040"/>
            <a:chOff x="4178310" y="3794755"/>
            <a:chExt cx="322331" cy="320040"/>
          </a:xfrm>
        </p:grpSpPr>
        <p:sp>
          <p:nvSpPr>
            <p:cNvPr id="201" name="Rounded Rectangle 200"/>
            <p:cNvSpPr/>
            <p:nvPr/>
          </p:nvSpPr>
          <p:spPr bwMode="auto">
            <a:xfrm>
              <a:off x="4178310" y="3794755"/>
              <a:ext cx="322331" cy="320040"/>
            </a:xfrm>
            <a:prstGeom prst="roundRect">
              <a:avLst>
                <a:gd name="adj" fmla="val 4802"/>
              </a:avLst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kern="0" dirty="0" err="1">
                <a:solidFill>
                  <a:srgbClr val="2968AF">
                    <a:lumMod val="50000"/>
                  </a:srgbClr>
                </a:solidFill>
                <a:latin typeface="Arial"/>
                <a:sym typeface="Arial" pitchFamily="-107" charset="0"/>
              </a:endParaRPr>
            </a:p>
          </p:txBody>
        </p:sp>
        <p:sp>
          <p:nvSpPr>
            <p:cNvPr id="202" name="Rounded Rectangle 5"/>
            <p:cNvSpPr>
              <a:spLocks noChangeAspect="1"/>
            </p:cNvSpPr>
            <p:nvPr/>
          </p:nvSpPr>
          <p:spPr>
            <a:xfrm rot="5400000">
              <a:off x="4245126" y="3844490"/>
              <a:ext cx="189270" cy="226869"/>
            </a:xfrm>
            <a:custGeom>
              <a:avLst/>
              <a:gdLst/>
              <a:ahLst/>
              <a:cxnLst/>
              <a:rect l="l" t="t" r="r" b="b"/>
              <a:pathLst>
                <a:path w="1434127" h="1719033">
                  <a:moveTo>
                    <a:pt x="928823" y="289692"/>
                  </a:moveTo>
                  <a:cubicBezTo>
                    <a:pt x="929054" y="266684"/>
                    <a:pt x="936638" y="243780"/>
                    <a:pt x="951518" y="226436"/>
                  </a:cubicBezTo>
                  <a:lnTo>
                    <a:pt x="1123848" y="25572"/>
                  </a:lnTo>
                  <a:cubicBezTo>
                    <a:pt x="1146167" y="-443"/>
                    <a:pt x="1178564" y="-6561"/>
                    <a:pt x="1205623" y="6998"/>
                  </a:cubicBezTo>
                  <a:lnTo>
                    <a:pt x="1227169" y="24533"/>
                  </a:lnTo>
                  <a:lnTo>
                    <a:pt x="1239096" y="33745"/>
                  </a:lnTo>
                  <a:cubicBezTo>
                    <a:pt x="1296540" y="100701"/>
                    <a:pt x="1353982" y="167655"/>
                    <a:pt x="1411426" y="234611"/>
                  </a:cubicBezTo>
                  <a:cubicBezTo>
                    <a:pt x="1441185" y="269298"/>
                    <a:pt x="1441761" y="326223"/>
                    <a:pt x="1412711" y="361758"/>
                  </a:cubicBezTo>
                  <a:lnTo>
                    <a:pt x="1412711" y="361755"/>
                  </a:lnTo>
                  <a:cubicBezTo>
                    <a:pt x="1383662" y="397289"/>
                    <a:pt x="1335987" y="397976"/>
                    <a:pt x="1306228" y="363290"/>
                  </a:cubicBezTo>
                  <a:lnTo>
                    <a:pt x="1255549" y="304219"/>
                  </a:lnTo>
                  <a:lnTo>
                    <a:pt x="1255548" y="852351"/>
                  </a:lnTo>
                  <a:cubicBezTo>
                    <a:pt x="1255548" y="902008"/>
                    <a:pt x="1221835" y="942263"/>
                    <a:pt x="1180248" y="942263"/>
                  </a:cubicBezTo>
                  <a:lnTo>
                    <a:pt x="1180249" y="942262"/>
                  </a:lnTo>
                  <a:cubicBezTo>
                    <a:pt x="1138662" y="942262"/>
                    <a:pt x="1104949" y="902007"/>
                    <a:pt x="1104949" y="852350"/>
                  </a:cubicBezTo>
                  <a:lnTo>
                    <a:pt x="1104949" y="298896"/>
                  </a:lnTo>
                  <a:lnTo>
                    <a:pt x="1056716" y="355117"/>
                  </a:lnTo>
                  <a:cubicBezTo>
                    <a:pt x="1026956" y="389804"/>
                    <a:pt x="979283" y="389116"/>
                    <a:pt x="950233" y="353583"/>
                  </a:cubicBezTo>
                  <a:cubicBezTo>
                    <a:pt x="935708" y="335816"/>
                    <a:pt x="928590" y="312701"/>
                    <a:pt x="928823" y="289692"/>
                  </a:cubicBezTo>
                  <a:close/>
                  <a:moveTo>
                    <a:pt x="702356" y="1429342"/>
                  </a:moveTo>
                  <a:cubicBezTo>
                    <a:pt x="702123" y="1406333"/>
                    <a:pt x="709241" y="1383217"/>
                    <a:pt x="723766" y="1365451"/>
                  </a:cubicBezTo>
                  <a:cubicBezTo>
                    <a:pt x="752816" y="1329917"/>
                    <a:pt x="800489" y="1329229"/>
                    <a:pt x="830249" y="1363916"/>
                  </a:cubicBezTo>
                  <a:lnTo>
                    <a:pt x="878482" y="1420137"/>
                  </a:lnTo>
                  <a:lnTo>
                    <a:pt x="878482" y="866684"/>
                  </a:lnTo>
                  <a:cubicBezTo>
                    <a:pt x="878482" y="817027"/>
                    <a:pt x="912195" y="776771"/>
                    <a:pt x="953782" y="776771"/>
                  </a:cubicBezTo>
                  <a:lnTo>
                    <a:pt x="953781" y="776770"/>
                  </a:lnTo>
                  <a:cubicBezTo>
                    <a:pt x="995368" y="776770"/>
                    <a:pt x="1029081" y="817025"/>
                    <a:pt x="1029081" y="866682"/>
                  </a:cubicBezTo>
                  <a:lnTo>
                    <a:pt x="1029082" y="1414814"/>
                  </a:lnTo>
                  <a:lnTo>
                    <a:pt x="1079761" y="1355744"/>
                  </a:lnTo>
                  <a:cubicBezTo>
                    <a:pt x="1109520" y="1321057"/>
                    <a:pt x="1157195" y="1321744"/>
                    <a:pt x="1186244" y="1357278"/>
                  </a:cubicBezTo>
                  <a:lnTo>
                    <a:pt x="1186244" y="1357275"/>
                  </a:lnTo>
                  <a:cubicBezTo>
                    <a:pt x="1215294" y="1392810"/>
                    <a:pt x="1214718" y="1449735"/>
                    <a:pt x="1184959" y="1484422"/>
                  </a:cubicBezTo>
                  <a:cubicBezTo>
                    <a:pt x="1127515" y="1551378"/>
                    <a:pt x="1070073" y="1618333"/>
                    <a:pt x="1012629" y="1685289"/>
                  </a:cubicBezTo>
                  <a:lnTo>
                    <a:pt x="1000702" y="1694500"/>
                  </a:lnTo>
                  <a:lnTo>
                    <a:pt x="979156" y="1712036"/>
                  </a:lnTo>
                  <a:cubicBezTo>
                    <a:pt x="952097" y="1725594"/>
                    <a:pt x="919700" y="1719476"/>
                    <a:pt x="897381" y="1693461"/>
                  </a:cubicBezTo>
                  <a:lnTo>
                    <a:pt x="725051" y="1492597"/>
                  </a:lnTo>
                  <a:cubicBezTo>
                    <a:pt x="710171" y="1475253"/>
                    <a:pt x="702587" y="1452349"/>
                    <a:pt x="702356" y="1429342"/>
                  </a:cubicBezTo>
                  <a:close/>
                  <a:moveTo>
                    <a:pt x="226473" y="289692"/>
                  </a:moveTo>
                  <a:cubicBezTo>
                    <a:pt x="226704" y="266684"/>
                    <a:pt x="234288" y="243780"/>
                    <a:pt x="249168" y="226436"/>
                  </a:cubicBezTo>
                  <a:lnTo>
                    <a:pt x="421498" y="25572"/>
                  </a:lnTo>
                  <a:cubicBezTo>
                    <a:pt x="443817" y="-443"/>
                    <a:pt x="476214" y="-6561"/>
                    <a:pt x="503273" y="6998"/>
                  </a:cubicBezTo>
                  <a:lnTo>
                    <a:pt x="524819" y="24533"/>
                  </a:lnTo>
                  <a:lnTo>
                    <a:pt x="536746" y="33745"/>
                  </a:lnTo>
                  <a:cubicBezTo>
                    <a:pt x="594190" y="100701"/>
                    <a:pt x="651632" y="167655"/>
                    <a:pt x="709076" y="234611"/>
                  </a:cubicBezTo>
                  <a:cubicBezTo>
                    <a:pt x="738835" y="269298"/>
                    <a:pt x="739411" y="326223"/>
                    <a:pt x="710361" y="361758"/>
                  </a:cubicBezTo>
                  <a:lnTo>
                    <a:pt x="710361" y="361755"/>
                  </a:lnTo>
                  <a:cubicBezTo>
                    <a:pt x="681312" y="397289"/>
                    <a:pt x="633637" y="397976"/>
                    <a:pt x="603878" y="363290"/>
                  </a:cubicBezTo>
                  <a:lnTo>
                    <a:pt x="553199" y="304219"/>
                  </a:lnTo>
                  <a:lnTo>
                    <a:pt x="553198" y="852351"/>
                  </a:lnTo>
                  <a:cubicBezTo>
                    <a:pt x="553198" y="902008"/>
                    <a:pt x="519485" y="942263"/>
                    <a:pt x="477898" y="942263"/>
                  </a:cubicBezTo>
                  <a:lnTo>
                    <a:pt x="477899" y="942262"/>
                  </a:lnTo>
                  <a:cubicBezTo>
                    <a:pt x="436312" y="942262"/>
                    <a:pt x="402599" y="902007"/>
                    <a:pt x="402599" y="852350"/>
                  </a:cubicBezTo>
                  <a:lnTo>
                    <a:pt x="402599" y="298896"/>
                  </a:lnTo>
                  <a:lnTo>
                    <a:pt x="354366" y="355117"/>
                  </a:lnTo>
                  <a:cubicBezTo>
                    <a:pt x="324606" y="389804"/>
                    <a:pt x="276933" y="389116"/>
                    <a:pt x="247883" y="353583"/>
                  </a:cubicBezTo>
                  <a:cubicBezTo>
                    <a:pt x="233358" y="335816"/>
                    <a:pt x="226239" y="312701"/>
                    <a:pt x="226473" y="289692"/>
                  </a:cubicBezTo>
                  <a:close/>
                  <a:moveTo>
                    <a:pt x="5" y="1429342"/>
                  </a:moveTo>
                  <a:cubicBezTo>
                    <a:pt x="-228" y="1406333"/>
                    <a:pt x="6891" y="1383217"/>
                    <a:pt x="21416" y="1365451"/>
                  </a:cubicBezTo>
                  <a:cubicBezTo>
                    <a:pt x="50465" y="1329917"/>
                    <a:pt x="98139" y="1329229"/>
                    <a:pt x="127899" y="1363916"/>
                  </a:cubicBezTo>
                  <a:lnTo>
                    <a:pt x="176132" y="1420137"/>
                  </a:lnTo>
                  <a:lnTo>
                    <a:pt x="176132" y="866684"/>
                  </a:lnTo>
                  <a:cubicBezTo>
                    <a:pt x="176132" y="817027"/>
                    <a:pt x="209845" y="776771"/>
                    <a:pt x="251432" y="776771"/>
                  </a:cubicBezTo>
                  <a:lnTo>
                    <a:pt x="251431" y="776770"/>
                  </a:lnTo>
                  <a:cubicBezTo>
                    <a:pt x="293018" y="776770"/>
                    <a:pt x="326731" y="817025"/>
                    <a:pt x="326731" y="866682"/>
                  </a:cubicBezTo>
                  <a:lnTo>
                    <a:pt x="326732" y="1414814"/>
                  </a:lnTo>
                  <a:lnTo>
                    <a:pt x="377411" y="1355744"/>
                  </a:lnTo>
                  <a:cubicBezTo>
                    <a:pt x="407170" y="1321057"/>
                    <a:pt x="454845" y="1321744"/>
                    <a:pt x="483894" y="1357278"/>
                  </a:cubicBezTo>
                  <a:lnTo>
                    <a:pt x="483894" y="1357275"/>
                  </a:lnTo>
                  <a:cubicBezTo>
                    <a:pt x="512944" y="1392810"/>
                    <a:pt x="512368" y="1449735"/>
                    <a:pt x="482609" y="1484422"/>
                  </a:cubicBezTo>
                  <a:cubicBezTo>
                    <a:pt x="425165" y="1551378"/>
                    <a:pt x="367723" y="1618333"/>
                    <a:pt x="310279" y="1685289"/>
                  </a:cubicBezTo>
                  <a:lnTo>
                    <a:pt x="298352" y="1694500"/>
                  </a:lnTo>
                  <a:lnTo>
                    <a:pt x="276806" y="1712036"/>
                  </a:lnTo>
                  <a:cubicBezTo>
                    <a:pt x="249747" y="1725594"/>
                    <a:pt x="217350" y="1719476"/>
                    <a:pt x="195031" y="1693461"/>
                  </a:cubicBezTo>
                  <a:lnTo>
                    <a:pt x="22701" y="1492597"/>
                  </a:lnTo>
                  <a:cubicBezTo>
                    <a:pt x="7821" y="1475253"/>
                    <a:pt x="237" y="1452349"/>
                    <a:pt x="5" y="1429342"/>
                  </a:cubicBezTo>
                  <a:close/>
                </a:path>
              </a:pathLst>
            </a:cu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lIns="91420" tIns="45710" rIns="91420" bIns="45710" rtlCol="0" anchor="ctr"/>
            <a:lstStyle/>
            <a:p>
              <a:pPr algn="ctr" defTabSz="456706"/>
              <a:endParaRPr lang="en-US" kern="0">
                <a:solidFill>
                  <a:srgbClr val="2968AF">
                    <a:lumMod val="50000"/>
                  </a:srgbClr>
                </a:solidFill>
                <a:latin typeface="Arial"/>
              </a:endParaRPr>
            </a:p>
          </p:txBody>
        </p:sp>
      </p:grpSp>
      <p:grpSp>
        <p:nvGrpSpPr>
          <p:cNvPr id="203" name="Group 202"/>
          <p:cNvGrpSpPr/>
          <p:nvPr/>
        </p:nvGrpSpPr>
        <p:grpSpPr>
          <a:xfrm>
            <a:off x="5200030" y="3794755"/>
            <a:ext cx="322331" cy="320040"/>
            <a:chOff x="4178310" y="3794755"/>
            <a:chExt cx="322331" cy="320040"/>
          </a:xfrm>
        </p:grpSpPr>
        <p:sp>
          <p:nvSpPr>
            <p:cNvPr id="204" name="Rounded Rectangle 203"/>
            <p:cNvSpPr/>
            <p:nvPr/>
          </p:nvSpPr>
          <p:spPr bwMode="auto">
            <a:xfrm>
              <a:off x="4178310" y="3794755"/>
              <a:ext cx="322331" cy="320040"/>
            </a:xfrm>
            <a:prstGeom prst="roundRect">
              <a:avLst>
                <a:gd name="adj" fmla="val 4802"/>
              </a:avLst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kern="0" dirty="0" err="1">
                <a:solidFill>
                  <a:srgbClr val="2968AF">
                    <a:lumMod val="50000"/>
                  </a:srgbClr>
                </a:solidFill>
                <a:latin typeface="Arial"/>
                <a:sym typeface="Arial" pitchFamily="-107" charset="0"/>
              </a:endParaRPr>
            </a:p>
          </p:txBody>
        </p:sp>
        <p:sp>
          <p:nvSpPr>
            <p:cNvPr id="205" name="Rounded Rectangle 5"/>
            <p:cNvSpPr>
              <a:spLocks noChangeAspect="1"/>
            </p:cNvSpPr>
            <p:nvPr/>
          </p:nvSpPr>
          <p:spPr>
            <a:xfrm rot="5400000">
              <a:off x="4245126" y="3844490"/>
              <a:ext cx="189270" cy="226869"/>
            </a:xfrm>
            <a:custGeom>
              <a:avLst/>
              <a:gdLst/>
              <a:ahLst/>
              <a:cxnLst/>
              <a:rect l="l" t="t" r="r" b="b"/>
              <a:pathLst>
                <a:path w="1434127" h="1719033">
                  <a:moveTo>
                    <a:pt x="928823" y="289692"/>
                  </a:moveTo>
                  <a:cubicBezTo>
                    <a:pt x="929054" y="266684"/>
                    <a:pt x="936638" y="243780"/>
                    <a:pt x="951518" y="226436"/>
                  </a:cubicBezTo>
                  <a:lnTo>
                    <a:pt x="1123848" y="25572"/>
                  </a:lnTo>
                  <a:cubicBezTo>
                    <a:pt x="1146167" y="-443"/>
                    <a:pt x="1178564" y="-6561"/>
                    <a:pt x="1205623" y="6998"/>
                  </a:cubicBezTo>
                  <a:lnTo>
                    <a:pt x="1227169" y="24533"/>
                  </a:lnTo>
                  <a:lnTo>
                    <a:pt x="1239096" y="33745"/>
                  </a:lnTo>
                  <a:cubicBezTo>
                    <a:pt x="1296540" y="100701"/>
                    <a:pt x="1353982" y="167655"/>
                    <a:pt x="1411426" y="234611"/>
                  </a:cubicBezTo>
                  <a:cubicBezTo>
                    <a:pt x="1441185" y="269298"/>
                    <a:pt x="1441761" y="326223"/>
                    <a:pt x="1412711" y="361758"/>
                  </a:cubicBezTo>
                  <a:lnTo>
                    <a:pt x="1412711" y="361755"/>
                  </a:lnTo>
                  <a:cubicBezTo>
                    <a:pt x="1383662" y="397289"/>
                    <a:pt x="1335987" y="397976"/>
                    <a:pt x="1306228" y="363290"/>
                  </a:cubicBezTo>
                  <a:lnTo>
                    <a:pt x="1255549" y="304219"/>
                  </a:lnTo>
                  <a:lnTo>
                    <a:pt x="1255548" y="852351"/>
                  </a:lnTo>
                  <a:cubicBezTo>
                    <a:pt x="1255548" y="902008"/>
                    <a:pt x="1221835" y="942263"/>
                    <a:pt x="1180248" y="942263"/>
                  </a:cubicBezTo>
                  <a:lnTo>
                    <a:pt x="1180249" y="942262"/>
                  </a:lnTo>
                  <a:cubicBezTo>
                    <a:pt x="1138662" y="942262"/>
                    <a:pt x="1104949" y="902007"/>
                    <a:pt x="1104949" y="852350"/>
                  </a:cubicBezTo>
                  <a:lnTo>
                    <a:pt x="1104949" y="298896"/>
                  </a:lnTo>
                  <a:lnTo>
                    <a:pt x="1056716" y="355117"/>
                  </a:lnTo>
                  <a:cubicBezTo>
                    <a:pt x="1026956" y="389804"/>
                    <a:pt x="979283" y="389116"/>
                    <a:pt x="950233" y="353583"/>
                  </a:cubicBezTo>
                  <a:cubicBezTo>
                    <a:pt x="935708" y="335816"/>
                    <a:pt x="928590" y="312701"/>
                    <a:pt x="928823" y="289692"/>
                  </a:cubicBezTo>
                  <a:close/>
                  <a:moveTo>
                    <a:pt x="702356" y="1429342"/>
                  </a:moveTo>
                  <a:cubicBezTo>
                    <a:pt x="702123" y="1406333"/>
                    <a:pt x="709241" y="1383217"/>
                    <a:pt x="723766" y="1365451"/>
                  </a:cubicBezTo>
                  <a:cubicBezTo>
                    <a:pt x="752816" y="1329917"/>
                    <a:pt x="800489" y="1329229"/>
                    <a:pt x="830249" y="1363916"/>
                  </a:cubicBezTo>
                  <a:lnTo>
                    <a:pt x="878482" y="1420137"/>
                  </a:lnTo>
                  <a:lnTo>
                    <a:pt x="878482" y="866684"/>
                  </a:lnTo>
                  <a:cubicBezTo>
                    <a:pt x="878482" y="817027"/>
                    <a:pt x="912195" y="776771"/>
                    <a:pt x="953782" y="776771"/>
                  </a:cubicBezTo>
                  <a:lnTo>
                    <a:pt x="953781" y="776770"/>
                  </a:lnTo>
                  <a:cubicBezTo>
                    <a:pt x="995368" y="776770"/>
                    <a:pt x="1029081" y="817025"/>
                    <a:pt x="1029081" y="866682"/>
                  </a:cubicBezTo>
                  <a:lnTo>
                    <a:pt x="1029082" y="1414814"/>
                  </a:lnTo>
                  <a:lnTo>
                    <a:pt x="1079761" y="1355744"/>
                  </a:lnTo>
                  <a:cubicBezTo>
                    <a:pt x="1109520" y="1321057"/>
                    <a:pt x="1157195" y="1321744"/>
                    <a:pt x="1186244" y="1357278"/>
                  </a:cubicBezTo>
                  <a:lnTo>
                    <a:pt x="1186244" y="1357275"/>
                  </a:lnTo>
                  <a:cubicBezTo>
                    <a:pt x="1215294" y="1392810"/>
                    <a:pt x="1214718" y="1449735"/>
                    <a:pt x="1184959" y="1484422"/>
                  </a:cubicBezTo>
                  <a:cubicBezTo>
                    <a:pt x="1127515" y="1551378"/>
                    <a:pt x="1070073" y="1618333"/>
                    <a:pt x="1012629" y="1685289"/>
                  </a:cubicBezTo>
                  <a:lnTo>
                    <a:pt x="1000702" y="1694500"/>
                  </a:lnTo>
                  <a:lnTo>
                    <a:pt x="979156" y="1712036"/>
                  </a:lnTo>
                  <a:cubicBezTo>
                    <a:pt x="952097" y="1725594"/>
                    <a:pt x="919700" y="1719476"/>
                    <a:pt x="897381" y="1693461"/>
                  </a:cubicBezTo>
                  <a:lnTo>
                    <a:pt x="725051" y="1492597"/>
                  </a:lnTo>
                  <a:cubicBezTo>
                    <a:pt x="710171" y="1475253"/>
                    <a:pt x="702587" y="1452349"/>
                    <a:pt x="702356" y="1429342"/>
                  </a:cubicBezTo>
                  <a:close/>
                  <a:moveTo>
                    <a:pt x="226473" y="289692"/>
                  </a:moveTo>
                  <a:cubicBezTo>
                    <a:pt x="226704" y="266684"/>
                    <a:pt x="234288" y="243780"/>
                    <a:pt x="249168" y="226436"/>
                  </a:cubicBezTo>
                  <a:lnTo>
                    <a:pt x="421498" y="25572"/>
                  </a:lnTo>
                  <a:cubicBezTo>
                    <a:pt x="443817" y="-443"/>
                    <a:pt x="476214" y="-6561"/>
                    <a:pt x="503273" y="6998"/>
                  </a:cubicBezTo>
                  <a:lnTo>
                    <a:pt x="524819" y="24533"/>
                  </a:lnTo>
                  <a:lnTo>
                    <a:pt x="536746" y="33745"/>
                  </a:lnTo>
                  <a:cubicBezTo>
                    <a:pt x="594190" y="100701"/>
                    <a:pt x="651632" y="167655"/>
                    <a:pt x="709076" y="234611"/>
                  </a:cubicBezTo>
                  <a:cubicBezTo>
                    <a:pt x="738835" y="269298"/>
                    <a:pt x="739411" y="326223"/>
                    <a:pt x="710361" y="361758"/>
                  </a:cubicBezTo>
                  <a:lnTo>
                    <a:pt x="710361" y="361755"/>
                  </a:lnTo>
                  <a:cubicBezTo>
                    <a:pt x="681312" y="397289"/>
                    <a:pt x="633637" y="397976"/>
                    <a:pt x="603878" y="363290"/>
                  </a:cubicBezTo>
                  <a:lnTo>
                    <a:pt x="553199" y="304219"/>
                  </a:lnTo>
                  <a:lnTo>
                    <a:pt x="553198" y="852351"/>
                  </a:lnTo>
                  <a:cubicBezTo>
                    <a:pt x="553198" y="902008"/>
                    <a:pt x="519485" y="942263"/>
                    <a:pt x="477898" y="942263"/>
                  </a:cubicBezTo>
                  <a:lnTo>
                    <a:pt x="477899" y="942262"/>
                  </a:lnTo>
                  <a:cubicBezTo>
                    <a:pt x="436312" y="942262"/>
                    <a:pt x="402599" y="902007"/>
                    <a:pt x="402599" y="852350"/>
                  </a:cubicBezTo>
                  <a:lnTo>
                    <a:pt x="402599" y="298896"/>
                  </a:lnTo>
                  <a:lnTo>
                    <a:pt x="354366" y="355117"/>
                  </a:lnTo>
                  <a:cubicBezTo>
                    <a:pt x="324606" y="389804"/>
                    <a:pt x="276933" y="389116"/>
                    <a:pt x="247883" y="353583"/>
                  </a:cubicBezTo>
                  <a:cubicBezTo>
                    <a:pt x="233358" y="335816"/>
                    <a:pt x="226239" y="312701"/>
                    <a:pt x="226473" y="289692"/>
                  </a:cubicBezTo>
                  <a:close/>
                  <a:moveTo>
                    <a:pt x="5" y="1429342"/>
                  </a:moveTo>
                  <a:cubicBezTo>
                    <a:pt x="-228" y="1406333"/>
                    <a:pt x="6891" y="1383217"/>
                    <a:pt x="21416" y="1365451"/>
                  </a:cubicBezTo>
                  <a:cubicBezTo>
                    <a:pt x="50465" y="1329917"/>
                    <a:pt x="98139" y="1329229"/>
                    <a:pt x="127899" y="1363916"/>
                  </a:cubicBezTo>
                  <a:lnTo>
                    <a:pt x="176132" y="1420137"/>
                  </a:lnTo>
                  <a:lnTo>
                    <a:pt x="176132" y="866684"/>
                  </a:lnTo>
                  <a:cubicBezTo>
                    <a:pt x="176132" y="817027"/>
                    <a:pt x="209845" y="776771"/>
                    <a:pt x="251432" y="776771"/>
                  </a:cubicBezTo>
                  <a:lnTo>
                    <a:pt x="251431" y="776770"/>
                  </a:lnTo>
                  <a:cubicBezTo>
                    <a:pt x="293018" y="776770"/>
                    <a:pt x="326731" y="817025"/>
                    <a:pt x="326731" y="866682"/>
                  </a:cubicBezTo>
                  <a:lnTo>
                    <a:pt x="326732" y="1414814"/>
                  </a:lnTo>
                  <a:lnTo>
                    <a:pt x="377411" y="1355744"/>
                  </a:lnTo>
                  <a:cubicBezTo>
                    <a:pt x="407170" y="1321057"/>
                    <a:pt x="454845" y="1321744"/>
                    <a:pt x="483894" y="1357278"/>
                  </a:cubicBezTo>
                  <a:lnTo>
                    <a:pt x="483894" y="1357275"/>
                  </a:lnTo>
                  <a:cubicBezTo>
                    <a:pt x="512944" y="1392810"/>
                    <a:pt x="512368" y="1449735"/>
                    <a:pt x="482609" y="1484422"/>
                  </a:cubicBezTo>
                  <a:cubicBezTo>
                    <a:pt x="425165" y="1551378"/>
                    <a:pt x="367723" y="1618333"/>
                    <a:pt x="310279" y="1685289"/>
                  </a:cubicBezTo>
                  <a:lnTo>
                    <a:pt x="298352" y="1694500"/>
                  </a:lnTo>
                  <a:lnTo>
                    <a:pt x="276806" y="1712036"/>
                  </a:lnTo>
                  <a:cubicBezTo>
                    <a:pt x="249747" y="1725594"/>
                    <a:pt x="217350" y="1719476"/>
                    <a:pt x="195031" y="1693461"/>
                  </a:cubicBezTo>
                  <a:lnTo>
                    <a:pt x="22701" y="1492597"/>
                  </a:lnTo>
                  <a:cubicBezTo>
                    <a:pt x="7821" y="1475253"/>
                    <a:pt x="237" y="1452349"/>
                    <a:pt x="5" y="1429342"/>
                  </a:cubicBezTo>
                  <a:close/>
                </a:path>
              </a:pathLst>
            </a:cu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lIns="91420" tIns="45710" rIns="91420" bIns="45710" rtlCol="0" anchor="ctr"/>
            <a:lstStyle/>
            <a:p>
              <a:pPr algn="ctr" defTabSz="456706"/>
              <a:endParaRPr lang="en-US" kern="0">
                <a:solidFill>
                  <a:srgbClr val="2968AF">
                    <a:lumMod val="50000"/>
                  </a:srgbClr>
                </a:solidFill>
                <a:latin typeface="Arial"/>
              </a:endParaRPr>
            </a:p>
          </p:txBody>
        </p:sp>
      </p:grpSp>
      <p:sp>
        <p:nvSpPr>
          <p:cNvPr id="257" name="Freeform 256"/>
          <p:cNvSpPr/>
          <p:nvPr/>
        </p:nvSpPr>
        <p:spPr bwMode="auto">
          <a:xfrm>
            <a:off x="3699812" y="1253353"/>
            <a:ext cx="3332494" cy="1532086"/>
          </a:xfrm>
          <a:custGeom>
            <a:avLst/>
            <a:gdLst>
              <a:gd name="connsiteX0" fmla="*/ 173545 w 3332494"/>
              <a:gd name="connsiteY0" fmla="*/ 61739 h 1532086"/>
              <a:gd name="connsiteX1" fmla="*/ 19433 w 3332494"/>
              <a:gd name="connsiteY1" fmla="*/ 256948 h 1532086"/>
              <a:gd name="connsiteX2" fmla="*/ 60530 w 3332494"/>
              <a:gd name="connsiteY2" fmla="*/ 585721 h 1532086"/>
              <a:gd name="connsiteX3" fmla="*/ 543415 w 3332494"/>
              <a:gd name="connsiteY3" fmla="*/ 657640 h 1532086"/>
              <a:gd name="connsiteX4" fmla="*/ 1447541 w 3332494"/>
              <a:gd name="connsiteY4" fmla="*/ 1017236 h 1532086"/>
              <a:gd name="connsiteX5" fmla="*/ 1642750 w 3332494"/>
              <a:gd name="connsiteY5" fmla="*/ 1469299 h 1532086"/>
              <a:gd name="connsiteX6" fmla="*/ 1971523 w 3332494"/>
              <a:gd name="connsiteY6" fmla="*/ 1500121 h 1532086"/>
              <a:gd name="connsiteX7" fmla="*/ 2105087 w 3332494"/>
              <a:gd name="connsiteY7" fmla="*/ 1202171 h 1532086"/>
              <a:gd name="connsiteX8" fmla="*/ 2680440 w 3332494"/>
              <a:gd name="connsiteY8" fmla="*/ 709011 h 1532086"/>
              <a:gd name="connsiteX9" fmla="*/ 3255792 w 3332494"/>
              <a:gd name="connsiteY9" fmla="*/ 524076 h 1532086"/>
              <a:gd name="connsiteX10" fmla="*/ 3286615 w 3332494"/>
              <a:gd name="connsiteY10" fmla="*/ 143932 h 1532086"/>
              <a:gd name="connsiteX11" fmla="*/ 2885923 w 3332494"/>
              <a:gd name="connsiteY11" fmla="*/ 154207 h 1532086"/>
              <a:gd name="connsiteX12" fmla="*/ 2279748 w 3332494"/>
              <a:gd name="connsiteY12" fmla="*/ 113110 h 1532086"/>
              <a:gd name="connsiteX13" fmla="*/ 1673572 w 3332494"/>
              <a:gd name="connsiteY13" fmla="*/ 94 h 1532086"/>
              <a:gd name="connsiteX14" fmla="*/ 1180413 w 3332494"/>
              <a:gd name="connsiteY14" fmla="*/ 133658 h 1532086"/>
              <a:gd name="connsiteX15" fmla="*/ 584512 w 3332494"/>
              <a:gd name="connsiteY15" fmla="*/ 133658 h 1532086"/>
              <a:gd name="connsiteX16" fmla="*/ 173545 w 3332494"/>
              <a:gd name="connsiteY16" fmla="*/ 61739 h 15320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332494" h="1532086">
                <a:moveTo>
                  <a:pt x="173545" y="61739"/>
                </a:moveTo>
                <a:cubicBezTo>
                  <a:pt x="79365" y="82287"/>
                  <a:pt x="38269" y="169618"/>
                  <a:pt x="19433" y="256948"/>
                </a:cubicBezTo>
                <a:cubicBezTo>
                  <a:pt x="597" y="344278"/>
                  <a:pt x="-26800" y="518939"/>
                  <a:pt x="60530" y="585721"/>
                </a:cubicBezTo>
                <a:cubicBezTo>
                  <a:pt x="147860" y="652503"/>
                  <a:pt x="312247" y="585721"/>
                  <a:pt x="543415" y="657640"/>
                </a:cubicBezTo>
                <a:cubicBezTo>
                  <a:pt x="774584" y="729559"/>
                  <a:pt x="1264319" y="881960"/>
                  <a:pt x="1447541" y="1017236"/>
                </a:cubicBezTo>
                <a:cubicBezTo>
                  <a:pt x="1630763" y="1152512"/>
                  <a:pt x="1555420" y="1388818"/>
                  <a:pt x="1642750" y="1469299"/>
                </a:cubicBezTo>
                <a:cubicBezTo>
                  <a:pt x="1730080" y="1549780"/>
                  <a:pt x="1894467" y="1544642"/>
                  <a:pt x="1971523" y="1500121"/>
                </a:cubicBezTo>
                <a:cubicBezTo>
                  <a:pt x="2048579" y="1455600"/>
                  <a:pt x="1986934" y="1334023"/>
                  <a:pt x="2105087" y="1202171"/>
                </a:cubicBezTo>
                <a:cubicBezTo>
                  <a:pt x="2223240" y="1070319"/>
                  <a:pt x="2488656" y="822027"/>
                  <a:pt x="2680440" y="709011"/>
                </a:cubicBezTo>
                <a:cubicBezTo>
                  <a:pt x="2872224" y="595995"/>
                  <a:pt x="3154763" y="618256"/>
                  <a:pt x="3255792" y="524076"/>
                </a:cubicBezTo>
                <a:cubicBezTo>
                  <a:pt x="3356821" y="429896"/>
                  <a:pt x="3348260" y="205577"/>
                  <a:pt x="3286615" y="143932"/>
                </a:cubicBezTo>
                <a:cubicBezTo>
                  <a:pt x="3224970" y="82287"/>
                  <a:pt x="3053734" y="159344"/>
                  <a:pt x="2885923" y="154207"/>
                </a:cubicBezTo>
                <a:cubicBezTo>
                  <a:pt x="2718112" y="149070"/>
                  <a:pt x="2481806" y="138795"/>
                  <a:pt x="2279748" y="113110"/>
                </a:cubicBezTo>
                <a:cubicBezTo>
                  <a:pt x="2077690" y="87425"/>
                  <a:pt x="1856794" y="-3331"/>
                  <a:pt x="1673572" y="94"/>
                </a:cubicBezTo>
                <a:cubicBezTo>
                  <a:pt x="1490350" y="3519"/>
                  <a:pt x="1361923" y="111397"/>
                  <a:pt x="1180413" y="133658"/>
                </a:cubicBezTo>
                <a:cubicBezTo>
                  <a:pt x="998903" y="155919"/>
                  <a:pt x="747186" y="143932"/>
                  <a:pt x="584512" y="133658"/>
                </a:cubicBezTo>
                <a:cubicBezTo>
                  <a:pt x="421838" y="123384"/>
                  <a:pt x="267725" y="41191"/>
                  <a:pt x="173545" y="61739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12700" cap="flat">
            <a:solidFill>
              <a:schemeClr val="bg1"/>
            </a:solidFill>
            <a:miter lim="800000"/>
            <a:headEnd type="none" w="med" len="med"/>
            <a:tailEnd type="none" w="med" len="med"/>
          </a:ln>
        </p:spPr>
        <p:txBody>
          <a:bodyPr lIns="91440" tIns="45720" rIns="91440" bIns="45720" rtlCol="0" anchor="ctr"/>
          <a:lstStyle/>
          <a:p>
            <a:pPr algn="ctr" defTabSz="514350"/>
            <a:endParaRPr lang="en-US" sz="1400" dirty="0" err="1" smtClean="0">
              <a:solidFill>
                <a:srgbClr val="FFFFFF"/>
              </a:solidFill>
              <a:ea typeface="Arial" pitchFamily="-107" charset="0"/>
              <a:cs typeface="Arial" pitchFamily="-107" charset="0"/>
              <a:sym typeface="Arial" pitchFamily="-107" charset="0"/>
            </a:endParaRPr>
          </a:p>
        </p:txBody>
      </p:sp>
      <p:cxnSp>
        <p:nvCxnSpPr>
          <p:cNvPr id="22" name="Straight Connector 21"/>
          <p:cNvCxnSpPr/>
          <p:nvPr/>
        </p:nvCxnSpPr>
        <p:spPr bwMode="auto">
          <a:xfrm flipH="1">
            <a:off x="3628820" y="1614820"/>
            <a:ext cx="3108960" cy="0"/>
          </a:xfrm>
          <a:prstGeom prst="line">
            <a:avLst/>
          </a:prstGeom>
          <a:solidFill>
            <a:srgbClr val="0183B7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22"/>
          <p:cNvCxnSpPr/>
          <p:nvPr/>
        </p:nvCxnSpPr>
        <p:spPr bwMode="auto">
          <a:xfrm rot="5400000" flipH="1">
            <a:off x="5075687" y="2119958"/>
            <a:ext cx="822960" cy="0"/>
          </a:xfrm>
          <a:prstGeom prst="line">
            <a:avLst/>
          </a:prstGeom>
          <a:solidFill>
            <a:srgbClr val="0183B7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Freeform 29"/>
          <p:cNvSpPr>
            <a:spLocks noChangeAspect="1"/>
          </p:cNvSpPr>
          <p:nvPr/>
        </p:nvSpPr>
        <p:spPr bwMode="auto">
          <a:xfrm>
            <a:off x="5167127" y="1312274"/>
            <a:ext cx="640080" cy="380970"/>
          </a:xfrm>
          <a:custGeom>
            <a:avLst/>
            <a:gdLst>
              <a:gd name="T0" fmla="*/ 699 w 799"/>
              <a:gd name="T1" fmla="*/ 264 h 464"/>
              <a:gd name="T2" fmla="*/ 698 w 799"/>
              <a:gd name="T3" fmla="*/ 264 h 464"/>
              <a:gd name="T4" fmla="*/ 699 w 799"/>
              <a:gd name="T5" fmla="*/ 253 h 464"/>
              <a:gd name="T6" fmla="*/ 635 w 799"/>
              <a:gd name="T7" fmla="*/ 190 h 464"/>
              <a:gd name="T8" fmla="*/ 623 w 799"/>
              <a:gd name="T9" fmla="*/ 191 h 464"/>
              <a:gd name="T10" fmla="*/ 629 w 799"/>
              <a:gd name="T11" fmla="*/ 153 h 464"/>
              <a:gd name="T12" fmla="*/ 457 w 799"/>
              <a:gd name="T13" fmla="*/ 0 h 464"/>
              <a:gd name="T14" fmla="*/ 288 w 799"/>
              <a:gd name="T15" fmla="*/ 124 h 464"/>
              <a:gd name="T16" fmla="*/ 229 w 799"/>
              <a:gd name="T17" fmla="*/ 102 h 464"/>
              <a:gd name="T18" fmla="*/ 138 w 799"/>
              <a:gd name="T19" fmla="*/ 194 h 464"/>
              <a:gd name="T20" fmla="*/ 138 w 799"/>
              <a:gd name="T21" fmla="*/ 199 h 464"/>
              <a:gd name="T22" fmla="*/ 133 w 799"/>
              <a:gd name="T23" fmla="*/ 198 h 464"/>
              <a:gd name="T24" fmla="*/ 0 w 799"/>
              <a:gd name="T25" fmla="*/ 331 h 464"/>
              <a:gd name="T26" fmla="*/ 133 w 799"/>
              <a:gd name="T27" fmla="*/ 464 h 464"/>
              <a:gd name="T28" fmla="*/ 699 w 799"/>
              <a:gd name="T29" fmla="*/ 464 h 464"/>
              <a:gd name="T30" fmla="*/ 799 w 799"/>
              <a:gd name="T31" fmla="*/ 364 h 464"/>
              <a:gd name="T32" fmla="*/ 699 w 799"/>
              <a:gd name="T33" fmla="*/ 2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99" h="464">
                <a:moveTo>
                  <a:pt x="699" y="264"/>
                </a:moveTo>
                <a:cubicBezTo>
                  <a:pt x="698" y="264"/>
                  <a:pt x="698" y="264"/>
                  <a:pt x="698" y="264"/>
                </a:cubicBezTo>
                <a:cubicBezTo>
                  <a:pt x="698" y="260"/>
                  <a:pt x="699" y="257"/>
                  <a:pt x="699" y="253"/>
                </a:cubicBezTo>
                <a:cubicBezTo>
                  <a:pt x="699" y="218"/>
                  <a:pt x="670" y="190"/>
                  <a:pt x="635" y="190"/>
                </a:cubicBezTo>
                <a:cubicBezTo>
                  <a:pt x="631" y="190"/>
                  <a:pt x="627" y="190"/>
                  <a:pt x="623" y="191"/>
                </a:cubicBezTo>
                <a:cubicBezTo>
                  <a:pt x="627" y="179"/>
                  <a:pt x="629" y="166"/>
                  <a:pt x="629" y="153"/>
                </a:cubicBezTo>
                <a:cubicBezTo>
                  <a:pt x="629" y="69"/>
                  <a:pt x="552" y="0"/>
                  <a:pt x="457" y="0"/>
                </a:cubicBezTo>
                <a:cubicBezTo>
                  <a:pt x="373" y="0"/>
                  <a:pt x="304" y="53"/>
                  <a:pt x="288" y="124"/>
                </a:cubicBezTo>
                <a:cubicBezTo>
                  <a:pt x="272" y="110"/>
                  <a:pt x="252" y="102"/>
                  <a:pt x="229" y="102"/>
                </a:cubicBezTo>
                <a:cubicBezTo>
                  <a:pt x="179" y="102"/>
                  <a:pt x="138" y="143"/>
                  <a:pt x="138" y="194"/>
                </a:cubicBezTo>
                <a:cubicBezTo>
                  <a:pt x="138" y="195"/>
                  <a:pt x="138" y="197"/>
                  <a:pt x="138" y="199"/>
                </a:cubicBezTo>
                <a:cubicBezTo>
                  <a:pt x="133" y="198"/>
                  <a:pt x="133" y="198"/>
                  <a:pt x="133" y="198"/>
                </a:cubicBezTo>
                <a:cubicBezTo>
                  <a:pt x="59" y="198"/>
                  <a:pt x="0" y="257"/>
                  <a:pt x="0" y="331"/>
                </a:cubicBezTo>
                <a:cubicBezTo>
                  <a:pt x="0" y="404"/>
                  <a:pt x="59" y="464"/>
                  <a:pt x="133" y="464"/>
                </a:cubicBezTo>
                <a:cubicBezTo>
                  <a:pt x="699" y="464"/>
                  <a:pt x="699" y="464"/>
                  <a:pt x="699" y="464"/>
                </a:cubicBezTo>
                <a:cubicBezTo>
                  <a:pt x="754" y="464"/>
                  <a:pt x="799" y="419"/>
                  <a:pt x="799" y="364"/>
                </a:cubicBezTo>
                <a:cubicBezTo>
                  <a:pt x="799" y="309"/>
                  <a:pt x="754" y="264"/>
                  <a:pt x="699" y="264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28575" cap="flat" cmpd="sng" algn="ctr">
            <a:solidFill>
              <a:schemeClr val="accent1"/>
            </a:solidFill>
            <a:prstDash val="solid"/>
          </a:ln>
          <a:effectLst/>
        </p:spPr>
        <p:txBody>
          <a:bodyPr lIns="91420" tIns="45710" rIns="91420" bIns="45710" rtlCol="0" anchor="ctr"/>
          <a:lstStyle/>
          <a:p>
            <a:pPr algn="ctr" defTabSz="456706"/>
            <a:endParaRPr lang="en-US" sz="1000" kern="0" dirty="0">
              <a:solidFill>
                <a:srgbClr val="214794">
                  <a:lumMod val="75000"/>
                </a:srgbClr>
              </a:solidFill>
              <a:latin typeface="Arial"/>
            </a:endParaRPr>
          </a:p>
          <a:p>
            <a:pPr algn="ctr" defTabSz="456706"/>
            <a:r>
              <a:rPr lang="en-US" sz="1000" kern="0" dirty="0">
                <a:solidFill>
                  <a:srgbClr val="214794">
                    <a:lumMod val="75000"/>
                  </a:srgbClr>
                </a:solidFill>
                <a:latin typeface="Arial"/>
              </a:rPr>
              <a:t>WAN</a:t>
            </a:r>
          </a:p>
        </p:txBody>
      </p:sp>
      <p:grpSp>
        <p:nvGrpSpPr>
          <p:cNvPr id="129" name="Group 128"/>
          <p:cNvGrpSpPr/>
          <p:nvPr/>
        </p:nvGrpSpPr>
        <p:grpSpPr>
          <a:xfrm>
            <a:off x="3780663" y="1446919"/>
            <a:ext cx="320040" cy="320040"/>
            <a:chOff x="6948652" y="3030354"/>
            <a:chExt cx="320040" cy="320040"/>
          </a:xfrm>
        </p:grpSpPr>
        <p:sp>
          <p:nvSpPr>
            <p:cNvPr id="130" name="Oval 129"/>
            <p:cNvSpPr/>
            <p:nvPr/>
          </p:nvSpPr>
          <p:spPr bwMode="auto">
            <a:xfrm>
              <a:off x="6948652" y="3030354"/>
              <a:ext cx="320040" cy="32004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kern="0" dirty="0" err="1">
                <a:solidFill>
                  <a:srgbClr val="2968AF">
                    <a:lumMod val="50000"/>
                  </a:srgbClr>
                </a:solidFill>
                <a:latin typeface="Arial"/>
                <a:sym typeface="Arial" pitchFamily="-107" charset="0"/>
              </a:endParaRPr>
            </a:p>
          </p:txBody>
        </p:sp>
        <p:sp>
          <p:nvSpPr>
            <p:cNvPr id="131" name="Rounded Rectangle 5"/>
            <p:cNvSpPr>
              <a:spLocks noChangeAspect="1"/>
            </p:cNvSpPr>
            <p:nvPr/>
          </p:nvSpPr>
          <p:spPr>
            <a:xfrm rot="18858718" flipH="1">
              <a:off x="6987368" y="3070338"/>
              <a:ext cx="244420" cy="256032"/>
            </a:xfrm>
            <a:custGeom>
              <a:avLst/>
              <a:gdLst/>
              <a:ahLst/>
              <a:cxnLst/>
              <a:rect l="l" t="t" r="r" b="b"/>
              <a:pathLst>
                <a:path w="1650971" h="1729415">
                  <a:moveTo>
                    <a:pt x="918957" y="868058"/>
                  </a:moveTo>
                  <a:cubicBezTo>
                    <a:pt x="918957" y="906635"/>
                    <a:pt x="950230" y="937908"/>
                    <a:pt x="988807" y="937908"/>
                  </a:cubicBezTo>
                  <a:lnTo>
                    <a:pt x="1414633" y="937909"/>
                  </a:lnTo>
                  <a:lnTo>
                    <a:pt x="1368743" y="984920"/>
                  </a:lnTo>
                  <a:cubicBezTo>
                    <a:pt x="1341796" y="1012526"/>
                    <a:pt x="1342330" y="1056750"/>
                    <a:pt x="1369935" y="1083697"/>
                  </a:cubicBezTo>
                  <a:lnTo>
                    <a:pt x="1369933" y="1083697"/>
                  </a:lnTo>
                  <a:cubicBezTo>
                    <a:pt x="1397539" y="1110644"/>
                    <a:pt x="1441762" y="1110110"/>
                    <a:pt x="1468709" y="1082505"/>
                  </a:cubicBezTo>
                  <a:cubicBezTo>
                    <a:pt x="1520725" y="1029219"/>
                    <a:pt x="1572740" y="975933"/>
                    <a:pt x="1624756" y="922647"/>
                  </a:cubicBezTo>
                  <a:lnTo>
                    <a:pt x="1631912" y="911583"/>
                  </a:lnTo>
                  <a:lnTo>
                    <a:pt x="1645535" y="891596"/>
                  </a:lnTo>
                  <a:cubicBezTo>
                    <a:pt x="1656068" y="866496"/>
                    <a:pt x="1651315" y="836444"/>
                    <a:pt x="1631105" y="815740"/>
                  </a:cubicBezTo>
                  <a:lnTo>
                    <a:pt x="1475060" y="655883"/>
                  </a:lnTo>
                  <a:cubicBezTo>
                    <a:pt x="1461586" y="642080"/>
                    <a:pt x="1443793" y="635045"/>
                    <a:pt x="1425919" y="634830"/>
                  </a:cubicBezTo>
                  <a:cubicBezTo>
                    <a:pt x="1408044" y="634614"/>
                    <a:pt x="1390086" y="641217"/>
                    <a:pt x="1376284" y="654691"/>
                  </a:cubicBezTo>
                  <a:cubicBezTo>
                    <a:pt x="1348679" y="681638"/>
                    <a:pt x="1348145" y="725861"/>
                    <a:pt x="1375092" y="753467"/>
                  </a:cubicBezTo>
                  <a:lnTo>
                    <a:pt x="1418768" y="798209"/>
                  </a:lnTo>
                  <a:lnTo>
                    <a:pt x="988808" y="798209"/>
                  </a:lnTo>
                  <a:cubicBezTo>
                    <a:pt x="950231" y="798209"/>
                    <a:pt x="918958" y="829482"/>
                    <a:pt x="918958" y="868059"/>
                  </a:cubicBezTo>
                  <a:close/>
                  <a:moveTo>
                    <a:pt x="580145" y="1222453"/>
                  </a:moveTo>
                  <a:cubicBezTo>
                    <a:pt x="579929" y="1240328"/>
                    <a:pt x="586532" y="1258286"/>
                    <a:pt x="600006" y="1272088"/>
                  </a:cubicBezTo>
                  <a:cubicBezTo>
                    <a:pt x="626953" y="1299693"/>
                    <a:pt x="671176" y="1300227"/>
                    <a:pt x="698782" y="1273280"/>
                  </a:cubicBezTo>
                  <a:lnTo>
                    <a:pt x="743524" y="1229604"/>
                  </a:lnTo>
                  <a:lnTo>
                    <a:pt x="743524" y="1659564"/>
                  </a:lnTo>
                  <a:cubicBezTo>
                    <a:pt x="743524" y="1698141"/>
                    <a:pt x="774797" y="1729414"/>
                    <a:pt x="813374" y="1729414"/>
                  </a:cubicBezTo>
                  <a:lnTo>
                    <a:pt x="813373" y="1729415"/>
                  </a:lnTo>
                  <a:cubicBezTo>
                    <a:pt x="851950" y="1729415"/>
                    <a:pt x="883223" y="1698142"/>
                    <a:pt x="883223" y="1659565"/>
                  </a:cubicBezTo>
                  <a:lnTo>
                    <a:pt x="883224" y="1233739"/>
                  </a:lnTo>
                  <a:lnTo>
                    <a:pt x="930235" y="1279629"/>
                  </a:lnTo>
                  <a:cubicBezTo>
                    <a:pt x="957840" y="1306576"/>
                    <a:pt x="1002064" y="1306042"/>
                    <a:pt x="1029011" y="1278437"/>
                  </a:cubicBezTo>
                  <a:lnTo>
                    <a:pt x="1029011" y="1278439"/>
                  </a:lnTo>
                  <a:cubicBezTo>
                    <a:pt x="1055958" y="1250833"/>
                    <a:pt x="1055424" y="1206610"/>
                    <a:pt x="1027819" y="1179663"/>
                  </a:cubicBezTo>
                  <a:cubicBezTo>
                    <a:pt x="974533" y="1127647"/>
                    <a:pt x="921248" y="1075632"/>
                    <a:pt x="867962" y="1023616"/>
                  </a:cubicBezTo>
                  <a:lnTo>
                    <a:pt x="856898" y="1016460"/>
                  </a:lnTo>
                  <a:lnTo>
                    <a:pt x="836911" y="1002837"/>
                  </a:lnTo>
                  <a:cubicBezTo>
                    <a:pt x="811811" y="992304"/>
                    <a:pt x="781759" y="997057"/>
                    <a:pt x="761055" y="1017267"/>
                  </a:cubicBezTo>
                  <a:lnTo>
                    <a:pt x="601198" y="1173312"/>
                  </a:lnTo>
                  <a:cubicBezTo>
                    <a:pt x="587395" y="1186786"/>
                    <a:pt x="580360" y="1204579"/>
                    <a:pt x="580145" y="1222453"/>
                  </a:cubicBezTo>
                  <a:close/>
                  <a:moveTo>
                    <a:pt x="580145" y="506962"/>
                  </a:moveTo>
                  <a:cubicBezTo>
                    <a:pt x="580360" y="524836"/>
                    <a:pt x="587395" y="542629"/>
                    <a:pt x="601198" y="556103"/>
                  </a:cubicBezTo>
                  <a:lnTo>
                    <a:pt x="761055" y="712148"/>
                  </a:lnTo>
                  <a:cubicBezTo>
                    <a:pt x="781759" y="732358"/>
                    <a:pt x="811811" y="737111"/>
                    <a:pt x="836911" y="726578"/>
                  </a:cubicBezTo>
                  <a:lnTo>
                    <a:pt x="856898" y="712955"/>
                  </a:lnTo>
                  <a:lnTo>
                    <a:pt x="867962" y="705799"/>
                  </a:lnTo>
                  <a:cubicBezTo>
                    <a:pt x="921248" y="653783"/>
                    <a:pt x="974533" y="601768"/>
                    <a:pt x="1027819" y="549752"/>
                  </a:cubicBezTo>
                  <a:cubicBezTo>
                    <a:pt x="1055424" y="522805"/>
                    <a:pt x="1055958" y="478582"/>
                    <a:pt x="1029011" y="450976"/>
                  </a:cubicBezTo>
                  <a:lnTo>
                    <a:pt x="1029011" y="450978"/>
                  </a:lnTo>
                  <a:cubicBezTo>
                    <a:pt x="1002064" y="423373"/>
                    <a:pt x="957840" y="422839"/>
                    <a:pt x="930235" y="449786"/>
                  </a:cubicBezTo>
                  <a:lnTo>
                    <a:pt x="883224" y="495676"/>
                  </a:lnTo>
                  <a:lnTo>
                    <a:pt x="883223" y="69850"/>
                  </a:lnTo>
                  <a:cubicBezTo>
                    <a:pt x="883223" y="31273"/>
                    <a:pt x="851950" y="0"/>
                    <a:pt x="813373" y="0"/>
                  </a:cubicBezTo>
                  <a:lnTo>
                    <a:pt x="813374" y="1"/>
                  </a:lnTo>
                  <a:cubicBezTo>
                    <a:pt x="774797" y="1"/>
                    <a:pt x="743524" y="31274"/>
                    <a:pt x="743524" y="69851"/>
                  </a:cubicBezTo>
                  <a:lnTo>
                    <a:pt x="743524" y="499811"/>
                  </a:lnTo>
                  <a:lnTo>
                    <a:pt x="698782" y="456135"/>
                  </a:lnTo>
                  <a:cubicBezTo>
                    <a:pt x="671176" y="429188"/>
                    <a:pt x="626953" y="429722"/>
                    <a:pt x="600006" y="457327"/>
                  </a:cubicBezTo>
                  <a:cubicBezTo>
                    <a:pt x="586532" y="471129"/>
                    <a:pt x="579929" y="489087"/>
                    <a:pt x="580145" y="506962"/>
                  </a:cubicBezTo>
                  <a:close/>
                  <a:moveTo>
                    <a:pt x="1122" y="852020"/>
                  </a:moveTo>
                  <a:cubicBezTo>
                    <a:pt x="-1276" y="865258"/>
                    <a:pt x="169" y="879046"/>
                    <a:pt x="5435" y="891596"/>
                  </a:cubicBezTo>
                  <a:lnTo>
                    <a:pt x="19058" y="911583"/>
                  </a:lnTo>
                  <a:lnTo>
                    <a:pt x="26214" y="922647"/>
                  </a:lnTo>
                  <a:cubicBezTo>
                    <a:pt x="78230" y="975933"/>
                    <a:pt x="130245" y="1029219"/>
                    <a:pt x="182261" y="1082505"/>
                  </a:cubicBezTo>
                  <a:cubicBezTo>
                    <a:pt x="209208" y="1110110"/>
                    <a:pt x="253431" y="1110644"/>
                    <a:pt x="281037" y="1083697"/>
                  </a:cubicBezTo>
                  <a:lnTo>
                    <a:pt x="281035" y="1083697"/>
                  </a:lnTo>
                  <a:cubicBezTo>
                    <a:pt x="308640" y="1056750"/>
                    <a:pt x="309174" y="1012526"/>
                    <a:pt x="282227" y="984920"/>
                  </a:cubicBezTo>
                  <a:lnTo>
                    <a:pt x="236337" y="937909"/>
                  </a:lnTo>
                  <a:lnTo>
                    <a:pt x="662164" y="937908"/>
                  </a:lnTo>
                  <a:cubicBezTo>
                    <a:pt x="700741" y="937908"/>
                    <a:pt x="732014" y="906635"/>
                    <a:pt x="732014" y="868058"/>
                  </a:cubicBezTo>
                  <a:lnTo>
                    <a:pt x="732013" y="868059"/>
                  </a:lnTo>
                  <a:cubicBezTo>
                    <a:pt x="732013" y="829482"/>
                    <a:pt x="700740" y="798209"/>
                    <a:pt x="662163" y="798209"/>
                  </a:cubicBezTo>
                  <a:lnTo>
                    <a:pt x="232202" y="798209"/>
                  </a:lnTo>
                  <a:lnTo>
                    <a:pt x="275878" y="753467"/>
                  </a:lnTo>
                  <a:cubicBezTo>
                    <a:pt x="302825" y="725861"/>
                    <a:pt x="302291" y="681638"/>
                    <a:pt x="274686" y="654691"/>
                  </a:cubicBezTo>
                  <a:cubicBezTo>
                    <a:pt x="260884" y="641217"/>
                    <a:pt x="242926" y="634614"/>
                    <a:pt x="225051" y="634830"/>
                  </a:cubicBezTo>
                  <a:cubicBezTo>
                    <a:pt x="207177" y="635045"/>
                    <a:pt x="189384" y="642080"/>
                    <a:pt x="175910" y="655883"/>
                  </a:cubicBezTo>
                  <a:lnTo>
                    <a:pt x="19865" y="815740"/>
                  </a:lnTo>
                  <a:cubicBezTo>
                    <a:pt x="9760" y="826092"/>
                    <a:pt x="3520" y="838781"/>
                    <a:pt x="1122" y="852020"/>
                  </a:cubicBezTo>
                  <a:close/>
                </a:path>
              </a:pathLst>
            </a:cu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</p:grpSp>
      <p:cxnSp>
        <p:nvCxnSpPr>
          <p:cNvPr id="182" name="Straight Connector 181"/>
          <p:cNvCxnSpPr/>
          <p:nvPr/>
        </p:nvCxnSpPr>
        <p:spPr bwMode="auto">
          <a:xfrm flipH="1">
            <a:off x="5634187" y="2529681"/>
            <a:ext cx="945066" cy="0"/>
          </a:xfrm>
          <a:prstGeom prst="line">
            <a:avLst/>
          </a:prstGeom>
          <a:solidFill>
            <a:srgbClr val="0183B7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3" name="Freeform 182"/>
          <p:cNvSpPr>
            <a:spLocks noChangeAspect="1"/>
          </p:cNvSpPr>
          <p:nvPr/>
        </p:nvSpPr>
        <p:spPr bwMode="auto">
          <a:xfrm>
            <a:off x="6259213" y="2241811"/>
            <a:ext cx="640080" cy="380970"/>
          </a:xfrm>
          <a:custGeom>
            <a:avLst/>
            <a:gdLst>
              <a:gd name="T0" fmla="*/ 699 w 799"/>
              <a:gd name="T1" fmla="*/ 264 h 464"/>
              <a:gd name="T2" fmla="*/ 698 w 799"/>
              <a:gd name="T3" fmla="*/ 264 h 464"/>
              <a:gd name="T4" fmla="*/ 699 w 799"/>
              <a:gd name="T5" fmla="*/ 253 h 464"/>
              <a:gd name="T6" fmla="*/ 635 w 799"/>
              <a:gd name="T7" fmla="*/ 190 h 464"/>
              <a:gd name="T8" fmla="*/ 623 w 799"/>
              <a:gd name="T9" fmla="*/ 191 h 464"/>
              <a:gd name="T10" fmla="*/ 629 w 799"/>
              <a:gd name="T11" fmla="*/ 153 h 464"/>
              <a:gd name="T12" fmla="*/ 457 w 799"/>
              <a:gd name="T13" fmla="*/ 0 h 464"/>
              <a:gd name="T14" fmla="*/ 288 w 799"/>
              <a:gd name="T15" fmla="*/ 124 h 464"/>
              <a:gd name="T16" fmla="*/ 229 w 799"/>
              <a:gd name="T17" fmla="*/ 102 h 464"/>
              <a:gd name="T18" fmla="*/ 138 w 799"/>
              <a:gd name="T19" fmla="*/ 194 h 464"/>
              <a:gd name="T20" fmla="*/ 138 w 799"/>
              <a:gd name="T21" fmla="*/ 199 h 464"/>
              <a:gd name="T22" fmla="*/ 133 w 799"/>
              <a:gd name="T23" fmla="*/ 198 h 464"/>
              <a:gd name="T24" fmla="*/ 0 w 799"/>
              <a:gd name="T25" fmla="*/ 331 h 464"/>
              <a:gd name="T26" fmla="*/ 133 w 799"/>
              <a:gd name="T27" fmla="*/ 464 h 464"/>
              <a:gd name="T28" fmla="*/ 699 w 799"/>
              <a:gd name="T29" fmla="*/ 464 h 464"/>
              <a:gd name="T30" fmla="*/ 799 w 799"/>
              <a:gd name="T31" fmla="*/ 364 h 464"/>
              <a:gd name="T32" fmla="*/ 699 w 799"/>
              <a:gd name="T33" fmla="*/ 264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99" h="464">
                <a:moveTo>
                  <a:pt x="699" y="264"/>
                </a:moveTo>
                <a:cubicBezTo>
                  <a:pt x="698" y="264"/>
                  <a:pt x="698" y="264"/>
                  <a:pt x="698" y="264"/>
                </a:cubicBezTo>
                <a:cubicBezTo>
                  <a:pt x="698" y="260"/>
                  <a:pt x="699" y="257"/>
                  <a:pt x="699" y="253"/>
                </a:cubicBezTo>
                <a:cubicBezTo>
                  <a:pt x="699" y="218"/>
                  <a:pt x="670" y="190"/>
                  <a:pt x="635" y="190"/>
                </a:cubicBezTo>
                <a:cubicBezTo>
                  <a:pt x="631" y="190"/>
                  <a:pt x="627" y="190"/>
                  <a:pt x="623" y="191"/>
                </a:cubicBezTo>
                <a:cubicBezTo>
                  <a:pt x="627" y="179"/>
                  <a:pt x="629" y="166"/>
                  <a:pt x="629" y="153"/>
                </a:cubicBezTo>
                <a:cubicBezTo>
                  <a:pt x="629" y="69"/>
                  <a:pt x="552" y="0"/>
                  <a:pt x="457" y="0"/>
                </a:cubicBezTo>
                <a:cubicBezTo>
                  <a:pt x="373" y="0"/>
                  <a:pt x="304" y="53"/>
                  <a:pt x="288" y="124"/>
                </a:cubicBezTo>
                <a:cubicBezTo>
                  <a:pt x="272" y="110"/>
                  <a:pt x="252" y="102"/>
                  <a:pt x="229" y="102"/>
                </a:cubicBezTo>
                <a:cubicBezTo>
                  <a:pt x="179" y="102"/>
                  <a:pt x="138" y="143"/>
                  <a:pt x="138" y="194"/>
                </a:cubicBezTo>
                <a:cubicBezTo>
                  <a:pt x="138" y="195"/>
                  <a:pt x="138" y="197"/>
                  <a:pt x="138" y="199"/>
                </a:cubicBezTo>
                <a:cubicBezTo>
                  <a:pt x="133" y="198"/>
                  <a:pt x="133" y="198"/>
                  <a:pt x="133" y="198"/>
                </a:cubicBezTo>
                <a:cubicBezTo>
                  <a:pt x="59" y="198"/>
                  <a:pt x="0" y="257"/>
                  <a:pt x="0" y="331"/>
                </a:cubicBezTo>
                <a:cubicBezTo>
                  <a:pt x="0" y="404"/>
                  <a:pt x="59" y="464"/>
                  <a:pt x="133" y="464"/>
                </a:cubicBezTo>
                <a:cubicBezTo>
                  <a:pt x="699" y="464"/>
                  <a:pt x="699" y="464"/>
                  <a:pt x="699" y="464"/>
                </a:cubicBezTo>
                <a:cubicBezTo>
                  <a:pt x="754" y="464"/>
                  <a:pt x="799" y="419"/>
                  <a:pt x="799" y="364"/>
                </a:cubicBezTo>
                <a:cubicBezTo>
                  <a:pt x="799" y="309"/>
                  <a:pt x="754" y="264"/>
                  <a:pt x="699" y="264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28575" cap="flat" cmpd="sng" algn="ctr">
            <a:solidFill>
              <a:schemeClr val="accent1"/>
            </a:solidFill>
            <a:prstDash val="solid"/>
          </a:ln>
          <a:effectLst/>
        </p:spPr>
        <p:txBody>
          <a:bodyPr lIns="91420" tIns="45710" rIns="91420" bIns="45710" rtlCol="0" anchor="ctr"/>
          <a:lstStyle/>
          <a:p>
            <a:pPr algn="ctr" defTabSz="456706"/>
            <a:endParaRPr lang="en-US" sz="1000" kern="0" dirty="0">
              <a:solidFill>
                <a:srgbClr val="214794">
                  <a:lumMod val="75000"/>
                </a:srgbClr>
              </a:solidFill>
              <a:latin typeface="Arial"/>
            </a:endParaRPr>
          </a:p>
          <a:p>
            <a:pPr algn="ctr" defTabSz="456706"/>
            <a:r>
              <a:rPr lang="en-US" sz="1000" kern="0" dirty="0">
                <a:solidFill>
                  <a:srgbClr val="214794">
                    <a:lumMod val="75000"/>
                  </a:srgbClr>
                </a:solidFill>
                <a:latin typeface="Arial"/>
              </a:rPr>
              <a:t>Internet</a:t>
            </a:r>
          </a:p>
        </p:txBody>
      </p:sp>
      <p:grpSp>
        <p:nvGrpSpPr>
          <p:cNvPr id="184" name="Group 183"/>
          <p:cNvGrpSpPr/>
          <p:nvPr/>
        </p:nvGrpSpPr>
        <p:grpSpPr>
          <a:xfrm>
            <a:off x="5335908" y="2326389"/>
            <a:ext cx="320040" cy="320040"/>
            <a:chOff x="6948652" y="3030354"/>
            <a:chExt cx="320040" cy="320040"/>
          </a:xfrm>
        </p:grpSpPr>
        <p:sp>
          <p:nvSpPr>
            <p:cNvPr id="185" name="Oval 184"/>
            <p:cNvSpPr/>
            <p:nvPr/>
          </p:nvSpPr>
          <p:spPr bwMode="auto">
            <a:xfrm>
              <a:off x="6948652" y="3030354"/>
              <a:ext cx="320040" cy="32004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kern="0" dirty="0" err="1">
                <a:solidFill>
                  <a:srgbClr val="2968AF">
                    <a:lumMod val="50000"/>
                  </a:srgbClr>
                </a:solidFill>
                <a:latin typeface="Arial"/>
                <a:sym typeface="Arial" pitchFamily="-107" charset="0"/>
              </a:endParaRPr>
            </a:p>
          </p:txBody>
        </p:sp>
        <p:sp>
          <p:nvSpPr>
            <p:cNvPr id="186" name="Rounded Rectangle 5"/>
            <p:cNvSpPr>
              <a:spLocks noChangeAspect="1"/>
            </p:cNvSpPr>
            <p:nvPr/>
          </p:nvSpPr>
          <p:spPr>
            <a:xfrm rot="18858718" flipH="1">
              <a:off x="6987368" y="3070338"/>
              <a:ext cx="244420" cy="256032"/>
            </a:xfrm>
            <a:custGeom>
              <a:avLst/>
              <a:gdLst/>
              <a:ahLst/>
              <a:cxnLst/>
              <a:rect l="l" t="t" r="r" b="b"/>
              <a:pathLst>
                <a:path w="1650971" h="1729415">
                  <a:moveTo>
                    <a:pt x="918957" y="868058"/>
                  </a:moveTo>
                  <a:cubicBezTo>
                    <a:pt x="918957" y="906635"/>
                    <a:pt x="950230" y="937908"/>
                    <a:pt x="988807" y="937908"/>
                  </a:cubicBezTo>
                  <a:lnTo>
                    <a:pt x="1414633" y="937909"/>
                  </a:lnTo>
                  <a:lnTo>
                    <a:pt x="1368743" y="984920"/>
                  </a:lnTo>
                  <a:cubicBezTo>
                    <a:pt x="1341796" y="1012526"/>
                    <a:pt x="1342330" y="1056750"/>
                    <a:pt x="1369935" y="1083697"/>
                  </a:cubicBezTo>
                  <a:lnTo>
                    <a:pt x="1369933" y="1083697"/>
                  </a:lnTo>
                  <a:cubicBezTo>
                    <a:pt x="1397539" y="1110644"/>
                    <a:pt x="1441762" y="1110110"/>
                    <a:pt x="1468709" y="1082505"/>
                  </a:cubicBezTo>
                  <a:cubicBezTo>
                    <a:pt x="1520725" y="1029219"/>
                    <a:pt x="1572740" y="975933"/>
                    <a:pt x="1624756" y="922647"/>
                  </a:cubicBezTo>
                  <a:lnTo>
                    <a:pt x="1631912" y="911583"/>
                  </a:lnTo>
                  <a:lnTo>
                    <a:pt x="1645535" y="891596"/>
                  </a:lnTo>
                  <a:cubicBezTo>
                    <a:pt x="1656068" y="866496"/>
                    <a:pt x="1651315" y="836444"/>
                    <a:pt x="1631105" y="815740"/>
                  </a:cubicBezTo>
                  <a:lnTo>
                    <a:pt x="1475060" y="655883"/>
                  </a:lnTo>
                  <a:cubicBezTo>
                    <a:pt x="1461586" y="642080"/>
                    <a:pt x="1443793" y="635045"/>
                    <a:pt x="1425919" y="634830"/>
                  </a:cubicBezTo>
                  <a:cubicBezTo>
                    <a:pt x="1408044" y="634614"/>
                    <a:pt x="1390086" y="641217"/>
                    <a:pt x="1376284" y="654691"/>
                  </a:cubicBezTo>
                  <a:cubicBezTo>
                    <a:pt x="1348679" y="681638"/>
                    <a:pt x="1348145" y="725861"/>
                    <a:pt x="1375092" y="753467"/>
                  </a:cubicBezTo>
                  <a:lnTo>
                    <a:pt x="1418768" y="798209"/>
                  </a:lnTo>
                  <a:lnTo>
                    <a:pt x="988808" y="798209"/>
                  </a:lnTo>
                  <a:cubicBezTo>
                    <a:pt x="950231" y="798209"/>
                    <a:pt x="918958" y="829482"/>
                    <a:pt x="918958" y="868059"/>
                  </a:cubicBezTo>
                  <a:close/>
                  <a:moveTo>
                    <a:pt x="580145" y="1222453"/>
                  </a:moveTo>
                  <a:cubicBezTo>
                    <a:pt x="579929" y="1240328"/>
                    <a:pt x="586532" y="1258286"/>
                    <a:pt x="600006" y="1272088"/>
                  </a:cubicBezTo>
                  <a:cubicBezTo>
                    <a:pt x="626953" y="1299693"/>
                    <a:pt x="671176" y="1300227"/>
                    <a:pt x="698782" y="1273280"/>
                  </a:cubicBezTo>
                  <a:lnTo>
                    <a:pt x="743524" y="1229604"/>
                  </a:lnTo>
                  <a:lnTo>
                    <a:pt x="743524" y="1659564"/>
                  </a:lnTo>
                  <a:cubicBezTo>
                    <a:pt x="743524" y="1698141"/>
                    <a:pt x="774797" y="1729414"/>
                    <a:pt x="813374" y="1729414"/>
                  </a:cubicBezTo>
                  <a:lnTo>
                    <a:pt x="813373" y="1729415"/>
                  </a:lnTo>
                  <a:cubicBezTo>
                    <a:pt x="851950" y="1729415"/>
                    <a:pt x="883223" y="1698142"/>
                    <a:pt x="883223" y="1659565"/>
                  </a:cubicBezTo>
                  <a:lnTo>
                    <a:pt x="883224" y="1233739"/>
                  </a:lnTo>
                  <a:lnTo>
                    <a:pt x="930235" y="1279629"/>
                  </a:lnTo>
                  <a:cubicBezTo>
                    <a:pt x="957840" y="1306576"/>
                    <a:pt x="1002064" y="1306042"/>
                    <a:pt x="1029011" y="1278437"/>
                  </a:cubicBezTo>
                  <a:lnTo>
                    <a:pt x="1029011" y="1278439"/>
                  </a:lnTo>
                  <a:cubicBezTo>
                    <a:pt x="1055958" y="1250833"/>
                    <a:pt x="1055424" y="1206610"/>
                    <a:pt x="1027819" y="1179663"/>
                  </a:cubicBezTo>
                  <a:cubicBezTo>
                    <a:pt x="974533" y="1127647"/>
                    <a:pt x="921248" y="1075632"/>
                    <a:pt x="867962" y="1023616"/>
                  </a:cubicBezTo>
                  <a:lnTo>
                    <a:pt x="856898" y="1016460"/>
                  </a:lnTo>
                  <a:lnTo>
                    <a:pt x="836911" y="1002837"/>
                  </a:lnTo>
                  <a:cubicBezTo>
                    <a:pt x="811811" y="992304"/>
                    <a:pt x="781759" y="997057"/>
                    <a:pt x="761055" y="1017267"/>
                  </a:cubicBezTo>
                  <a:lnTo>
                    <a:pt x="601198" y="1173312"/>
                  </a:lnTo>
                  <a:cubicBezTo>
                    <a:pt x="587395" y="1186786"/>
                    <a:pt x="580360" y="1204579"/>
                    <a:pt x="580145" y="1222453"/>
                  </a:cubicBezTo>
                  <a:close/>
                  <a:moveTo>
                    <a:pt x="580145" y="506962"/>
                  </a:moveTo>
                  <a:cubicBezTo>
                    <a:pt x="580360" y="524836"/>
                    <a:pt x="587395" y="542629"/>
                    <a:pt x="601198" y="556103"/>
                  </a:cubicBezTo>
                  <a:lnTo>
                    <a:pt x="761055" y="712148"/>
                  </a:lnTo>
                  <a:cubicBezTo>
                    <a:pt x="781759" y="732358"/>
                    <a:pt x="811811" y="737111"/>
                    <a:pt x="836911" y="726578"/>
                  </a:cubicBezTo>
                  <a:lnTo>
                    <a:pt x="856898" y="712955"/>
                  </a:lnTo>
                  <a:lnTo>
                    <a:pt x="867962" y="705799"/>
                  </a:lnTo>
                  <a:cubicBezTo>
                    <a:pt x="921248" y="653783"/>
                    <a:pt x="974533" y="601768"/>
                    <a:pt x="1027819" y="549752"/>
                  </a:cubicBezTo>
                  <a:cubicBezTo>
                    <a:pt x="1055424" y="522805"/>
                    <a:pt x="1055958" y="478582"/>
                    <a:pt x="1029011" y="450976"/>
                  </a:cubicBezTo>
                  <a:lnTo>
                    <a:pt x="1029011" y="450978"/>
                  </a:lnTo>
                  <a:cubicBezTo>
                    <a:pt x="1002064" y="423373"/>
                    <a:pt x="957840" y="422839"/>
                    <a:pt x="930235" y="449786"/>
                  </a:cubicBezTo>
                  <a:lnTo>
                    <a:pt x="883224" y="495676"/>
                  </a:lnTo>
                  <a:lnTo>
                    <a:pt x="883223" y="69850"/>
                  </a:lnTo>
                  <a:cubicBezTo>
                    <a:pt x="883223" y="31273"/>
                    <a:pt x="851950" y="0"/>
                    <a:pt x="813373" y="0"/>
                  </a:cubicBezTo>
                  <a:lnTo>
                    <a:pt x="813374" y="1"/>
                  </a:lnTo>
                  <a:cubicBezTo>
                    <a:pt x="774797" y="1"/>
                    <a:pt x="743524" y="31274"/>
                    <a:pt x="743524" y="69851"/>
                  </a:cubicBezTo>
                  <a:lnTo>
                    <a:pt x="743524" y="499811"/>
                  </a:lnTo>
                  <a:lnTo>
                    <a:pt x="698782" y="456135"/>
                  </a:lnTo>
                  <a:cubicBezTo>
                    <a:pt x="671176" y="429188"/>
                    <a:pt x="626953" y="429722"/>
                    <a:pt x="600006" y="457327"/>
                  </a:cubicBezTo>
                  <a:cubicBezTo>
                    <a:pt x="586532" y="471129"/>
                    <a:pt x="579929" y="489087"/>
                    <a:pt x="580145" y="506962"/>
                  </a:cubicBezTo>
                  <a:close/>
                  <a:moveTo>
                    <a:pt x="1122" y="852020"/>
                  </a:moveTo>
                  <a:cubicBezTo>
                    <a:pt x="-1276" y="865258"/>
                    <a:pt x="169" y="879046"/>
                    <a:pt x="5435" y="891596"/>
                  </a:cubicBezTo>
                  <a:lnTo>
                    <a:pt x="19058" y="911583"/>
                  </a:lnTo>
                  <a:lnTo>
                    <a:pt x="26214" y="922647"/>
                  </a:lnTo>
                  <a:cubicBezTo>
                    <a:pt x="78230" y="975933"/>
                    <a:pt x="130245" y="1029219"/>
                    <a:pt x="182261" y="1082505"/>
                  </a:cubicBezTo>
                  <a:cubicBezTo>
                    <a:pt x="209208" y="1110110"/>
                    <a:pt x="253431" y="1110644"/>
                    <a:pt x="281037" y="1083697"/>
                  </a:cubicBezTo>
                  <a:lnTo>
                    <a:pt x="281035" y="1083697"/>
                  </a:lnTo>
                  <a:cubicBezTo>
                    <a:pt x="308640" y="1056750"/>
                    <a:pt x="309174" y="1012526"/>
                    <a:pt x="282227" y="984920"/>
                  </a:cubicBezTo>
                  <a:lnTo>
                    <a:pt x="236337" y="937909"/>
                  </a:lnTo>
                  <a:lnTo>
                    <a:pt x="662164" y="937908"/>
                  </a:lnTo>
                  <a:cubicBezTo>
                    <a:pt x="700741" y="937908"/>
                    <a:pt x="732014" y="906635"/>
                    <a:pt x="732014" y="868058"/>
                  </a:cubicBezTo>
                  <a:lnTo>
                    <a:pt x="732013" y="868059"/>
                  </a:lnTo>
                  <a:cubicBezTo>
                    <a:pt x="732013" y="829482"/>
                    <a:pt x="700740" y="798209"/>
                    <a:pt x="662163" y="798209"/>
                  </a:cubicBezTo>
                  <a:lnTo>
                    <a:pt x="232202" y="798209"/>
                  </a:lnTo>
                  <a:lnTo>
                    <a:pt x="275878" y="753467"/>
                  </a:lnTo>
                  <a:cubicBezTo>
                    <a:pt x="302825" y="725861"/>
                    <a:pt x="302291" y="681638"/>
                    <a:pt x="274686" y="654691"/>
                  </a:cubicBezTo>
                  <a:cubicBezTo>
                    <a:pt x="260884" y="641217"/>
                    <a:pt x="242926" y="634614"/>
                    <a:pt x="225051" y="634830"/>
                  </a:cubicBezTo>
                  <a:cubicBezTo>
                    <a:pt x="207177" y="635045"/>
                    <a:pt x="189384" y="642080"/>
                    <a:pt x="175910" y="655883"/>
                  </a:cubicBezTo>
                  <a:lnTo>
                    <a:pt x="19865" y="815740"/>
                  </a:lnTo>
                  <a:cubicBezTo>
                    <a:pt x="9760" y="826092"/>
                    <a:pt x="3520" y="838781"/>
                    <a:pt x="1122" y="852020"/>
                  </a:cubicBezTo>
                  <a:close/>
                </a:path>
              </a:pathLst>
            </a:cu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238" name="Group 237"/>
          <p:cNvGrpSpPr/>
          <p:nvPr/>
        </p:nvGrpSpPr>
        <p:grpSpPr>
          <a:xfrm>
            <a:off x="6608143" y="1458285"/>
            <a:ext cx="320040" cy="320040"/>
            <a:chOff x="6948652" y="3030354"/>
            <a:chExt cx="320040" cy="320040"/>
          </a:xfrm>
        </p:grpSpPr>
        <p:sp>
          <p:nvSpPr>
            <p:cNvPr id="239" name="Oval 238"/>
            <p:cNvSpPr/>
            <p:nvPr/>
          </p:nvSpPr>
          <p:spPr bwMode="auto">
            <a:xfrm>
              <a:off x="6948652" y="3030354"/>
              <a:ext cx="320040" cy="32004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wrap="square" lIns="91420" tIns="45710" rIns="91420" bIns="45710" rtlCol="0" anchor="ctr">
              <a:noAutofit/>
            </a:bodyPr>
            <a:lstStyle/>
            <a:p>
              <a:pPr algn="ctr" defTabSz="456706"/>
              <a:endParaRPr lang="en-US" kern="0" dirty="0" err="1">
                <a:solidFill>
                  <a:srgbClr val="2968AF">
                    <a:lumMod val="50000"/>
                  </a:srgbClr>
                </a:solidFill>
                <a:latin typeface="Arial"/>
                <a:sym typeface="Arial" pitchFamily="-107" charset="0"/>
              </a:endParaRPr>
            </a:p>
          </p:txBody>
        </p:sp>
        <p:sp>
          <p:nvSpPr>
            <p:cNvPr id="240" name="Rounded Rectangle 5"/>
            <p:cNvSpPr>
              <a:spLocks noChangeAspect="1"/>
            </p:cNvSpPr>
            <p:nvPr/>
          </p:nvSpPr>
          <p:spPr>
            <a:xfrm rot="18858718" flipH="1">
              <a:off x="6987368" y="3070338"/>
              <a:ext cx="244420" cy="256032"/>
            </a:xfrm>
            <a:custGeom>
              <a:avLst/>
              <a:gdLst/>
              <a:ahLst/>
              <a:cxnLst/>
              <a:rect l="l" t="t" r="r" b="b"/>
              <a:pathLst>
                <a:path w="1650971" h="1729415">
                  <a:moveTo>
                    <a:pt x="918957" y="868058"/>
                  </a:moveTo>
                  <a:cubicBezTo>
                    <a:pt x="918957" y="906635"/>
                    <a:pt x="950230" y="937908"/>
                    <a:pt x="988807" y="937908"/>
                  </a:cubicBezTo>
                  <a:lnTo>
                    <a:pt x="1414633" y="937909"/>
                  </a:lnTo>
                  <a:lnTo>
                    <a:pt x="1368743" y="984920"/>
                  </a:lnTo>
                  <a:cubicBezTo>
                    <a:pt x="1341796" y="1012526"/>
                    <a:pt x="1342330" y="1056750"/>
                    <a:pt x="1369935" y="1083697"/>
                  </a:cubicBezTo>
                  <a:lnTo>
                    <a:pt x="1369933" y="1083697"/>
                  </a:lnTo>
                  <a:cubicBezTo>
                    <a:pt x="1397539" y="1110644"/>
                    <a:pt x="1441762" y="1110110"/>
                    <a:pt x="1468709" y="1082505"/>
                  </a:cubicBezTo>
                  <a:cubicBezTo>
                    <a:pt x="1520725" y="1029219"/>
                    <a:pt x="1572740" y="975933"/>
                    <a:pt x="1624756" y="922647"/>
                  </a:cubicBezTo>
                  <a:lnTo>
                    <a:pt x="1631912" y="911583"/>
                  </a:lnTo>
                  <a:lnTo>
                    <a:pt x="1645535" y="891596"/>
                  </a:lnTo>
                  <a:cubicBezTo>
                    <a:pt x="1656068" y="866496"/>
                    <a:pt x="1651315" y="836444"/>
                    <a:pt x="1631105" y="815740"/>
                  </a:cubicBezTo>
                  <a:lnTo>
                    <a:pt x="1475060" y="655883"/>
                  </a:lnTo>
                  <a:cubicBezTo>
                    <a:pt x="1461586" y="642080"/>
                    <a:pt x="1443793" y="635045"/>
                    <a:pt x="1425919" y="634830"/>
                  </a:cubicBezTo>
                  <a:cubicBezTo>
                    <a:pt x="1408044" y="634614"/>
                    <a:pt x="1390086" y="641217"/>
                    <a:pt x="1376284" y="654691"/>
                  </a:cubicBezTo>
                  <a:cubicBezTo>
                    <a:pt x="1348679" y="681638"/>
                    <a:pt x="1348145" y="725861"/>
                    <a:pt x="1375092" y="753467"/>
                  </a:cubicBezTo>
                  <a:lnTo>
                    <a:pt x="1418768" y="798209"/>
                  </a:lnTo>
                  <a:lnTo>
                    <a:pt x="988808" y="798209"/>
                  </a:lnTo>
                  <a:cubicBezTo>
                    <a:pt x="950231" y="798209"/>
                    <a:pt x="918958" y="829482"/>
                    <a:pt x="918958" y="868059"/>
                  </a:cubicBezTo>
                  <a:close/>
                  <a:moveTo>
                    <a:pt x="580145" y="1222453"/>
                  </a:moveTo>
                  <a:cubicBezTo>
                    <a:pt x="579929" y="1240328"/>
                    <a:pt x="586532" y="1258286"/>
                    <a:pt x="600006" y="1272088"/>
                  </a:cubicBezTo>
                  <a:cubicBezTo>
                    <a:pt x="626953" y="1299693"/>
                    <a:pt x="671176" y="1300227"/>
                    <a:pt x="698782" y="1273280"/>
                  </a:cubicBezTo>
                  <a:lnTo>
                    <a:pt x="743524" y="1229604"/>
                  </a:lnTo>
                  <a:lnTo>
                    <a:pt x="743524" y="1659564"/>
                  </a:lnTo>
                  <a:cubicBezTo>
                    <a:pt x="743524" y="1698141"/>
                    <a:pt x="774797" y="1729414"/>
                    <a:pt x="813374" y="1729414"/>
                  </a:cubicBezTo>
                  <a:lnTo>
                    <a:pt x="813373" y="1729415"/>
                  </a:lnTo>
                  <a:cubicBezTo>
                    <a:pt x="851950" y="1729415"/>
                    <a:pt x="883223" y="1698142"/>
                    <a:pt x="883223" y="1659565"/>
                  </a:cubicBezTo>
                  <a:lnTo>
                    <a:pt x="883224" y="1233739"/>
                  </a:lnTo>
                  <a:lnTo>
                    <a:pt x="930235" y="1279629"/>
                  </a:lnTo>
                  <a:cubicBezTo>
                    <a:pt x="957840" y="1306576"/>
                    <a:pt x="1002064" y="1306042"/>
                    <a:pt x="1029011" y="1278437"/>
                  </a:cubicBezTo>
                  <a:lnTo>
                    <a:pt x="1029011" y="1278439"/>
                  </a:lnTo>
                  <a:cubicBezTo>
                    <a:pt x="1055958" y="1250833"/>
                    <a:pt x="1055424" y="1206610"/>
                    <a:pt x="1027819" y="1179663"/>
                  </a:cubicBezTo>
                  <a:cubicBezTo>
                    <a:pt x="974533" y="1127647"/>
                    <a:pt x="921248" y="1075632"/>
                    <a:pt x="867962" y="1023616"/>
                  </a:cubicBezTo>
                  <a:lnTo>
                    <a:pt x="856898" y="1016460"/>
                  </a:lnTo>
                  <a:lnTo>
                    <a:pt x="836911" y="1002837"/>
                  </a:lnTo>
                  <a:cubicBezTo>
                    <a:pt x="811811" y="992304"/>
                    <a:pt x="781759" y="997057"/>
                    <a:pt x="761055" y="1017267"/>
                  </a:cubicBezTo>
                  <a:lnTo>
                    <a:pt x="601198" y="1173312"/>
                  </a:lnTo>
                  <a:cubicBezTo>
                    <a:pt x="587395" y="1186786"/>
                    <a:pt x="580360" y="1204579"/>
                    <a:pt x="580145" y="1222453"/>
                  </a:cubicBezTo>
                  <a:close/>
                  <a:moveTo>
                    <a:pt x="580145" y="506962"/>
                  </a:moveTo>
                  <a:cubicBezTo>
                    <a:pt x="580360" y="524836"/>
                    <a:pt x="587395" y="542629"/>
                    <a:pt x="601198" y="556103"/>
                  </a:cubicBezTo>
                  <a:lnTo>
                    <a:pt x="761055" y="712148"/>
                  </a:lnTo>
                  <a:cubicBezTo>
                    <a:pt x="781759" y="732358"/>
                    <a:pt x="811811" y="737111"/>
                    <a:pt x="836911" y="726578"/>
                  </a:cubicBezTo>
                  <a:lnTo>
                    <a:pt x="856898" y="712955"/>
                  </a:lnTo>
                  <a:lnTo>
                    <a:pt x="867962" y="705799"/>
                  </a:lnTo>
                  <a:cubicBezTo>
                    <a:pt x="921248" y="653783"/>
                    <a:pt x="974533" y="601768"/>
                    <a:pt x="1027819" y="549752"/>
                  </a:cubicBezTo>
                  <a:cubicBezTo>
                    <a:pt x="1055424" y="522805"/>
                    <a:pt x="1055958" y="478582"/>
                    <a:pt x="1029011" y="450976"/>
                  </a:cubicBezTo>
                  <a:lnTo>
                    <a:pt x="1029011" y="450978"/>
                  </a:lnTo>
                  <a:cubicBezTo>
                    <a:pt x="1002064" y="423373"/>
                    <a:pt x="957840" y="422839"/>
                    <a:pt x="930235" y="449786"/>
                  </a:cubicBezTo>
                  <a:lnTo>
                    <a:pt x="883224" y="495676"/>
                  </a:lnTo>
                  <a:lnTo>
                    <a:pt x="883223" y="69850"/>
                  </a:lnTo>
                  <a:cubicBezTo>
                    <a:pt x="883223" y="31273"/>
                    <a:pt x="851950" y="0"/>
                    <a:pt x="813373" y="0"/>
                  </a:cubicBezTo>
                  <a:lnTo>
                    <a:pt x="813374" y="1"/>
                  </a:lnTo>
                  <a:cubicBezTo>
                    <a:pt x="774797" y="1"/>
                    <a:pt x="743524" y="31274"/>
                    <a:pt x="743524" y="69851"/>
                  </a:cubicBezTo>
                  <a:lnTo>
                    <a:pt x="743524" y="499811"/>
                  </a:lnTo>
                  <a:lnTo>
                    <a:pt x="698782" y="456135"/>
                  </a:lnTo>
                  <a:cubicBezTo>
                    <a:pt x="671176" y="429188"/>
                    <a:pt x="626953" y="429722"/>
                    <a:pt x="600006" y="457327"/>
                  </a:cubicBezTo>
                  <a:cubicBezTo>
                    <a:pt x="586532" y="471129"/>
                    <a:pt x="579929" y="489087"/>
                    <a:pt x="580145" y="506962"/>
                  </a:cubicBezTo>
                  <a:close/>
                  <a:moveTo>
                    <a:pt x="1122" y="852020"/>
                  </a:moveTo>
                  <a:cubicBezTo>
                    <a:pt x="-1276" y="865258"/>
                    <a:pt x="169" y="879046"/>
                    <a:pt x="5435" y="891596"/>
                  </a:cubicBezTo>
                  <a:lnTo>
                    <a:pt x="19058" y="911583"/>
                  </a:lnTo>
                  <a:lnTo>
                    <a:pt x="26214" y="922647"/>
                  </a:lnTo>
                  <a:cubicBezTo>
                    <a:pt x="78230" y="975933"/>
                    <a:pt x="130245" y="1029219"/>
                    <a:pt x="182261" y="1082505"/>
                  </a:cubicBezTo>
                  <a:cubicBezTo>
                    <a:pt x="209208" y="1110110"/>
                    <a:pt x="253431" y="1110644"/>
                    <a:pt x="281037" y="1083697"/>
                  </a:cubicBezTo>
                  <a:lnTo>
                    <a:pt x="281035" y="1083697"/>
                  </a:lnTo>
                  <a:cubicBezTo>
                    <a:pt x="308640" y="1056750"/>
                    <a:pt x="309174" y="1012526"/>
                    <a:pt x="282227" y="984920"/>
                  </a:cubicBezTo>
                  <a:lnTo>
                    <a:pt x="236337" y="937909"/>
                  </a:lnTo>
                  <a:lnTo>
                    <a:pt x="662164" y="937908"/>
                  </a:lnTo>
                  <a:cubicBezTo>
                    <a:pt x="700741" y="937908"/>
                    <a:pt x="732014" y="906635"/>
                    <a:pt x="732014" y="868058"/>
                  </a:cubicBezTo>
                  <a:lnTo>
                    <a:pt x="732013" y="868059"/>
                  </a:lnTo>
                  <a:cubicBezTo>
                    <a:pt x="732013" y="829482"/>
                    <a:pt x="700740" y="798209"/>
                    <a:pt x="662163" y="798209"/>
                  </a:cubicBezTo>
                  <a:lnTo>
                    <a:pt x="232202" y="798209"/>
                  </a:lnTo>
                  <a:lnTo>
                    <a:pt x="275878" y="753467"/>
                  </a:lnTo>
                  <a:cubicBezTo>
                    <a:pt x="302825" y="725861"/>
                    <a:pt x="302291" y="681638"/>
                    <a:pt x="274686" y="654691"/>
                  </a:cubicBezTo>
                  <a:cubicBezTo>
                    <a:pt x="260884" y="641217"/>
                    <a:pt x="242926" y="634614"/>
                    <a:pt x="225051" y="634830"/>
                  </a:cubicBezTo>
                  <a:cubicBezTo>
                    <a:pt x="207177" y="635045"/>
                    <a:pt x="189384" y="642080"/>
                    <a:pt x="175910" y="655883"/>
                  </a:cubicBezTo>
                  <a:lnTo>
                    <a:pt x="19865" y="815740"/>
                  </a:lnTo>
                  <a:cubicBezTo>
                    <a:pt x="9760" y="826092"/>
                    <a:pt x="3520" y="838781"/>
                    <a:pt x="1122" y="852020"/>
                  </a:cubicBezTo>
                  <a:close/>
                </a:path>
              </a:pathLst>
            </a:cu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258" name="TextBox 257"/>
          <p:cNvSpPr txBox="1"/>
          <p:nvPr/>
        </p:nvSpPr>
        <p:spPr>
          <a:xfrm>
            <a:off x="5553226" y="1804129"/>
            <a:ext cx="769763" cy="2723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300" smtClean="0">
                <a:solidFill>
                  <a:srgbClr val="676767">
                    <a:lumMod val="50000"/>
                  </a:srgbClr>
                </a:solidFill>
              </a:rPr>
              <a:t>Routers</a:t>
            </a:r>
          </a:p>
        </p:txBody>
      </p:sp>
      <p:grpSp>
        <p:nvGrpSpPr>
          <p:cNvPr id="259" name="Group 258"/>
          <p:cNvGrpSpPr>
            <a:grpSpLocks noChangeAspect="1"/>
          </p:cNvGrpSpPr>
          <p:nvPr/>
        </p:nvGrpSpPr>
        <p:grpSpPr>
          <a:xfrm>
            <a:off x="3939655" y="4267175"/>
            <a:ext cx="416418" cy="416418"/>
            <a:chOff x="812959" y="2728302"/>
            <a:chExt cx="496425" cy="496425"/>
          </a:xfrm>
        </p:grpSpPr>
        <p:sp>
          <p:nvSpPr>
            <p:cNvPr id="260" name="Oval 259"/>
            <p:cNvSpPr/>
            <p:nvPr/>
          </p:nvSpPr>
          <p:spPr>
            <a:xfrm>
              <a:off x="812959" y="2728302"/>
              <a:ext cx="496425" cy="496425"/>
            </a:xfrm>
            <a:prstGeom prst="ellipse">
              <a:avLst/>
            </a:prstGeom>
            <a:solidFill>
              <a:schemeClr val="accent1"/>
            </a:solidFill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61" name="Oval 6"/>
            <p:cNvSpPr>
              <a:spLocks noChangeAspect="1"/>
            </p:cNvSpPr>
            <p:nvPr/>
          </p:nvSpPr>
          <p:spPr>
            <a:xfrm>
              <a:off x="900684" y="2779320"/>
              <a:ext cx="329184" cy="365024"/>
            </a:xfrm>
            <a:custGeom>
              <a:avLst/>
              <a:gdLst/>
              <a:ahLst/>
              <a:cxnLst/>
              <a:rect l="l" t="t" r="r" b="b"/>
              <a:pathLst>
                <a:path w="4766011" h="5284916">
                  <a:moveTo>
                    <a:pt x="893440" y="5081078"/>
                  </a:moveTo>
                  <a:lnTo>
                    <a:pt x="3966235" y="5081078"/>
                  </a:lnTo>
                  <a:cubicBezTo>
                    <a:pt x="4022523" y="5081078"/>
                    <a:pt x="4068154" y="5126709"/>
                    <a:pt x="4068154" y="5182997"/>
                  </a:cubicBezTo>
                  <a:cubicBezTo>
                    <a:pt x="4068154" y="5239285"/>
                    <a:pt x="4022523" y="5284916"/>
                    <a:pt x="3966235" y="5284916"/>
                  </a:cubicBezTo>
                  <a:lnTo>
                    <a:pt x="893440" y="5284916"/>
                  </a:lnTo>
                  <a:cubicBezTo>
                    <a:pt x="837152" y="5284916"/>
                    <a:pt x="791521" y="5239285"/>
                    <a:pt x="791521" y="5182997"/>
                  </a:cubicBezTo>
                  <a:cubicBezTo>
                    <a:pt x="791521" y="5126709"/>
                    <a:pt x="837152" y="5081078"/>
                    <a:pt x="893440" y="5081078"/>
                  </a:cubicBezTo>
                  <a:close/>
                  <a:moveTo>
                    <a:pt x="2430230" y="3767361"/>
                  </a:moveTo>
                  <a:cubicBezTo>
                    <a:pt x="2565109" y="3767361"/>
                    <a:pt x="2674450" y="3872838"/>
                    <a:pt x="2674450" y="4002950"/>
                  </a:cubicBezTo>
                  <a:cubicBezTo>
                    <a:pt x="2674450" y="4133062"/>
                    <a:pt x="2565109" y="4238539"/>
                    <a:pt x="2430230" y="4238539"/>
                  </a:cubicBezTo>
                  <a:cubicBezTo>
                    <a:pt x="2295351" y="4238539"/>
                    <a:pt x="2186010" y="4133062"/>
                    <a:pt x="2186010" y="4002950"/>
                  </a:cubicBezTo>
                  <a:cubicBezTo>
                    <a:pt x="2186010" y="3872838"/>
                    <a:pt x="2295351" y="3767361"/>
                    <a:pt x="2430230" y="3767361"/>
                  </a:cubicBezTo>
                  <a:close/>
                  <a:moveTo>
                    <a:pt x="2285299" y="0"/>
                  </a:moveTo>
                  <a:cubicBezTo>
                    <a:pt x="2427214" y="0"/>
                    <a:pt x="2559046" y="47026"/>
                    <a:pt x="2668406" y="127564"/>
                  </a:cubicBezTo>
                  <a:lnTo>
                    <a:pt x="2692052" y="148829"/>
                  </a:lnTo>
                  <a:lnTo>
                    <a:pt x="2781702" y="164346"/>
                  </a:lnTo>
                  <a:cubicBezTo>
                    <a:pt x="3064601" y="255110"/>
                    <a:pt x="3189948" y="646838"/>
                    <a:pt x="3061675" y="1039292"/>
                  </a:cubicBezTo>
                  <a:lnTo>
                    <a:pt x="3033782" y="1107479"/>
                  </a:lnTo>
                  <a:lnTo>
                    <a:pt x="3062531" y="1139614"/>
                  </a:lnTo>
                  <a:cubicBezTo>
                    <a:pt x="3118495" y="1235729"/>
                    <a:pt x="3114525" y="1360094"/>
                    <a:pt x="3042561" y="1454837"/>
                  </a:cubicBezTo>
                  <a:lnTo>
                    <a:pt x="2962260" y="1525703"/>
                  </a:lnTo>
                  <a:lnTo>
                    <a:pt x="2954699" y="1593260"/>
                  </a:lnTo>
                  <a:cubicBezTo>
                    <a:pt x="2927000" y="1715195"/>
                    <a:pt x="2853265" y="1822023"/>
                    <a:pt x="2750570" y="1898369"/>
                  </a:cubicBezTo>
                  <a:lnTo>
                    <a:pt x="2685420" y="1932038"/>
                  </a:lnTo>
                  <a:lnTo>
                    <a:pt x="2687220" y="1949342"/>
                  </a:lnTo>
                  <a:cubicBezTo>
                    <a:pt x="2687781" y="2027378"/>
                    <a:pt x="2658998" y="2121043"/>
                    <a:pt x="2696559" y="2168409"/>
                  </a:cubicBezTo>
                  <a:cubicBezTo>
                    <a:pt x="2756657" y="2244195"/>
                    <a:pt x="2832433" y="2249422"/>
                    <a:pt x="2994435" y="2293848"/>
                  </a:cubicBezTo>
                  <a:cubicBezTo>
                    <a:pt x="3156437" y="2338274"/>
                    <a:pt x="3485668" y="2340888"/>
                    <a:pt x="3668574" y="2434967"/>
                  </a:cubicBezTo>
                  <a:cubicBezTo>
                    <a:pt x="3851480" y="2529047"/>
                    <a:pt x="4029160" y="2759019"/>
                    <a:pt x="4091871" y="2858325"/>
                  </a:cubicBezTo>
                  <a:lnTo>
                    <a:pt x="4101909" y="2875655"/>
                  </a:lnTo>
                  <a:lnTo>
                    <a:pt x="4178436" y="2968820"/>
                  </a:lnTo>
                  <a:cubicBezTo>
                    <a:pt x="4638478" y="3564411"/>
                    <a:pt x="5008838" y="4475315"/>
                    <a:pt x="4569059" y="4755594"/>
                  </a:cubicBezTo>
                  <a:cubicBezTo>
                    <a:pt x="4477439" y="4813986"/>
                    <a:pt x="4322024" y="4863253"/>
                    <a:pt x="4122752" y="4903398"/>
                  </a:cubicBezTo>
                  <a:lnTo>
                    <a:pt x="4056789" y="4915563"/>
                  </a:lnTo>
                  <a:lnTo>
                    <a:pt x="4056789" y="3276805"/>
                  </a:lnTo>
                  <a:cubicBezTo>
                    <a:pt x="4056789" y="3186051"/>
                    <a:pt x="3983219" y="3112481"/>
                    <a:pt x="3892465" y="3112481"/>
                  </a:cubicBezTo>
                  <a:lnTo>
                    <a:pt x="916004" y="3112481"/>
                  </a:lnTo>
                  <a:cubicBezTo>
                    <a:pt x="825250" y="3112481"/>
                    <a:pt x="751680" y="3186051"/>
                    <a:pt x="751680" y="3276805"/>
                  </a:cubicBezTo>
                  <a:lnTo>
                    <a:pt x="751680" y="4923393"/>
                  </a:lnTo>
                  <a:lnTo>
                    <a:pt x="643260" y="4903398"/>
                  </a:lnTo>
                  <a:cubicBezTo>
                    <a:pt x="443987" y="4863253"/>
                    <a:pt x="288573" y="4813986"/>
                    <a:pt x="196952" y="4755594"/>
                  </a:cubicBezTo>
                  <a:cubicBezTo>
                    <a:pt x="-242826" y="4475315"/>
                    <a:pt x="127533" y="3564411"/>
                    <a:pt x="587575" y="2968820"/>
                  </a:cubicBezTo>
                  <a:lnTo>
                    <a:pt x="601066" y="2952395"/>
                  </a:lnTo>
                  <a:lnTo>
                    <a:pt x="618732" y="2911270"/>
                  </a:lnTo>
                  <a:cubicBezTo>
                    <a:pt x="691955" y="2784117"/>
                    <a:pt x="890319" y="2604243"/>
                    <a:pt x="983610" y="2526272"/>
                  </a:cubicBezTo>
                  <a:cubicBezTo>
                    <a:pt x="1107998" y="2422311"/>
                    <a:pt x="1197689" y="2437933"/>
                    <a:pt x="1342081" y="2391356"/>
                  </a:cubicBezTo>
                  <a:cubicBezTo>
                    <a:pt x="1486473" y="2344779"/>
                    <a:pt x="1736575" y="2302259"/>
                    <a:pt x="1849965" y="2246808"/>
                  </a:cubicBezTo>
                  <a:cubicBezTo>
                    <a:pt x="1963355" y="2191357"/>
                    <a:pt x="1993677" y="2130897"/>
                    <a:pt x="2022419" y="2058649"/>
                  </a:cubicBezTo>
                  <a:cubicBezTo>
                    <a:pt x="2036790" y="2022525"/>
                    <a:pt x="2011314" y="1970339"/>
                    <a:pt x="1994983" y="1922611"/>
                  </a:cubicBezTo>
                  <a:lnTo>
                    <a:pt x="1985967" y="1890637"/>
                  </a:lnTo>
                  <a:lnTo>
                    <a:pt x="1923432" y="1835634"/>
                  </a:lnTo>
                  <a:cubicBezTo>
                    <a:pt x="1858070" y="1767665"/>
                    <a:pt x="1811402" y="1684711"/>
                    <a:pt x="1790628" y="1593260"/>
                  </a:cubicBezTo>
                  <a:lnTo>
                    <a:pt x="1783855" y="1532742"/>
                  </a:lnTo>
                  <a:lnTo>
                    <a:pt x="1738131" y="1511152"/>
                  </a:lnTo>
                  <a:cubicBezTo>
                    <a:pt x="1611430" y="1416687"/>
                    <a:pt x="1586503" y="1237701"/>
                    <a:pt x="1682455" y="1111376"/>
                  </a:cubicBezTo>
                  <a:lnTo>
                    <a:pt x="1688140" y="1106358"/>
                  </a:lnTo>
                  <a:lnTo>
                    <a:pt x="1653940" y="1037674"/>
                  </a:lnTo>
                  <a:cubicBezTo>
                    <a:pt x="1619265" y="948310"/>
                    <a:pt x="1600091" y="850062"/>
                    <a:pt x="1600091" y="746932"/>
                  </a:cubicBezTo>
                  <a:cubicBezTo>
                    <a:pt x="1600091" y="334412"/>
                    <a:pt x="1906870" y="0"/>
                    <a:pt x="228529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265" name="Group 264"/>
          <p:cNvGrpSpPr>
            <a:grpSpLocks noChangeAspect="1"/>
          </p:cNvGrpSpPr>
          <p:nvPr/>
        </p:nvGrpSpPr>
        <p:grpSpPr>
          <a:xfrm>
            <a:off x="4809472" y="4260632"/>
            <a:ext cx="416418" cy="416418"/>
            <a:chOff x="812959" y="2728302"/>
            <a:chExt cx="496425" cy="496425"/>
          </a:xfrm>
        </p:grpSpPr>
        <p:sp>
          <p:nvSpPr>
            <p:cNvPr id="267" name="Oval 266"/>
            <p:cNvSpPr/>
            <p:nvPr/>
          </p:nvSpPr>
          <p:spPr>
            <a:xfrm>
              <a:off x="812959" y="2728302"/>
              <a:ext cx="496425" cy="496425"/>
            </a:xfrm>
            <a:prstGeom prst="ellipse">
              <a:avLst/>
            </a:prstGeom>
            <a:solidFill>
              <a:schemeClr val="accent1"/>
            </a:solidFill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68" name="Oval 6"/>
            <p:cNvSpPr>
              <a:spLocks noChangeAspect="1"/>
            </p:cNvSpPr>
            <p:nvPr/>
          </p:nvSpPr>
          <p:spPr>
            <a:xfrm>
              <a:off x="900684" y="2779320"/>
              <a:ext cx="329184" cy="365024"/>
            </a:xfrm>
            <a:custGeom>
              <a:avLst/>
              <a:gdLst/>
              <a:ahLst/>
              <a:cxnLst/>
              <a:rect l="l" t="t" r="r" b="b"/>
              <a:pathLst>
                <a:path w="4766011" h="5284916">
                  <a:moveTo>
                    <a:pt x="893440" y="5081078"/>
                  </a:moveTo>
                  <a:lnTo>
                    <a:pt x="3966235" y="5081078"/>
                  </a:lnTo>
                  <a:cubicBezTo>
                    <a:pt x="4022523" y="5081078"/>
                    <a:pt x="4068154" y="5126709"/>
                    <a:pt x="4068154" y="5182997"/>
                  </a:cubicBezTo>
                  <a:cubicBezTo>
                    <a:pt x="4068154" y="5239285"/>
                    <a:pt x="4022523" y="5284916"/>
                    <a:pt x="3966235" y="5284916"/>
                  </a:cubicBezTo>
                  <a:lnTo>
                    <a:pt x="893440" y="5284916"/>
                  </a:lnTo>
                  <a:cubicBezTo>
                    <a:pt x="837152" y="5284916"/>
                    <a:pt x="791521" y="5239285"/>
                    <a:pt x="791521" y="5182997"/>
                  </a:cubicBezTo>
                  <a:cubicBezTo>
                    <a:pt x="791521" y="5126709"/>
                    <a:pt x="837152" y="5081078"/>
                    <a:pt x="893440" y="5081078"/>
                  </a:cubicBezTo>
                  <a:close/>
                  <a:moveTo>
                    <a:pt x="2430230" y="3767361"/>
                  </a:moveTo>
                  <a:cubicBezTo>
                    <a:pt x="2565109" y="3767361"/>
                    <a:pt x="2674450" y="3872838"/>
                    <a:pt x="2674450" y="4002950"/>
                  </a:cubicBezTo>
                  <a:cubicBezTo>
                    <a:pt x="2674450" y="4133062"/>
                    <a:pt x="2565109" y="4238539"/>
                    <a:pt x="2430230" y="4238539"/>
                  </a:cubicBezTo>
                  <a:cubicBezTo>
                    <a:pt x="2295351" y="4238539"/>
                    <a:pt x="2186010" y="4133062"/>
                    <a:pt x="2186010" y="4002950"/>
                  </a:cubicBezTo>
                  <a:cubicBezTo>
                    <a:pt x="2186010" y="3872838"/>
                    <a:pt x="2295351" y="3767361"/>
                    <a:pt x="2430230" y="3767361"/>
                  </a:cubicBezTo>
                  <a:close/>
                  <a:moveTo>
                    <a:pt x="2285299" y="0"/>
                  </a:moveTo>
                  <a:cubicBezTo>
                    <a:pt x="2427214" y="0"/>
                    <a:pt x="2559046" y="47026"/>
                    <a:pt x="2668406" y="127564"/>
                  </a:cubicBezTo>
                  <a:lnTo>
                    <a:pt x="2692052" y="148829"/>
                  </a:lnTo>
                  <a:lnTo>
                    <a:pt x="2781702" y="164346"/>
                  </a:lnTo>
                  <a:cubicBezTo>
                    <a:pt x="3064601" y="255110"/>
                    <a:pt x="3189948" y="646838"/>
                    <a:pt x="3061675" y="1039292"/>
                  </a:cubicBezTo>
                  <a:lnTo>
                    <a:pt x="3033782" y="1107479"/>
                  </a:lnTo>
                  <a:lnTo>
                    <a:pt x="3062531" y="1139614"/>
                  </a:lnTo>
                  <a:cubicBezTo>
                    <a:pt x="3118495" y="1235729"/>
                    <a:pt x="3114525" y="1360094"/>
                    <a:pt x="3042561" y="1454837"/>
                  </a:cubicBezTo>
                  <a:lnTo>
                    <a:pt x="2962260" y="1525703"/>
                  </a:lnTo>
                  <a:lnTo>
                    <a:pt x="2954699" y="1593260"/>
                  </a:lnTo>
                  <a:cubicBezTo>
                    <a:pt x="2927000" y="1715195"/>
                    <a:pt x="2853265" y="1822023"/>
                    <a:pt x="2750570" y="1898369"/>
                  </a:cubicBezTo>
                  <a:lnTo>
                    <a:pt x="2685420" y="1932038"/>
                  </a:lnTo>
                  <a:lnTo>
                    <a:pt x="2687220" y="1949342"/>
                  </a:lnTo>
                  <a:cubicBezTo>
                    <a:pt x="2687781" y="2027378"/>
                    <a:pt x="2658998" y="2121043"/>
                    <a:pt x="2696559" y="2168409"/>
                  </a:cubicBezTo>
                  <a:cubicBezTo>
                    <a:pt x="2756657" y="2244195"/>
                    <a:pt x="2832433" y="2249422"/>
                    <a:pt x="2994435" y="2293848"/>
                  </a:cubicBezTo>
                  <a:cubicBezTo>
                    <a:pt x="3156437" y="2338274"/>
                    <a:pt x="3485668" y="2340888"/>
                    <a:pt x="3668574" y="2434967"/>
                  </a:cubicBezTo>
                  <a:cubicBezTo>
                    <a:pt x="3851480" y="2529047"/>
                    <a:pt x="4029160" y="2759019"/>
                    <a:pt x="4091871" y="2858325"/>
                  </a:cubicBezTo>
                  <a:lnTo>
                    <a:pt x="4101909" y="2875655"/>
                  </a:lnTo>
                  <a:lnTo>
                    <a:pt x="4178436" y="2968820"/>
                  </a:lnTo>
                  <a:cubicBezTo>
                    <a:pt x="4638478" y="3564411"/>
                    <a:pt x="5008838" y="4475315"/>
                    <a:pt x="4569059" y="4755594"/>
                  </a:cubicBezTo>
                  <a:cubicBezTo>
                    <a:pt x="4477439" y="4813986"/>
                    <a:pt x="4322024" y="4863253"/>
                    <a:pt x="4122752" y="4903398"/>
                  </a:cubicBezTo>
                  <a:lnTo>
                    <a:pt x="4056789" y="4915563"/>
                  </a:lnTo>
                  <a:lnTo>
                    <a:pt x="4056789" y="3276805"/>
                  </a:lnTo>
                  <a:cubicBezTo>
                    <a:pt x="4056789" y="3186051"/>
                    <a:pt x="3983219" y="3112481"/>
                    <a:pt x="3892465" y="3112481"/>
                  </a:cubicBezTo>
                  <a:lnTo>
                    <a:pt x="916004" y="3112481"/>
                  </a:lnTo>
                  <a:cubicBezTo>
                    <a:pt x="825250" y="3112481"/>
                    <a:pt x="751680" y="3186051"/>
                    <a:pt x="751680" y="3276805"/>
                  </a:cubicBezTo>
                  <a:lnTo>
                    <a:pt x="751680" y="4923393"/>
                  </a:lnTo>
                  <a:lnTo>
                    <a:pt x="643260" y="4903398"/>
                  </a:lnTo>
                  <a:cubicBezTo>
                    <a:pt x="443987" y="4863253"/>
                    <a:pt x="288573" y="4813986"/>
                    <a:pt x="196952" y="4755594"/>
                  </a:cubicBezTo>
                  <a:cubicBezTo>
                    <a:pt x="-242826" y="4475315"/>
                    <a:pt x="127533" y="3564411"/>
                    <a:pt x="587575" y="2968820"/>
                  </a:cubicBezTo>
                  <a:lnTo>
                    <a:pt x="601066" y="2952395"/>
                  </a:lnTo>
                  <a:lnTo>
                    <a:pt x="618732" y="2911270"/>
                  </a:lnTo>
                  <a:cubicBezTo>
                    <a:pt x="691955" y="2784117"/>
                    <a:pt x="890319" y="2604243"/>
                    <a:pt x="983610" y="2526272"/>
                  </a:cubicBezTo>
                  <a:cubicBezTo>
                    <a:pt x="1107998" y="2422311"/>
                    <a:pt x="1197689" y="2437933"/>
                    <a:pt x="1342081" y="2391356"/>
                  </a:cubicBezTo>
                  <a:cubicBezTo>
                    <a:pt x="1486473" y="2344779"/>
                    <a:pt x="1736575" y="2302259"/>
                    <a:pt x="1849965" y="2246808"/>
                  </a:cubicBezTo>
                  <a:cubicBezTo>
                    <a:pt x="1963355" y="2191357"/>
                    <a:pt x="1993677" y="2130897"/>
                    <a:pt x="2022419" y="2058649"/>
                  </a:cubicBezTo>
                  <a:cubicBezTo>
                    <a:pt x="2036790" y="2022525"/>
                    <a:pt x="2011314" y="1970339"/>
                    <a:pt x="1994983" y="1922611"/>
                  </a:cubicBezTo>
                  <a:lnTo>
                    <a:pt x="1985967" y="1890637"/>
                  </a:lnTo>
                  <a:lnTo>
                    <a:pt x="1923432" y="1835634"/>
                  </a:lnTo>
                  <a:cubicBezTo>
                    <a:pt x="1858070" y="1767665"/>
                    <a:pt x="1811402" y="1684711"/>
                    <a:pt x="1790628" y="1593260"/>
                  </a:cubicBezTo>
                  <a:lnTo>
                    <a:pt x="1783855" y="1532742"/>
                  </a:lnTo>
                  <a:lnTo>
                    <a:pt x="1738131" y="1511152"/>
                  </a:lnTo>
                  <a:cubicBezTo>
                    <a:pt x="1611430" y="1416687"/>
                    <a:pt x="1586503" y="1237701"/>
                    <a:pt x="1682455" y="1111376"/>
                  </a:cubicBezTo>
                  <a:lnTo>
                    <a:pt x="1688140" y="1106358"/>
                  </a:lnTo>
                  <a:lnTo>
                    <a:pt x="1653940" y="1037674"/>
                  </a:lnTo>
                  <a:cubicBezTo>
                    <a:pt x="1619265" y="948310"/>
                    <a:pt x="1600091" y="850062"/>
                    <a:pt x="1600091" y="746932"/>
                  </a:cubicBezTo>
                  <a:cubicBezTo>
                    <a:pt x="1600091" y="334412"/>
                    <a:pt x="1906870" y="0"/>
                    <a:pt x="228529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</p:grpSp>
      <p:grpSp>
        <p:nvGrpSpPr>
          <p:cNvPr id="269" name="Group 268"/>
          <p:cNvGrpSpPr>
            <a:grpSpLocks noChangeAspect="1"/>
          </p:cNvGrpSpPr>
          <p:nvPr/>
        </p:nvGrpSpPr>
        <p:grpSpPr>
          <a:xfrm>
            <a:off x="5670714" y="4274570"/>
            <a:ext cx="416418" cy="416418"/>
            <a:chOff x="812959" y="2728302"/>
            <a:chExt cx="496425" cy="496425"/>
          </a:xfrm>
        </p:grpSpPr>
        <p:sp>
          <p:nvSpPr>
            <p:cNvPr id="270" name="Oval 269"/>
            <p:cNvSpPr/>
            <p:nvPr/>
          </p:nvSpPr>
          <p:spPr>
            <a:xfrm>
              <a:off x="812959" y="2728302"/>
              <a:ext cx="496425" cy="496425"/>
            </a:xfrm>
            <a:prstGeom prst="ellipse">
              <a:avLst/>
            </a:prstGeom>
            <a:solidFill>
              <a:schemeClr val="accent1"/>
            </a:solidFill>
            <a:ln w="12700" cmpd="sng">
              <a:solidFill>
                <a:srgbClr val="FFFFFF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71" name="Oval 6"/>
            <p:cNvSpPr>
              <a:spLocks noChangeAspect="1"/>
            </p:cNvSpPr>
            <p:nvPr/>
          </p:nvSpPr>
          <p:spPr>
            <a:xfrm>
              <a:off x="900684" y="2779320"/>
              <a:ext cx="329184" cy="365024"/>
            </a:xfrm>
            <a:custGeom>
              <a:avLst/>
              <a:gdLst/>
              <a:ahLst/>
              <a:cxnLst/>
              <a:rect l="l" t="t" r="r" b="b"/>
              <a:pathLst>
                <a:path w="4766011" h="5284916">
                  <a:moveTo>
                    <a:pt x="893440" y="5081078"/>
                  </a:moveTo>
                  <a:lnTo>
                    <a:pt x="3966235" y="5081078"/>
                  </a:lnTo>
                  <a:cubicBezTo>
                    <a:pt x="4022523" y="5081078"/>
                    <a:pt x="4068154" y="5126709"/>
                    <a:pt x="4068154" y="5182997"/>
                  </a:cubicBezTo>
                  <a:cubicBezTo>
                    <a:pt x="4068154" y="5239285"/>
                    <a:pt x="4022523" y="5284916"/>
                    <a:pt x="3966235" y="5284916"/>
                  </a:cubicBezTo>
                  <a:lnTo>
                    <a:pt x="893440" y="5284916"/>
                  </a:lnTo>
                  <a:cubicBezTo>
                    <a:pt x="837152" y="5284916"/>
                    <a:pt x="791521" y="5239285"/>
                    <a:pt x="791521" y="5182997"/>
                  </a:cubicBezTo>
                  <a:cubicBezTo>
                    <a:pt x="791521" y="5126709"/>
                    <a:pt x="837152" y="5081078"/>
                    <a:pt x="893440" y="5081078"/>
                  </a:cubicBezTo>
                  <a:close/>
                  <a:moveTo>
                    <a:pt x="2430230" y="3767361"/>
                  </a:moveTo>
                  <a:cubicBezTo>
                    <a:pt x="2565109" y="3767361"/>
                    <a:pt x="2674450" y="3872838"/>
                    <a:pt x="2674450" y="4002950"/>
                  </a:cubicBezTo>
                  <a:cubicBezTo>
                    <a:pt x="2674450" y="4133062"/>
                    <a:pt x="2565109" y="4238539"/>
                    <a:pt x="2430230" y="4238539"/>
                  </a:cubicBezTo>
                  <a:cubicBezTo>
                    <a:pt x="2295351" y="4238539"/>
                    <a:pt x="2186010" y="4133062"/>
                    <a:pt x="2186010" y="4002950"/>
                  </a:cubicBezTo>
                  <a:cubicBezTo>
                    <a:pt x="2186010" y="3872838"/>
                    <a:pt x="2295351" y="3767361"/>
                    <a:pt x="2430230" y="3767361"/>
                  </a:cubicBezTo>
                  <a:close/>
                  <a:moveTo>
                    <a:pt x="2285299" y="0"/>
                  </a:moveTo>
                  <a:cubicBezTo>
                    <a:pt x="2427214" y="0"/>
                    <a:pt x="2559046" y="47026"/>
                    <a:pt x="2668406" y="127564"/>
                  </a:cubicBezTo>
                  <a:lnTo>
                    <a:pt x="2692052" y="148829"/>
                  </a:lnTo>
                  <a:lnTo>
                    <a:pt x="2781702" y="164346"/>
                  </a:lnTo>
                  <a:cubicBezTo>
                    <a:pt x="3064601" y="255110"/>
                    <a:pt x="3189948" y="646838"/>
                    <a:pt x="3061675" y="1039292"/>
                  </a:cubicBezTo>
                  <a:lnTo>
                    <a:pt x="3033782" y="1107479"/>
                  </a:lnTo>
                  <a:lnTo>
                    <a:pt x="3062531" y="1139614"/>
                  </a:lnTo>
                  <a:cubicBezTo>
                    <a:pt x="3118495" y="1235729"/>
                    <a:pt x="3114525" y="1360094"/>
                    <a:pt x="3042561" y="1454837"/>
                  </a:cubicBezTo>
                  <a:lnTo>
                    <a:pt x="2962260" y="1525703"/>
                  </a:lnTo>
                  <a:lnTo>
                    <a:pt x="2954699" y="1593260"/>
                  </a:lnTo>
                  <a:cubicBezTo>
                    <a:pt x="2927000" y="1715195"/>
                    <a:pt x="2853265" y="1822023"/>
                    <a:pt x="2750570" y="1898369"/>
                  </a:cubicBezTo>
                  <a:lnTo>
                    <a:pt x="2685420" y="1932038"/>
                  </a:lnTo>
                  <a:lnTo>
                    <a:pt x="2687220" y="1949342"/>
                  </a:lnTo>
                  <a:cubicBezTo>
                    <a:pt x="2687781" y="2027378"/>
                    <a:pt x="2658998" y="2121043"/>
                    <a:pt x="2696559" y="2168409"/>
                  </a:cubicBezTo>
                  <a:cubicBezTo>
                    <a:pt x="2756657" y="2244195"/>
                    <a:pt x="2832433" y="2249422"/>
                    <a:pt x="2994435" y="2293848"/>
                  </a:cubicBezTo>
                  <a:cubicBezTo>
                    <a:pt x="3156437" y="2338274"/>
                    <a:pt x="3485668" y="2340888"/>
                    <a:pt x="3668574" y="2434967"/>
                  </a:cubicBezTo>
                  <a:cubicBezTo>
                    <a:pt x="3851480" y="2529047"/>
                    <a:pt x="4029160" y="2759019"/>
                    <a:pt x="4091871" y="2858325"/>
                  </a:cubicBezTo>
                  <a:lnTo>
                    <a:pt x="4101909" y="2875655"/>
                  </a:lnTo>
                  <a:lnTo>
                    <a:pt x="4178436" y="2968820"/>
                  </a:lnTo>
                  <a:cubicBezTo>
                    <a:pt x="4638478" y="3564411"/>
                    <a:pt x="5008838" y="4475315"/>
                    <a:pt x="4569059" y="4755594"/>
                  </a:cubicBezTo>
                  <a:cubicBezTo>
                    <a:pt x="4477439" y="4813986"/>
                    <a:pt x="4322024" y="4863253"/>
                    <a:pt x="4122752" y="4903398"/>
                  </a:cubicBezTo>
                  <a:lnTo>
                    <a:pt x="4056789" y="4915563"/>
                  </a:lnTo>
                  <a:lnTo>
                    <a:pt x="4056789" y="3276805"/>
                  </a:lnTo>
                  <a:cubicBezTo>
                    <a:pt x="4056789" y="3186051"/>
                    <a:pt x="3983219" y="3112481"/>
                    <a:pt x="3892465" y="3112481"/>
                  </a:cubicBezTo>
                  <a:lnTo>
                    <a:pt x="916004" y="3112481"/>
                  </a:lnTo>
                  <a:cubicBezTo>
                    <a:pt x="825250" y="3112481"/>
                    <a:pt x="751680" y="3186051"/>
                    <a:pt x="751680" y="3276805"/>
                  </a:cubicBezTo>
                  <a:lnTo>
                    <a:pt x="751680" y="4923393"/>
                  </a:lnTo>
                  <a:lnTo>
                    <a:pt x="643260" y="4903398"/>
                  </a:lnTo>
                  <a:cubicBezTo>
                    <a:pt x="443987" y="4863253"/>
                    <a:pt x="288573" y="4813986"/>
                    <a:pt x="196952" y="4755594"/>
                  </a:cubicBezTo>
                  <a:cubicBezTo>
                    <a:pt x="-242826" y="4475315"/>
                    <a:pt x="127533" y="3564411"/>
                    <a:pt x="587575" y="2968820"/>
                  </a:cubicBezTo>
                  <a:lnTo>
                    <a:pt x="601066" y="2952395"/>
                  </a:lnTo>
                  <a:lnTo>
                    <a:pt x="618732" y="2911270"/>
                  </a:lnTo>
                  <a:cubicBezTo>
                    <a:pt x="691955" y="2784117"/>
                    <a:pt x="890319" y="2604243"/>
                    <a:pt x="983610" y="2526272"/>
                  </a:cubicBezTo>
                  <a:cubicBezTo>
                    <a:pt x="1107998" y="2422311"/>
                    <a:pt x="1197689" y="2437933"/>
                    <a:pt x="1342081" y="2391356"/>
                  </a:cubicBezTo>
                  <a:cubicBezTo>
                    <a:pt x="1486473" y="2344779"/>
                    <a:pt x="1736575" y="2302259"/>
                    <a:pt x="1849965" y="2246808"/>
                  </a:cubicBezTo>
                  <a:cubicBezTo>
                    <a:pt x="1963355" y="2191357"/>
                    <a:pt x="1993677" y="2130897"/>
                    <a:pt x="2022419" y="2058649"/>
                  </a:cubicBezTo>
                  <a:cubicBezTo>
                    <a:pt x="2036790" y="2022525"/>
                    <a:pt x="2011314" y="1970339"/>
                    <a:pt x="1994983" y="1922611"/>
                  </a:cubicBezTo>
                  <a:lnTo>
                    <a:pt x="1985967" y="1890637"/>
                  </a:lnTo>
                  <a:lnTo>
                    <a:pt x="1923432" y="1835634"/>
                  </a:lnTo>
                  <a:cubicBezTo>
                    <a:pt x="1858070" y="1767665"/>
                    <a:pt x="1811402" y="1684711"/>
                    <a:pt x="1790628" y="1593260"/>
                  </a:cubicBezTo>
                  <a:lnTo>
                    <a:pt x="1783855" y="1532742"/>
                  </a:lnTo>
                  <a:lnTo>
                    <a:pt x="1738131" y="1511152"/>
                  </a:lnTo>
                  <a:cubicBezTo>
                    <a:pt x="1611430" y="1416687"/>
                    <a:pt x="1586503" y="1237701"/>
                    <a:pt x="1682455" y="1111376"/>
                  </a:cubicBezTo>
                  <a:lnTo>
                    <a:pt x="1688140" y="1106358"/>
                  </a:lnTo>
                  <a:lnTo>
                    <a:pt x="1653940" y="1037674"/>
                  </a:lnTo>
                  <a:cubicBezTo>
                    <a:pt x="1619265" y="948310"/>
                    <a:pt x="1600091" y="850062"/>
                    <a:pt x="1600091" y="746932"/>
                  </a:cubicBezTo>
                  <a:cubicBezTo>
                    <a:pt x="1600091" y="334412"/>
                    <a:pt x="1906870" y="0"/>
                    <a:pt x="228529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7182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2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2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1" dur="500"/>
                                        <p:tgtEl>
                                          <p:spTgt spid="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7" grpId="0" animBg="1"/>
      <p:bldP spid="25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" name="Rectangle 233"/>
          <p:cNvSpPr/>
          <p:nvPr/>
        </p:nvSpPr>
        <p:spPr>
          <a:xfrm>
            <a:off x="12819" y="4593549"/>
            <a:ext cx="9139329" cy="55602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2076" tIns="41036" rIns="82076" bIns="4103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13905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FFFFFF"/>
              </a:solidFill>
              <a:ea typeface="ＭＳ Ｐゴシック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6918" y="785196"/>
            <a:ext cx="8345488" cy="731837"/>
          </a:xfrm>
        </p:spPr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623" y="1267774"/>
            <a:ext cx="6784817" cy="4249719"/>
          </a:xfrm>
          <a:prstGeom prst="rect">
            <a:avLst/>
          </a:prstGeom>
        </p:spPr>
      </p:pic>
      <p:grpSp>
        <p:nvGrpSpPr>
          <p:cNvPr id="4" name="Group 113"/>
          <p:cNvGrpSpPr/>
          <p:nvPr/>
        </p:nvGrpSpPr>
        <p:grpSpPr>
          <a:xfrm>
            <a:off x="7010444" y="2727500"/>
            <a:ext cx="279153" cy="279153"/>
            <a:chOff x="8129377" y="1720034"/>
            <a:chExt cx="279226" cy="279226"/>
          </a:xfrm>
        </p:grpSpPr>
        <p:sp>
          <p:nvSpPr>
            <p:cNvPr id="5" name="Oval 4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6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7" name="Freeform 6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8" name="Freeform 7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9" name="Group 113"/>
          <p:cNvGrpSpPr/>
          <p:nvPr/>
        </p:nvGrpSpPr>
        <p:grpSpPr>
          <a:xfrm>
            <a:off x="6626360" y="3084503"/>
            <a:ext cx="279153" cy="279153"/>
            <a:chOff x="8129377" y="1720034"/>
            <a:chExt cx="279226" cy="279226"/>
          </a:xfrm>
        </p:grpSpPr>
        <p:sp>
          <p:nvSpPr>
            <p:cNvPr id="10" name="Oval 9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11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12" name="Freeform 11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13" name="Freeform 12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14" name="Group 113"/>
          <p:cNvGrpSpPr/>
          <p:nvPr/>
        </p:nvGrpSpPr>
        <p:grpSpPr>
          <a:xfrm>
            <a:off x="6120462" y="3742114"/>
            <a:ext cx="279153" cy="279153"/>
            <a:chOff x="8129377" y="1720034"/>
            <a:chExt cx="279226" cy="279226"/>
          </a:xfrm>
        </p:grpSpPr>
        <p:sp>
          <p:nvSpPr>
            <p:cNvPr id="15" name="Oval 14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16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17" name="Freeform 16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18" name="Freeform 17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19" name="Group 113"/>
          <p:cNvGrpSpPr/>
          <p:nvPr/>
        </p:nvGrpSpPr>
        <p:grpSpPr>
          <a:xfrm>
            <a:off x="5821545" y="3392634"/>
            <a:ext cx="279153" cy="279153"/>
            <a:chOff x="8129377" y="1720034"/>
            <a:chExt cx="279226" cy="279226"/>
          </a:xfrm>
        </p:grpSpPr>
        <p:sp>
          <p:nvSpPr>
            <p:cNvPr id="20" name="Oval 19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21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22" name="Freeform 21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23" name="Freeform 22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24" name="Group 113"/>
          <p:cNvGrpSpPr/>
          <p:nvPr/>
        </p:nvGrpSpPr>
        <p:grpSpPr>
          <a:xfrm>
            <a:off x="5603615" y="3470383"/>
            <a:ext cx="279153" cy="279153"/>
            <a:chOff x="8129377" y="1720034"/>
            <a:chExt cx="279226" cy="279226"/>
          </a:xfrm>
        </p:grpSpPr>
        <p:sp>
          <p:nvSpPr>
            <p:cNvPr id="25" name="Oval 24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26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27" name="Freeform 26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28" name="Freeform 27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29" name="Group 113"/>
          <p:cNvGrpSpPr/>
          <p:nvPr/>
        </p:nvGrpSpPr>
        <p:grpSpPr>
          <a:xfrm>
            <a:off x="5051166" y="3889112"/>
            <a:ext cx="279153" cy="279153"/>
            <a:chOff x="8129377" y="1720034"/>
            <a:chExt cx="279226" cy="279226"/>
          </a:xfrm>
        </p:grpSpPr>
        <p:sp>
          <p:nvSpPr>
            <p:cNvPr id="30" name="Oval 29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31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32" name="Freeform 31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33" name="Freeform 32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34" name="Group 113"/>
          <p:cNvGrpSpPr/>
          <p:nvPr/>
        </p:nvGrpSpPr>
        <p:grpSpPr>
          <a:xfrm>
            <a:off x="4148553" y="4377852"/>
            <a:ext cx="279153" cy="279153"/>
            <a:chOff x="8129377" y="1720034"/>
            <a:chExt cx="279226" cy="279226"/>
          </a:xfrm>
        </p:grpSpPr>
        <p:sp>
          <p:nvSpPr>
            <p:cNvPr id="35" name="Oval 34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36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37" name="Freeform 36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38" name="Freeform 37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39" name="Group 113"/>
          <p:cNvGrpSpPr/>
          <p:nvPr/>
        </p:nvGrpSpPr>
        <p:grpSpPr>
          <a:xfrm>
            <a:off x="4002280" y="4556166"/>
            <a:ext cx="279153" cy="279153"/>
            <a:chOff x="8129377" y="1720034"/>
            <a:chExt cx="279226" cy="279226"/>
          </a:xfrm>
        </p:grpSpPr>
        <p:sp>
          <p:nvSpPr>
            <p:cNvPr id="40" name="Oval 39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41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42" name="Freeform 41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43" name="Freeform 42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44" name="Group 113"/>
          <p:cNvGrpSpPr/>
          <p:nvPr/>
        </p:nvGrpSpPr>
        <p:grpSpPr>
          <a:xfrm>
            <a:off x="4206272" y="4895115"/>
            <a:ext cx="279153" cy="279153"/>
            <a:chOff x="8129377" y="1720034"/>
            <a:chExt cx="279226" cy="279226"/>
          </a:xfrm>
        </p:grpSpPr>
        <p:sp>
          <p:nvSpPr>
            <p:cNvPr id="45" name="Oval 44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46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47" name="Freeform 46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48" name="Freeform 47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49" name="Group 113"/>
          <p:cNvGrpSpPr/>
          <p:nvPr/>
        </p:nvGrpSpPr>
        <p:grpSpPr>
          <a:xfrm>
            <a:off x="3678611" y="4271815"/>
            <a:ext cx="279153" cy="279153"/>
            <a:chOff x="8129377" y="1720034"/>
            <a:chExt cx="279226" cy="279226"/>
          </a:xfrm>
        </p:grpSpPr>
        <p:sp>
          <p:nvSpPr>
            <p:cNvPr id="50" name="Oval 49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51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52" name="Freeform 51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53" name="Freeform 52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54" name="Group 113"/>
          <p:cNvGrpSpPr/>
          <p:nvPr/>
        </p:nvGrpSpPr>
        <p:grpSpPr>
          <a:xfrm>
            <a:off x="4732787" y="1650045"/>
            <a:ext cx="279153" cy="279153"/>
            <a:chOff x="8129377" y="1720034"/>
            <a:chExt cx="279226" cy="279226"/>
          </a:xfrm>
        </p:grpSpPr>
        <p:sp>
          <p:nvSpPr>
            <p:cNvPr id="55" name="Oval 54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56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57" name="Freeform 56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58" name="Freeform 57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59" name="Group 113"/>
          <p:cNvGrpSpPr/>
          <p:nvPr/>
        </p:nvGrpSpPr>
        <p:grpSpPr>
          <a:xfrm>
            <a:off x="4624831" y="1867037"/>
            <a:ext cx="279153" cy="279153"/>
            <a:chOff x="8129377" y="1720034"/>
            <a:chExt cx="279226" cy="279226"/>
          </a:xfrm>
        </p:grpSpPr>
        <p:sp>
          <p:nvSpPr>
            <p:cNvPr id="60" name="Oval 59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61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62" name="Freeform 61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63" name="Freeform 62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64" name="Group 113"/>
          <p:cNvGrpSpPr/>
          <p:nvPr/>
        </p:nvGrpSpPr>
        <p:grpSpPr>
          <a:xfrm>
            <a:off x="5723301" y="2268352"/>
            <a:ext cx="279153" cy="279153"/>
            <a:chOff x="8129377" y="1720034"/>
            <a:chExt cx="279226" cy="279226"/>
          </a:xfrm>
        </p:grpSpPr>
        <p:sp>
          <p:nvSpPr>
            <p:cNvPr id="65" name="Oval 64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66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67" name="Freeform 66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68" name="Freeform 67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69" name="Group 113"/>
          <p:cNvGrpSpPr/>
          <p:nvPr/>
        </p:nvGrpSpPr>
        <p:grpSpPr>
          <a:xfrm>
            <a:off x="4815472" y="2681227"/>
            <a:ext cx="279153" cy="279153"/>
            <a:chOff x="8129377" y="1720034"/>
            <a:chExt cx="279226" cy="279226"/>
          </a:xfrm>
        </p:grpSpPr>
        <p:sp>
          <p:nvSpPr>
            <p:cNvPr id="70" name="Oval 69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71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72" name="Freeform 71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73" name="Freeform 72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74" name="Group 113"/>
          <p:cNvGrpSpPr/>
          <p:nvPr/>
        </p:nvGrpSpPr>
        <p:grpSpPr>
          <a:xfrm>
            <a:off x="5409776" y="2526109"/>
            <a:ext cx="279153" cy="279153"/>
            <a:chOff x="8129377" y="1720034"/>
            <a:chExt cx="279226" cy="279226"/>
          </a:xfrm>
        </p:grpSpPr>
        <p:sp>
          <p:nvSpPr>
            <p:cNvPr id="75" name="Oval 74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76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77" name="Freeform 76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78" name="Freeform 77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79" name="Group 113"/>
          <p:cNvGrpSpPr/>
          <p:nvPr/>
        </p:nvGrpSpPr>
        <p:grpSpPr>
          <a:xfrm>
            <a:off x="5288868" y="2728159"/>
            <a:ext cx="279153" cy="279153"/>
            <a:chOff x="8129377" y="1720034"/>
            <a:chExt cx="279226" cy="279226"/>
          </a:xfrm>
        </p:grpSpPr>
        <p:sp>
          <p:nvSpPr>
            <p:cNvPr id="80" name="Oval 79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81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82" name="Freeform 81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83" name="Freeform 82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84" name="Group 113"/>
          <p:cNvGrpSpPr/>
          <p:nvPr/>
        </p:nvGrpSpPr>
        <p:grpSpPr>
          <a:xfrm>
            <a:off x="3517004" y="3610405"/>
            <a:ext cx="279153" cy="279153"/>
            <a:chOff x="8129377" y="1720034"/>
            <a:chExt cx="279226" cy="279226"/>
          </a:xfrm>
        </p:grpSpPr>
        <p:sp>
          <p:nvSpPr>
            <p:cNvPr id="85" name="Oval 84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86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87" name="Freeform 86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88" name="Freeform 87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89" name="Group 113"/>
          <p:cNvGrpSpPr/>
          <p:nvPr/>
        </p:nvGrpSpPr>
        <p:grpSpPr>
          <a:xfrm>
            <a:off x="3330165" y="3769251"/>
            <a:ext cx="279153" cy="279153"/>
            <a:chOff x="8129377" y="1720034"/>
            <a:chExt cx="279226" cy="279226"/>
          </a:xfrm>
        </p:grpSpPr>
        <p:sp>
          <p:nvSpPr>
            <p:cNvPr id="90" name="Oval 89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91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92" name="Freeform 91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93" name="Freeform 92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94" name="Group 113"/>
          <p:cNvGrpSpPr/>
          <p:nvPr/>
        </p:nvGrpSpPr>
        <p:grpSpPr>
          <a:xfrm>
            <a:off x="2505967" y="4320945"/>
            <a:ext cx="279153" cy="279153"/>
            <a:chOff x="8129377" y="1720034"/>
            <a:chExt cx="279226" cy="279226"/>
          </a:xfrm>
        </p:grpSpPr>
        <p:sp>
          <p:nvSpPr>
            <p:cNvPr id="95" name="Oval 94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96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97" name="Freeform 96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98" name="Freeform 97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99" name="Group 113"/>
          <p:cNvGrpSpPr/>
          <p:nvPr/>
        </p:nvGrpSpPr>
        <p:grpSpPr>
          <a:xfrm>
            <a:off x="2030200" y="4122535"/>
            <a:ext cx="279153" cy="279153"/>
            <a:chOff x="8129377" y="1720034"/>
            <a:chExt cx="279226" cy="279226"/>
          </a:xfrm>
        </p:grpSpPr>
        <p:sp>
          <p:nvSpPr>
            <p:cNvPr id="100" name="Oval 99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101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102" name="Freeform 101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103" name="Freeform 102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104" name="Group 113"/>
          <p:cNvGrpSpPr/>
          <p:nvPr/>
        </p:nvGrpSpPr>
        <p:grpSpPr>
          <a:xfrm>
            <a:off x="1821193" y="3678804"/>
            <a:ext cx="279153" cy="279153"/>
            <a:chOff x="8129377" y="1720034"/>
            <a:chExt cx="279226" cy="279226"/>
          </a:xfrm>
        </p:grpSpPr>
        <p:sp>
          <p:nvSpPr>
            <p:cNvPr id="105" name="Oval 104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106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107" name="Freeform 106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108" name="Freeform 107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109" name="Group 113"/>
          <p:cNvGrpSpPr/>
          <p:nvPr/>
        </p:nvGrpSpPr>
        <p:grpSpPr>
          <a:xfrm>
            <a:off x="2169776" y="3482802"/>
            <a:ext cx="279153" cy="279153"/>
            <a:chOff x="8129377" y="1720034"/>
            <a:chExt cx="279226" cy="279226"/>
          </a:xfrm>
        </p:grpSpPr>
        <p:sp>
          <p:nvSpPr>
            <p:cNvPr id="110" name="Oval 109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111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112" name="Freeform 111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113" name="Freeform 112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114" name="Group 113"/>
          <p:cNvGrpSpPr/>
          <p:nvPr/>
        </p:nvGrpSpPr>
        <p:grpSpPr>
          <a:xfrm>
            <a:off x="3950682" y="2464297"/>
            <a:ext cx="279153" cy="279153"/>
            <a:chOff x="8129377" y="1720034"/>
            <a:chExt cx="279226" cy="279226"/>
          </a:xfrm>
        </p:grpSpPr>
        <p:sp>
          <p:nvSpPr>
            <p:cNvPr id="115" name="Oval 114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116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117" name="Freeform 116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118" name="Freeform 117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119" name="Group 113"/>
          <p:cNvGrpSpPr/>
          <p:nvPr/>
        </p:nvGrpSpPr>
        <p:grpSpPr>
          <a:xfrm>
            <a:off x="2851769" y="2828992"/>
            <a:ext cx="279153" cy="279153"/>
            <a:chOff x="8129377" y="1720034"/>
            <a:chExt cx="279226" cy="279226"/>
          </a:xfrm>
        </p:grpSpPr>
        <p:sp>
          <p:nvSpPr>
            <p:cNvPr id="120" name="Oval 119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121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122" name="Freeform 121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123" name="Freeform 122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124" name="Group 113"/>
          <p:cNvGrpSpPr/>
          <p:nvPr/>
        </p:nvGrpSpPr>
        <p:grpSpPr>
          <a:xfrm>
            <a:off x="3055907" y="2963023"/>
            <a:ext cx="279153" cy="279153"/>
            <a:chOff x="8129377" y="1720034"/>
            <a:chExt cx="279226" cy="279226"/>
          </a:xfrm>
        </p:grpSpPr>
        <p:sp>
          <p:nvSpPr>
            <p:cNvPr id="125" name="Oval 124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126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127" name="Freeform 126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128" name="Freeform 127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129" name="Group 113"/>
          <p:cNvGrpSpPr/>
          <p:nvPr/>
        </p:nvGrpSpPr>
        <p:grpSpPr>
          <a:xfrm>
            <a:off x="3380489" y="2820804"/>
            <a:ext cx="279153" cy="279153"/>
            <a:chOff x="8129377" y="1720034"/>
            <a:chExt cx="279226" cy="279226"/>
          </a:xfrm>
        </p:grpSpPr>
        <p:sp>
          <p:nvSpPr>
            <p:cNvPr id="130" name="Oval 129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131" name="Group 115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132" name="Freeform 131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133" name="Freeform 132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134" name="Group 133"/>
          <p:cNvGrpSpPr/>
          <p:nvPr/>
        </p:nvGrpSpPr>
        <p:grpSpPr>
          <a:xfrm>
            <a:off x="6304768" y="4395931"/>
            <a:ext cx="140843" cy="357593"/>
            <a:chOff x="6794379" y="3582141"/>
            <a:chExt cx="206263" cy="523689"/>
          </a:xfrm>
        </p:grpSpPr>
        <p:sp>
          <p:nvSpPr>
            <p:cNvPr id="135" name="Oval 20"/>
            <p:cNvSpPr>
              <a:spLocks noChangeArrowheads="1"/>
            </p:cNvSpPr>
            <p:nvPr/>
          </p:nvSpPr>
          <p:spPr bwMode="auto">
            <a:xfrm>
              <a:off x="6794379" y="3899771"/>
              <a:ext cx="206263" cy="206059"/>
            </a:xfrm>
            <a:prstGeom prst="ellipse">
              <a:avLst/>
            </a:prstGeom>
            <a:solidFill>
              <a:srgbClr val="FF6600"/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>
                <a:solidFill>
                  <a:srgbClr val="58585B"/>
                </a:solidFill>
                <a:ea typeface="ＭＳ Ｐゴシック" pitchFamily="34" charset="-128"/>
                <a:cs typeface="ＭＳ Ｐゴシック" charset="0"/>
              </a:endParaRPr>
            </a:p>
          </p:txBody>
        </p:sp>
        <p:sp>
          <p:nvSpPr>
            <p:cNvPr id="136" name="Freeform 21"/>
            <p:cNvSpPr>
              <a:spLocks/>
            </p:cNvSpPr>
            <p:nvPr/>
          </p:nvSpPr>
          <p:spPr bwMode="auto">
            <a:xfrm>
              <a:off x="6794379" y="3899771"/>
              <a:ext cx="103132" cy="206059"/>
            </a:xfrm>
            <a:custGeom>
              <a:avLst/>
              <a:gdLst>
                <a:gd name="T0" fmla="*/ 213 w 213"/>
                <a:gd name="T1" fmla="*/ 426 h 426"/>
                <a:gd name="T2" fmla="*/ 0 w 213"/>
                <a:gd name="T3" fmla="*/ 213 h 426"/>
                <a:gd name="T4" fmla="*/ 213 w 213"/>
                <a:gd name="T5" fmla="*/ 0 h 426"/>
                <a:gd name="T6" fmla="*/ 213 w 213"/>
                <a:gd name="T7" fmla="*/ 426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3" h="426">
                  <a:moveTo>
                    <a:pt x="213" y="426"/>
                  </a:moveTo>
                  <a:cubicBezTo>
                    <a:pt x="95" y="426"/>
                    <a:pt x="0" y="331"/>
                    <a:pt x="0" y="213"/>
                  </a:cubicBezTo>
                  <a:cubicBezTo>
                    <a:pt x="0" y="95"/>
                    <a:pt x="95" y="0"/>
                    <a:pt x="213" y="0"/>
                  </a:cubicBezTo>
                  <a:cubicBezTo>
                    <a:pt x="213" y="426"/>
                    <a:pt x="213" y="426"/>
                    <a:pt x="213" y="426"/>
                  </a:cubicBezTo>
                </a:path>
              </a:pathLst>
            </a:custGeom>
            <a:solidFill>
              <a:srgbClr val="00B050"/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>
                <a:solidFill>
                  <a:srgbClr val="58585B"/>
                </a:solidFill>
                <a:ea typeface="ＭＳ Ｐゴシック" pitchFamily="34" charset="-128"/>
                <a:cs typeface="ＭＳ Ｐゴシック" charset="0"/>
              </a:endParaRPr>
            </a:p>
          </p:txBody>
        </p:sp>
        <p:sp>
          <p:nvSpPr>
            <p:cNvPr id="137" name="Oval 20"/>
            <p:cNvSpPr>
              <a:spLocks noChangeArrowheads="1"/>
            </p:cNvSpPr>
            <p:nvPr/>
          </p:nvSpPr>
          <p:spPr bwMode="auto">
            <a:xfrm>
              <a:off x="6794379" y="3582141"/>
              <a:ext cx="206263" cy="206059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>
                <a:solidFill>
                  <a:srgbClr val="58585B"/>
                </a:solidFill>
                <a:ea typeface="ＭＳ Ｐゴシック" pitchFamily="34" charset="-128"/>
                <a:cs typeface="ＭＳ Ｐゴシック" charset="0"/>
              </a:endParaRPr>
            </a:p>
          </p:txBody>
        </p:sp>
      </p:grpSp>
      <p:sp>
        <p:nvSpPr>
          <p:cNvPr id="138" name="TextBox 137"/>
          <p:cNvSpPr txBox="1"/>
          <p:nvPr/>
        </p:nvSpPr>
        <p:spPr>
          <a:xfrm>
            <a:off x="6461220" y="4318144"/>
            <a:ext cx="13904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58585B"/>
                </a:solidFill>
                <a:ea typeface="ＭＳ Ｐゴシック" pitchFamily="34" charset="-128"/>
                <a:cs typeface="Arial Narrow"/>
              </a:rPr>
              <a:t>5GHz. / 2.4GHz. </a:t>
            </a: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58585B"/>
                </a:solidFill>
                <a:ea typeface="ＭＳ Ｐゴシック" pitchFamily="34" charset="-128"/>
                <a:cs typeface="Arial Narrow"/>
              </a:rPr>
              <a:t>.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6461220" y="4543826"/>
            <a:ext cx="1390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58585B"/>
                </a:solidFill>
                <a:ea typeface="ＭＳ Ｐゴシック" pitchFamily="34" charset="-128"/>
                <a:cs typeface="Arial Narrow"/>
              </a:rPr>
              <a:t>5GHz. / Security </a:t>
            </a:r>
          </a:p>
        </p:txBody>
      </p:sp>
      <p:sp>
        <p:nvSpPr>
          <p:cNvPr id="140" name="Oval 139"/>
          <p:cNvSpPr/>
          <p:nvPr/>
        </p:nvSpPr>
        <p:spPr>
          <a:xfrm>
            <a:off x="3578530" y="3622753"/>
            <a:ext cx="1051640" cy="1051640"/>
          </a:xfrm>
          <a:prstGeom prst="ellipse">
            <a:avLst/>
          </a:prstGeom>
          <a:solidFill>
            <a:srgbClr val="00B050">
              <a:alpha val="3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141" name="Oval 140"/>
          <p:cNvSpPr/>
          <p:nvPr/>
        </p:nvSpPr>
        <p:spPr>
          <a:xfrm>
            <a:off x="3709294" y="3753517"/>
            <a:ext cx="790112" cy="790112"/>
          </a:xfrm>
          <a:prstGeom prst="ellipse">
            <a:avLst/>
          </a:prstGeom>
          <a:solidFill>
            <a:srgbClr val="00B050">
              <a:alpha val="5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142" name="Oval 141"/>
          <p:cNvSpPr/>
          <p:nvPr/>
        </p:nvSpPr>
        <p:spPr>
          <a:xfrm>
            <a:off x="3863860" y="3908083"/>
            <a:ext cx="480986" cy="480984"/>
          </a:xfrm>
          <a:prstGeom prst="ellipse">
            <a:avLst/>
          </a:prstGeom>
          <a:solidFill>
            <a:srgbClr val="00B050">
              <a:alpha val="7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799" dirty="0">
              <a:solidFill>
                <a:srgbClr val="FFFFFF"/>
              </a:solidFill>
            </a:endParaRPr>
          </a:p>
        </p:txBody>
      </p:sp>
      <p:grpSp>
        <p:nvGrpSpPr>
          <p:cNvPr id="143" name="Group 92"/>
          <p:cNvGrpSpPr/>
          <p:nvPr/>
        </p:nvGrpSpPr>
        <p:grpSpPr>
          <a:xfrm>
            <a:off x="3938328" y="3970779"/>
            <a:ext cx="343106" cy="343106"/>
            <a:chOff x="11022921" y="-2056847"/>
            <a:chExt cx="904242" cy="904242"/>
          </a:xfrm>
        </p:grpSpPr>
        <p:sp>
          <p:nvSpPr>
            <p:cNvPr id="144" name="Oval 143"/>
            <p:cNvSpPr/>
            <p:nvPr/>
          </p:nvSpPr>
          <p:spPr>
            <a:xfrm>
              <a:off x="11022921" y="-2056847"/>
              <a:ext cx="904242" cy="904242"/>
            </a:xfrm>
            <a:prstGeom prst="ellipse">
              <a:avLst/>
            </a:prstGeom>
            <a:solidFill>
              <a:srgbClr val="00B050"/>
            </a:solidFill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145" name="Group 94"/>
            <p:cNvGrpSpPr/>
            <p:nvPr/>
          </p:nvGrpSpPr>
          <p:grpSpPr>
            <a:xfrm>
              <a:off x="11228154" y="-1852412"/>
              <a:ext cx="493776" cy="495372"/>
              <a:chOff x="6003191" y="4235559"/>
              <a:chExt cx="493776" cy="495372"/>
            </a:xfrm>
            <a:solidFill>
              <a:schemeClr val="accent4"/>
            </a:solidFill>
          </p:grpSpPr>
          <p:sp>
            <p:nvSpPr>
              <p:cNvPr id="146" name="Freeform 14"/>
              <p:cNvSpPr>
                <a:spLocks noEditPoints="1"/>
              </p:cNvSpPr>
              <p:nvPr/>
            </p:nvSpPr>
            <p:spPr bwMode="auto">
              <a:xfrm>
                <a:off x="6141153" y="4374017"/>
                <a:ext cx="217853" cy="218456"/>
              </a:xfrm>
              <a:custGeom>
                <a:avLst/>
                <a:gdLst>
                  <a:gd name="T0" fmla="*/ 384 w 511"/>
                  <a:gd name="T1" fmla="*/ 0 h 511"/>
                  <a:gd name="T2" fmla="*/ 127 w 511"/>
                  <a:gd name="T3" fmla="*/ 0 h 511"/>
                  <a:gd name="T4" fmla="*/ 0 w 511"/>
                  <a:gd name="T5" fmla="*/ 127 h 511"/>
                  <a:gd name="T6" fmla="*/ 0 w 511"/>
                  <a:gd name="T7" fmla="*/ 384 h 511"/>
                  <a:gd name="T8" fmla="*/ 127 w 511"/>
                  <a:gd name="T9" fmla="*/ 511 h 511"/>
                  <a:gd name="T10" fmla="*/ 384 w 511"/>
                  <a:gd name="T11" fmla="*/ 511 h 511"/>
                  <a:gd name="T12" fmla="*/ 511 w 511"/>
                  <a:gd name="T13" fmla="*/ 384 h 511"/>
                  <a:gd name="T14" fmla="*/ 511 w 511"/>
                  <a:gd name="T15" fmla="*/ 127 h 511"/>
                  <a:gd name="T16" fmla="*/ 384 w 511"/>
                  <a:gd name="T17" fmla="*/ 0 h 511"/>
                  <a:gd name="T18" fmla="*/ 275 w 511"/>
                  <a:gd name="T19" fmla="*/ 85 h 511"/>
                  <a:gd name="T20" fmla="*/ 236 w 511"/>
                  <a:gd name="T21" fmla="*/ 85 h 511"/>
                  <a:gd name="T22" fmla="*/ 236 w 511"/>
                  <a:gd name="T23" fmla="*/ 45 h 511"/>
                  <a:gd name="T24" fmla="*/ 275 w 511"/>
                  <a:gd name="T25" fmla="*/ 45 h 511"/>
                  <a:gd name="T26" fmla="*/ 275 w 511"/>
                  <a:gd name="T27" fmla="*/ 8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1" h="511">
                    <a:moveTo>
                      <a:pt x="384" y="0"/>
                    </a:moveTo>
                    <a:cubicBezTo>
                      <a:pt x="127" y="0"/>
                      <a:pt x="127" y="0"/>
                      <a:pt x="127" y="0"/>
                    </a:cubicBezTo>
                    <a:cubicBezTo>
                      <a:pt x="57" y="0"/>
                      <a:pt x="0" y="57"/>
                      <a:pt x="0" y="127"/>
                    </a:cubicBezTo>
                    <a:cubicBezTo>
                      <a:pt x="0" y="384"/>
                      <a:pt x="0" y="384"/>
                      <a:pt x="0" y="384"/>
                    </a:cubicBezTo>
                    <a:cubicBezTo>
                      <a:pt x="0" y="454"/>
                      <a:pt x="57" y="511"/>
                      <a:pt x="127" y="511"/>
                    </a:cubicBezTo>
                    <a:cubicBezTo>
                      <a:pt x="384" y="511"/>
                      <a:pt x="384" y="511"/>
                      <a:pt x="384" y="511"/>
                    </a:cubicBezTo>
                    <a:cubicBezTo>
                      <a:pt x="454" y="511"/>
                      <a:pt x="511" y="454"/>
                      <a:pt x="511" y="384"/>
                    </a:cubicBezTo>
                    <a:cubicBezTo>
                      <a:pt x="511" y="127"/>
                      <a:pt x="511" y="127"/>
                      <a:pt x="511" y="127"/>
                    </a:cubicBezTo>
                    <a:cubicBezTo>
                      <a:pt x="511" y="57"/>
                      <a:pt x="454" y="0"/>
                      <a:pt x="384" y="0"/>
                    </a:cubicBezTo>
                    <a:close/>
                    <a:moveTo>
                      <a:pt x="275" y="85"/>
                    </a:moveTo>
                    <a:cubicBezTo>
                      <a:pt x="236" y="85"/>
                      <a:pt x="236" y="85"/>
                      <a:pt x="236" y="85"/>
                    </a:cubicBezTo>
                    <a:cubicBezTo>
                      <a:pt x="236" y="45"/>
                      <a:pt x="236" y="45"/>
                      <a:pt x="236" y="45"/>
                    </a:cubicBezTo>
                    <a:cubicBezTo>
                      <a:pt x="275" y="45"/>
                      <a:pt x="275" y="45"/>
                      <a:pt x="275" y="45"/>
                    </a:cubicBezTo>
                    <a:lnTo>
                      <a:pt x="275" y="8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0096D6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147" name="Freeform 146"/>
              <p:cNvSpPr>
                <a:spLocks noEditPoints="1"/>
              </p:cNvSpPr>
              <p:nvPr/>
            </p:nvSpPr>
            <p:spPr bwMode="auto">
              <a:xfrm>
                <a:off x="6003191" y="4235559"/>
                <a:ext cx="493776" cy="495372"/>
              </a:xfrm>
              <a:custGeom>
                <a:avLst/>
                <a:gdLst>
                  <a:gd name="T0" fmla="*/ 885 w 1159"/>
                  <a:gd name="T1" fmla="*/ 0 h 1159"/>
                  <a:gd name="T2" fmla="*/ 274 w 1159"/>
                  <a:gd name="T3" fmla="*/ 0 h 1159"/>
                  <a:gd name="T4" fmla="*/ 0 w 1159"/>
                  <a:gd name="T5" fmla="*/ 274 h 1159"/>
                  <a:gd name="T6" fmla="*/ 0 w 1159"/>
                  <a:gd name="T7" fmla="*/ 885 h 1159"/>
                  <a:gd name="T8" fmla="*/ 274 w 1159"/>
                  <a:gd name="T9" fmla="*/ 1159 h 1159"/>
                  <a:gd name="T10" fmla="*/ 885 w 1159"/>
                  <a:gd name="T11" fmla="*/ 1159 h 1159"/>
                  <a:gd name="T12" fmla="*/ 1159 w 1159"/>
                  <a:gd name="T13" fmla="*/ 885 h 1159"/>
                  <a:gd name="T14" fmla="*/ 1159 w 1159"/>
                  <a:gd name="T15" fmla="*/ 274 h 1159"/>
                  <a:gd name="T16" fmla="*/ 885 w 1159"/>
                  <a:gd name="T17" fmla="*/ 0 h 1159"/>
                  <a:gd name="T18" fmla="*/ 867 w 1159"/>
                  <a:gd name="T19" fmla="*/ 708 h 1159"/>
                  <a:gd name="T20" fmla="*/ 708 w 1159"/>
                  <a:gd name="T21" fmla="*/ 867 h 1159"/>
                  <a:gd name="T22" fmla="*/ 451 w 1159"/>
                  <a:gd name="T23" fmla="*/ 867 h 1159"/>
                  <a:gd name="T24" fmla="*/ 292 w 1159"/>
                  <a:gd name="T25" fmla="*/ 708 h 1159"/>
                  <a:gd name="T26" fmla="*/ 292 w 1159"/>
                  <a:gd name="T27" fmla="*/ 451 h 1159"/>
                  <a:gd name="T28" fmla="*/ 451 w 1159"/>
                  <a:gd name="T29" fmla="*/ 292 h 1159"/>
                  <a:gd name="T30" fmla="*/ 708 w 1159"/>
                  <a:gd name="T31" fmla="*/ 292 h 1159"/>
                  <a:gd name="T32" fmla="*/ 867 w 1159"/>
                  <a:gd name="T33" fmla="*/ 451 h 1159"/>
                  <a:gd name="T34" fmla="*/ 867 w 1159"/>
                  <a:gd name="T35" fmla="*/ 708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59" h="1159">
                    <a:moveTo>
                      <a:pt x="885" y="0"/>
                    </a:moveTo>
                    <a:cubicBezTo>
                      <a:pt x="274" y="0"/>
                      <a:pt x="274" y="0"/>
                      <a:pt x="274" y="0"/>
                    </a:cubicBezTo>
                    <a:cubicBezTo>
                      <a:pt x="123" y="0"/>
                      <a:pt x="0" y="123"/>
                      <a:pt x="0" y="274"/>
                    </a:cubicBezTo>
                    <a:cubicBezTo>
                      <a:pt x="0" y="885"/>
                      <a:pt x="0" y="885"/>
                      <a:pt x="0" y="885"/>
                    </a:cubicBezTo>
                    <a:cubicBezTo>
                      <a:pt x="0" y="1036"/>
                      <a:pt x="123" y="1159"/>
                      <a:pt x="274" y="1159"/>
                    </a:cubicBezTo>
                    <a:cubicBezTo>
                      <a:pt x="885" y="1159"/>
                      <a:pt x="885" y="1159"/>
                      <a:pt x="885" y="1159"/>
                    </a:cubicBezTo>
                    <a:cubicBezTo>
                      <a:pt x="1036" y="1159"/>
                      <a:pt x="1159" y="1036"/>
                      <a:pt x="1159" y="885"/>
                    </a:cubicBezTo>
                    <a:cubicBezTo>
                      <a:pt x="1159" y="274"/>
                      <a:pt x="1159" y="274"/>
                      <a:pt x="1159" y="274"/>
                    </a:cubicBezTo>
                    <a:cubicBezTo>
                      <a:pt x="1159" y="123"/>
                      <a:pt x="1036" y="0"/>
                      <a:pt x="885" y="0"/>
                    </a:cubicBezTo>
                    <a:close/>
                    <a:moveTo>
                      <a:pt x="867" y="708"/>
                    </a:moveTo>
                    <a:cubicBezTo>
                      <a:pt x="867" y="796"/>
                      <a:pt x="796" y="867"/>
                      <a:pt x="708" y="867"/>
                    </a:cubicBezTo>
                    <a:cubicBezTo>
                      <a:pt x="451" y="867"/>
                      <a:pt x="451" y="867"/>
                      <a:pt x="451" y="867"/>
                    </a:cubicBezTo>
                    <a:cubicBezTo>
                      <a:pt x="363" y="867"/>
                      <a:pt x="292" y="796"/>
                      <a:pt x="292" y="708"/>
                    </a:cubicBezTo>
                    <a:cubicBezTo>
                      <a:pt x="292" y="451"/>
                      <a:pt x="292" y="451"/>
                      <a:pt x="292" y="451"/>
                    </a:cubicBezTo>
                    <a:cubicBezTo>
                      <a:pt x="292" y="363"/>
                      <a:pt x="363" y="292"/>
                      <a:pt x="451" y="292"/>
                    </a:cubicBezTo>
                    <a:cubicBezTo>
                      <a:pt x="708" y="292"/>
                      <a:pt x="708" y="292"/>
                      <a:pt x="708" y="292"/>
                    </a:cubicBezTo>
                    <a:cubicBezTo>
                      <a:pt x="796" y="292"/>
                      <a:pt x="867" y="363"/>
                      <a:pt x="867" y="451"/>
                    </a:cubicBezTo>
                    <a:lnTo>
                      <a:pt x="867" y="70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0096D6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sp>
        <p:nvSpPr>
          <p:cNvPr id="148" name="Oval 147"/>
          <p:cNvSpPr/>
          <p:nvPr/>
        </p:nvSpPr>
        <p:spPr>
          <a:xfrm>
            <a:off x="3582520" y="1576318"/>
            <a:ext cx="1051640" cy="1051640"/>
          </a:xfrm>
          <a:prstGeom prst="ellipse">
            <a:avLst/>
          </a:prstGeom>
          <a:solidFill>
            <a:srgbClr val="00B050">
              <a:alpha val="5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149" name="Oval 148"/>
          <p:cNvSpPr/>
          <p:nvPr/>
        </p:nvSpPr>
        <p:spPr>
          <a:xfrm>
            <a:off x="3713284" y="1707082"/>
            <a:ext cx="790112" cy="790112"/>
          </a:xfrm>
          <a:prstGeom prst="ellipse">
            <a:avLst/>
          </a:prstGeom>
          <a:solidFill>
            <a:srgbClr val="00B050">
              <a:alpha val="5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150" name="Oval 149"/>
          <p:cNvSpPr/>
          <p:nvPr/>
        </p:nvSpPr>
        <p:spPr>
          <a:xfrm>
            <a:off x="3867850" y="1861648"/>
            <a:ext cx="480986" cy="480984"/>
          </a:xfrm>
          <a:prstGeom prst="ellipse">
            <a:avLst/>
          </a:prstGeom>
          <a:solidFill>
            <a:srgbClr val="00B050">
              <a:alpha val="5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151" name="Oval 150"/>
          <p:cNvSpPr/>
          <p:nvPr/>
        </p:nvSpPr>
        <p:spPr>
          <a:xfrm>
            <a:off x="4680957" y="953513"/>
            <a:ext cx="1051640" cy="1051640"/>
          </a:xfrm>
          <a:prstGeom prst="ellipse">
            <a:avLst/>
          </a:prstGeom>
          <a:solidFill>
            <a:srgbClr val="00B050">
              <a:alpha val="5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152" name="Oval 151"/>
          <p:cNvSpPr/>
          <p:nvPr/>
        </p:nvSpPr>
        <p:spPr>
          <a:xfrm>
            <a:off x="4811721" y="1084277"/>
            <a:ext cx="790112" cy="790112"/>
          </a:xfrm>
          <a:prstGeom prst="ellipse">
            <a:avLst/>
          </a:prstGeom>
          <a:solidFill>
            <a:srgbClr val="00B050">
              <a:alpha val="5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153" name="Oval 152"/>
          <p:cNvSpPr/>
          <p:nvPr/>
        </p:nvSpPr>
        <p:spPr>
          <a:xfrm>
            <a:off x="4966285" y="1238843"/>
            <a:ext cx="480986" cy="480984"/>
          </a:xfrm>
          <a:prstGeom prst="ellipse">
            <a:avLst/>
          </a:prstGeom>
          <a:solidFill>
            <a:srgbClr val="00B050">
              <a:alpha val="5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154" name="Oval 153"/>
          <p:cNvSpPr/>
          <p:nvPr/>
        </p:nvSpPr>
        <p:spPr>
          <a:xfrm>
            <a:off x="5220066" y="2582931"/>
            <a:ext cx="1051640" cy="1051640"/>
          </a:xfrm>
          <a:prstGeom prst="ellipse">
            <a:avLst/>
          </a:prstGeom>
          <a:solidFill>
            <a:srgbClr val="00B050">
              <a:alpha val="3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155" name="Oval 154"/>
          <p:cNvSpPr/>
          <p:nvPr/>
        </p:nvSpPr>
        <p:spPr>
          <a:xfrm>
            <a:off x="5350830" y="2713695"/>
            <a:ext cx="790112" cy="790112"/>
          </a:xfrm>
          <a:prstGeom prst="ellipse">
            <a:avLst/>
          </a:prstGeom>
          <a:solidFill>
            <a:srgbClr val="00B050">
              <a:alpha val="5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156" name="Oval 155"/>
          <p:cNvSpPr/>
          <p:nvPr/>
        </p:nvSpPr>
        <p:spPr>
          <a:xfrm>
            <a:off x="5505394" y="2868260"/>
            <a:ext cx="480986" cy="480984"/>
          </a:xfrm>
          <a:prstGeom prst="ellipse">
            <a:avLst/>
          </a:prstGeom>
          <a:solidFill>
            <a:srgbClr val="00B050">
              <a:alpha val="7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157" name="Oval 156"/>
          <p:cNvSpPr/>
          <p:nvPr/>
        </p:nvSpPr>
        <p:spPr>
          <a:xfrm>
            <a:off x="5909602" y="2195188"/>
            <a:ext cx="1051640" cy="1051640"/>
          </a:xfrm>
          <a:prstGeom prst="ellipse">
            <a:avLst/>
          </a:prstGeom>
          <a:solidFill>
            <a:srgbClr val="00B050">
              <a:alpha val="5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158" name="Oval 157"/>
          <p:cNvSpPr/>
          <p:nvPr/>
        </p:nvSpPr>
        <p:spPr>
          <a:xfrm>
            <a:off x="6040366" y="2325952"/>
            <a:ext cx="790112" cy="790112"/>
          </a:xfrm>
          <a:prstGeom prst="ellipse">
            <a:avLst/>
          </a:prstGeom>
          <a:solidFill>
            <a:srgbClr val="00B050">
              <a:alpha val="5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159" name="Oval 158"/>
          <p:cNvSpPr/>
          <p:nvPr/>
        </p:nvSpPr>
        <p:spPr>
          <a:xfrm>
            <a:off x="6194931" y="2480518"/>
            <a:ext cx="480986" cy="480984"/>
          </a:xfrm>
          <a:prstGeom prst="ellipse">
            <a:avLst/>
          </a:prstGeom>
          <a:solidFill>
            <a:srgbClr val="00B050">
              <a:alpha val="7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799" dirty="0">
              <a:solidFill>
                <a:srgbClr val="FFFFFF"/>
              </a:solidFill>
            </a:endParaRPr>
          </a:p>
        </p:txBody>
      </p:sp>
      <p:grpSp>
        <p:nvGrpSpPr>
          <p:cNvPr id="160" name="Group 92"/>
          <p:cNvGrpSpPr/>
          <p:nvPr/>
        </p:nvGrpSpPr>
        <p:grpSpPr>
          <a:xfrm>
            <a:off x="3938328" y="1925255"/>
            <a:ext cx="343106" cy="343106"/>
            <a:chOff x="11022921" y="-2056847"/>
            <a:chExt cx="904242" cy="904242"/>
          </a:xfrm>
        </p:grpSpPr>
        <p:sp>
          <p:nvSpPr>
            <p:cNvPr id="161" name="Oval 160"/>
            <p:cNvSpPr/>
            <p:nvPr/>
          </p:nvSpPr>
          <p:spPr>
            <a:xfrm>
              <a:off x="11022921" y="-2056847"/>
              <a:ext cx="904242" cy="904242"/>
            </a:xfrm>
            <a:prstGeom prst="ellipse">
              <a:avLst/>
            </a:prstGeom>
            <a:solidFill>
              <a:srgbClr val="00B050"/>
            </a:solidFill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162" name="Group 94"/>
            <p:cNvGrpSpPr/>
            <p:nvPr/>
          </p:nvGrpSpPr>
          <p:grpSpPr>
            <a:xfrm>
              <a:off x="11228154" y="-1852412"/>
              <a:ext cx="493776" cy="495372"/>
              <a:chOff x="6003191" y="4235559"/>
              <a:chExt cx="493776" cy="495372"/>
            </a:xfrm>
            <a:solidFill>
              <a:schemeClr val="accent4"/>
            </a:solidFill>
          </p:grpSpPr>
          <p:sp>
            <p:nvSpPr>
              <p:cNvPr id="163" name="Freeform 14"/>
              <p:cNvSpPr>
                <a:spLocks noEditPoints="1"/>
              </p:cNvSpPr>
              <p:nvPr/>
            </p:nvSpPr>
            <p:spPr bwMode="auto">
              <a:xfrm>
                <a:off x="6141153" y="4374017"/>
                <a:ext cx="217853" cy="218456"/>
              </a:xfrm>
              <a:custGeom>
                <a:avLst/>
                <a:gdLst>
                  <a:gd name="T0" fmla="*/ 384 w 511"/>
                  <a:gd name="T1" fmla="*/ 0 h 511"/>
                  <a:gd name="T2" fmla="*/ 127 w 511"/>
                  <a:gd name="T3" fmla="*/ 0 h 511"/>
                  <a:gd name="T4" fmla="*/ 0 w 511"/>
                  <a:gd name="T5" fmla="*/ 127 h 511"/>
                  <a:gd name="T6" fmla="*/ 0 w 511"/>
                  <a:gd name="T7" fmla="*/ 384 h 511"/>
                  <a:gd name="T8" fmla="*/ 127 w 511"/>
                  <a:gd name="T9" fmla="*/ 511 h 511"/>
                  <a:gd name="T10" fmla="*/ 384 w 511"/>
                  <a:gd name="T11" fmla="*/ 511 h 511"/>
                  <a:gd name="T12" fmla="*/ 511 w 511"/>
                  <a:gd name="T13" fmla="*/ 384 h 511"/>
                  <a:gd name="T14" fmla="*/ 511 w 511"/>
                  <a:gd name="T15" fmla="*/ 127 h 511"/>
                  <a:gd name="T16" fmla="*/ 384 w 511"/>
                  <a:gd name="T17" fmla="*/ 0 h 511"/>
                  <a:gd name="T18" fmla="*/ 275 w 511"/>
                  <a:gd name="T19" fmla="*/ 85 h 511"/>
                  <a:gd name="T20" fmla="*/ 236 w 511"/>
                  <a:gd name="T21" fmla="*/ 85 h 511"/>
                  <a:gd name="T22" fmla="*/ 236 w 511"/>
                  <a:gd name="T23" fmla="*/ 45 h 511"/>
                  <a:gd name="T24" fmla="*/ 275 w 511"/>
                  <a:gd name="T25" fmla="*/ 45 h 511"/>
                  <a:gd name="T26" fmla="*/ 275 w 511"/>
                  <a:gd name="T27" fmla="*/ 8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1" h="511">
                    <a:moveTo>
                      <a:pt x="384" y="0"/>
                    </a:moveTo>
                    <a:cubicBezTo>
                      <a:pt x="127" y="0"/>
                      <a:pt x="127" y="0"/>
                      <a:pt x="127" y="0"/>
                    </a:cubicBezTo>
                    <a:cubicBezTo>
                      <a:pt x="57" y="0"/>
                      <a:pt x="0" y="57"/>
                      <a:pt x="0" y="127"/>
                    </a:cubicBezTo>
                    <a:cubicBezTo>
                      <a:pt x="0" y="384"/>
                      <a:pt x="0" y="384"/>
                      <a:pt x="0" y="384"/>
                    </a:cubicBezTo>
                    <a:cubicBezTo>
                      <a:pt x="0" y="454"/>
                      <a:pt x="57" y="511"/>
                      <a:pt x="127" y="511"/>
                    </a:cubicBezTo>
                    <a:cubicBezTo>
                      <a:pt x="384" y="511"/>
                      <a:pt x="384" y="511"/>
                      <a:pt x="384" y="511"/>
                    </a:cubicBezTo>
                    <a:cubicBezTo>
                      <a:pt x="454" y="511"/>
                      <a:pt x="511" y="454"/>
                      <a:pt x="511" y="384"/>
                    </a:cubicBezTo>
                    <a:cubicBezTo>
                      <a:pt x="511" y="127"/>
                      <a:pt x="511" y="127"/>
                      <a:pt x="511" y="127"/>
                    </a:cubicBezTo>
                    <a:cubicBezTo>
                      <a:pt x="511" y="57"/>
                      <a:pt x="454" y="0"/>
                      <a:pt x="384" y="0"/>
                    </a:cubicBezTo>
                    <a:close/>
                    <a:moveTo>
                      <a:pt x="275" y="85"/>
                    </a:moveTo>
                    <a:cubicBezTo>
                      <a:pt x="236" y="85"/>
                      <a:pt x="236" y="85"/>
                      <a:pt x="236" y="85"/>
                    </a:cubicBezTo>
                    <a:cubicBezTo>
                      <a:pt x="236" y="45"/>
                      <a:pt x="236" y="45"/>
                      <a:pt x="236" y="45"/>
                    </a:cubicBezTo>
                    <a:cubicBezTo>
                      <a:pt x="275" y="45"/>
                      <a:pt x="275" y="45"/>
                      <a:pt x="275" y="45"/>
                    </a:cubicBezTo>
                    <a:lnTo>
                      <a:pt x="275" y="8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0096D6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164" name="Freeform 163"/>
              <p:cNvSpPr>
                <a:spLocks noEditPoints="1"/>
              </p:cNvSpPr>
              <p:nvPr/>
            </p:nvSpPr>
            <p:spPr bwMode="auto">
              <a:xfrm>
                <a:off x="6003191" y="4235559"/>
                <a:ext cx="493776" cy="495372"/>
              </a:xfrm>
              <a:custGeom>
                <a:avLst/>
                <a:gdLst>
                  <a:gd name="T0" fmla="*/ 885 w 1159"/>
                  <a:gd name="T1" fmla="*/ 0 h 1159"/>
                  <a:gd name="T2" fmla="*/ 274 w 1159"/>
                  <a:gd name="T3" fmla="*/ 0 h 1159"/>
                  <a:gd name="T4" fmla="*/ 0 w 1159"/>
                  <a:gd name="T5" fmla="*/ 274 h 1159"/>
                  <a:gd name="T6" fmla="*/ 0 w 1159"/>
                  <a:gd name="T7" fmla="*/ 885 h 1159"/>
                  <a:gd name="T8" fmla="*/ 274 w 1159"/>
                  <a:gd name="T9" fmla="*/ 1159 h 1159"/>
                  <a:gd name="T10" fmla="*/ 885 w 1159"/>
                  <a:gd name="T11" fmla="*/ 1159 h 1159"/>
                  <a:gd name="T12" fmla="*/ 1159 w 1159"/>
                  <a:gd name="T13" fmla="*/ 885 h 1159"/>
                  <a:gd name="T14" fmla="*/ 1159 w 1159"/>
                  <a:gd name="T15" fmla="*/ 274 h 1159"/>
                  <a:gd name="T16" fmla="*/ 885 w 1159"/>
                  <a:gd name="T17" fmla="*/ 0 h 1159"/>
                  <a:gd name="T18" fmla="*/ 867 w 1159"/>
                  <a:gd name="T19" fmla="*/ 708 h 1159"/>
                  <a:gd name="T20" fmla="*/ 708 w 1159"/>
                  <a:gd name="T21" fmla="*/ 867 h 1159"/>
                  <a:gd name="T22" fmla="*/ 451 w 1159"/>
                  <a:gd name="T23" fmla="*/ 867 h 1159"/>
                  <a:gd name="T24" fmla="*/ 292 w 1159"/>
                  <a:gd name="T25" fmla="*/ 708 h 1159"/>
                  <a:gd name="T26" fmla="*/ 292 w 1159"/>
                  <a:gd name="T27" fmla="*/ 451 h 1159"/>
                  <a:gd name="T28" fmla="*/ 451 w 1159"/>
                  <a:gd name="T29" fmla="*/ 292 h 1159"/>
                  <a:gd name="T30" fmla="*/ 708 w 1159"/>
                  <a:gd name="T31" fmla="*/ 292 h 1159"/>
                  <a:gd name="T32" fmla="*/ 867 w 1159"/>
                  <a:gd name="T33" fmla="*/ 451 h 1159"/>
                  <a:gd name="T34" fmla="*/ 867 w 1159"/>
                  <a:gd name="T35" fmla="*/ 708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59" h="1159">
                    <a:moveTo>
                      <a:pt x="885" y="0"/>
                    </a:moveTo>
                    <a:cubicBezTo>
                      <a:pt x="274" y="0"/>
                      <a:pt x="274" y="0"/>
                      <a:pt x="274" y="0"/>
                    </a:cubicBezTo>
                    <a:cubicBezTo>
                      <a:pt x="123" y="0"/>
                      <a:pt x="0" y="123"/>
                      <a:pt x="0" y="274"/>
                    </a:cubicBezTo>
                    <a:cubicBezTo>
                      <a:pt x="0" y="885"/>
                      <a:pt x="0" y="885"/>
                      <a:pt x="0" y="885"/>
                    </a:cubicBezTo>
                    <a:cubicBezTo>
                      <a:pt x="0" y="1036"/>
                      <a:pt x="123" y="1159"/>
                      <a:pt x="274" y="1159"/>
                    </a:cubicBezTo>
                    <a:cubicBezTo>
                      <a:pt x="885" y="1159"/>
                      <a:pt x="885" y="1159"/>
                      <a:pt x="885" y="1159"/>
                    </a:cubicBezTo>
                    <a:cubicBezTo>
                      <a:pt x="1036" y="1159"/>
                      <a:pt x="1159" y="1036"/>
                      <a:pt x="1159" y="885"/>
                    </a:cubicBezTo>
                    <a:cubicBezTo>
                      <a:pt x="1159" y="274"/>
                      <a:pt x="1159" y="274"/>
                      <a:pt x="1159" y="274"/>
                    </a:cubicBezTo>
                    <a:cubicBezTo>
                      <a:pt x="1159" y="123"/>
                      <a:pt x="1036" y="0"/>
                      <a:pt x="885" y="0"/>
                    </a:cubicBezTo>
                    <a:close/>
                    <a:moveTo>
                      <a:pt x="867" y="708"/>
                    </a:moveTo>
                    <a:cubicBezTo>
                      <a:pt x="867" y="796"/>
                      <a:pt x="796" y="867"/>
                      <a:pt x="708" y="867"/>
                    </a:cubicBezTo>
                    <a:cubicBezTo>
                      <a:pt x="451" y="867"/>
                      <a:pt x="451" y="867"/>
                      <a:pt x="451" y="867"/>
                    </a:cubicBezTo>
                    <a:cubicBezTo>
                      <a:pt x="363" y="867"/>
                      <a:pt x="292" y="796"/>
                      <a:pt x="292" y="708"/>
                    </a:cubicBezTo>
                    <a:cubicBezTo>
                      <a:pt x="292" y="451"/>
                      <a:pt x="292" y="451"/>
                      <a:pt x="292" y="451"/>
                    </a:cubicBezTo>
                    <a:cubicBezTo>
                      <a:pt x="292" y="363"/>
                      <a:pt x="363" y="292"/>
                      <a:pt x="451" y="292"/>
                    </a:cubicBezTo>
                    <a:cubicBezTo>
                      <a:pt x="708" y="292"/>
                      <a:pt x="708" y="292"/>
                      <a:pt x="708" y="292"/>
                    </a:cubicBezTo>
                    <a:cubicBezTo>
                      <a:pt x="796" y="292"/>
                      <a:pt x="867" y="363"/>
                      <a:pt x="867" y="451"/>
                    </a:cubicBezTo>
                    <a:lnTo>
                      <a:pt x="867" y="70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0096D6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165" name="Group 92"/>
          <p:cNvGrpSpPr/>
          <p:nvPr/>
        </p:nvGrpSpPr>
        <p:grpSpPr>
          <a:xfrm>
            <a:off x="5030195" y="1297041"/>
            <a:ext cx="343106" cy="343106"/>
            <a:chOff x="11022921" y="-2056847"/>
            <a:chExt cx="904242" cy="904242"/>
          </a:xfrm>
        </p:grpSpPr>
        <p:sp>
          <p:nvSpPr>
            <p:cNvPr id="166" name="Oval 165"/>
            <p:cNvSpPr/>
            <p:nvPr/>
          </p:nvSpPr>
          <p:spPr>
            <a:xfrm>
              <a:off x="11022921" y="-2056847"/>
              <a:ext cx="904242" cy="904242"/>
            </a:xfrm>
            <a:prstGeom prst="ellipse">
              <a:avLst/>
            </a:prstGeom>
            <a:solidFill>
              <a:srgbClr val="00B050"/>
            </a:solidFill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167" name="Group 94"/>
            <p:cNvGrpSpPr/>
            <p:nvPr/>
          </p:nvGrpSpPr>
          <p:grpSpPr>
            <a:xfrm>
              <a:off x="11228154" y="-1852412"/>
              <a:ext cx="493776" cy="495372"/>
              <a:chOff x="6003191" y="4235559"/>
              <a:chExt cx="493776" cy="495372"/>
            </a:xfrm>
            <a:solidFill>
              <a:schemeClr val="accent4"/>
            </a:solidFill>
          </p:grpSpPr>
          <p:sp>
            <p:nvSpPr>
              <p:cNvPr id="168" name="Freeform 14"/>
              <p:cNvSpPr>
                <a:spLocks noEditPoints="1"/>
              </p:cNvSpPr>
              <p:nvPr/>
            </p:nvSpPr>
            <p:spPr bwMode="auto">
              <a:xfrm>
                <a:off x="6141153" y="4374017"/>
                <a:ext cx="217853" cy="218456"/>
              </a:xfrm>
              <a:custGeom>
                <a:avLst/>
                <a:gdLst>
                  <a:gd name="T0" fmla="*/ 384 w 511"/>
                  <a:gd name="T1" fmla="*/ 0 h 511"/>
                  <a:gd name="T2" fmla="*/ 127 w 511"/>
                  <a:gd name="T3" fmla="*/ 0 h 511"/>
                  <a:gd name="T4" fmla="*/ 0 w 511"/>
                  <a:gd name="T5" fmla="*/ 127 h 511"/>
                  <a:gd name="T6" fmla="*/ 0 w 511"/>
                  <a:gd name="T7" fmla="*/ 384 h 511"/>
                  <a:gd name="T8" fmla="*/ 127 w 511"/>
                  <a:gd name="T9" fmla="*/ 511 h 511"/>
                  <a:gd name="T10" fmla="*/ 384 w 511"/>
                  <a:gd name="T11" fmla="*/ 511 h 511"/>
                  <a:gd name="T12" fmla="*/ 511 w 511"/>
                  <a:gd name="T13" fmla="*/ 384 h 511"/>
                  <a:gd name="T14" fmla="*/ 511 w 511"/>
                  <a:gd name="T15" fmla="*/ 127 h 511"/>
                  <a:gd name="T16" fmla="*/ 384 w 511"/>
                  <a:gd name="T17" fmla="*/ 0 h 511"/>
                  <a:gd name="T18" fmla="*/ 275 w 511"/>
                  <a:gd name="T19" fmla="*/ 85 h 511"/>
                  <a:gd name="T20" fmla="*/ 236 w 511"/>
                  <a:gd name="T21" fmla="*/ 85 h 511"/>
                  <a:gd name="T22" fmla="*/ 236 w 511"/>
                  <a:gd name="T23" fmla="*/ 45 h 511"/>
                  <a:gd name="T24" fmla="*/ 275 w 511"/>
                  <a:gd name="T25" fmla="*/ 45 h 511"/>
                  <a:gd name="T26" fmla="*/ 275 w 511"/>
                  <a:gd name="T27" fmla="*/ 8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1" h="511">
                    <a:moveTo>
                      <a:pt x="384" y="0"/>
                    </a:moveTo>
                    <a:cubicBezTo>
                      <a:pt x="127" y="0"/>
                      <a:pt x="127" y="0"/>
                      <a:pt x="127" y="0"/>
                    </a:cubicBezTo>
                    <a:cubicBezTo>
                      <a:pt x="57" y="0"/>
                      <a:pt x="0" y="57"/>
                      <a:pt x="0" y="127"/>
                    </a:cubicBezTo>
                    <a:cubicBezTo>
                      <a:pt x="0" y="384"/>
                      <a:pt x="0" y="384"/>
                      <a:pt x="0" y="384"/>
                    </a:cubicBezTo>
                    <a:cubicBezTo>
                      <a:pt x="0" y="454"/>
                      <a:pt x="57" y="511"/>
                      <a:pt x="127" y="511"/>
                    </a:cubicBezTo>
                    <a:cubicBezTo>
                      <a:pt x="384" y="511"/>
                      <a:pt x="384" y="511"/>
                      <a:pt x="384" y="511"/>
                    </a:cubicBezTo>
                    <a:cubicBezTo>
                      <a:pt x="454" y="511"/>
                      <a:pt x="511" y="454"/>
                      <a:pt x="511" y="384"/>
                    </a:cubicBezTo>
                    <a:cubicBezTo>
                      <a:pt x="511" y="127"/>
                      <a:pt x="511" y="127"/>
                      <a:pt x="511" y="127"/>
                    </a:cubicBezTo>
                    <a:cubicBezTo>
                      <a:pt x="511" y="57"/>
                      <a:pt x="454" y="0"/>
                      <a:pt x="384" y="0"/>
                    </a:cubicBezTo>
                    <a:close/>
                    <a:moveTo>
                      <a:pt x="275" y="85"/>
                    </a:moveTo>
                    <a:cubicBezTo>
                      <a:pt x="236" y="85"/>
                      <a:pt x="236" y="85"/>
                      <a:pt x="236" y="85"/>
                    </a:cubicBezTo>
                    <a:cubicBezTo>
                      <a:pt x="236" y="45"/>
                      <a:pt x="236" y="45"/>
                      <a:pt x="236" y="45"/>
                    </a:cubicBezTo>
                    <a:cubicBezTo>
                      <a:pt x="275" y="45"/>
                      <a:pt x="275" y="45"/>
                      <a:pt x="275" y="45"/>
                    </a:cubicBezTo>
                    <a:lnTo>
                      <a:pt x="275" y="8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0096D6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169" name="Freeform 168"/>
              <p:cNvSpPr>
                <a:spLocks noEditPoints="1"/>
              </p:cNvSpPr>
              <p:nvPr/>
            </p:nvSpPr>
            <p:spPr bwMode="auto">
              <a:xfrm>
                <a:off x="6003191" y="4235559"/>
                <a:ext cx="493776" cy="495372"/>
              </a:xfrm>
              <a:custGeom>
                <a:avLst/>
                <a:gdLst>
                  <a:gd name="T0" fmla="*/ 885 w 1159"/>
                  <a:gd name="T1" fmla="*/ 0 h 1159"/>
                  <a:gd name="T2" fmla="*/ 274 w 1159"/>
                  <a:gd name="T3" fmla="*/ 0 h 1159"/>
                  <a:gd name="T4" fmla="*/ 0 w 1159"/>
                  <a:gd name="T5" fmla="*/ 274 h 1159"/>
                  <a:gd name="T6" fmla="*/ 0 w 1159"/>
                  <a:gd name="T7" fmla="*/ 885 h 1159"/>
                  <a:gd name="T8" fmla="*/ 274 w 1159"/>
                  <a:gd name="T9" fmla="*/ 1159 h 1159"/>
                  <a:gd name="T10" fmla="*/ 885 w 1159"/>
                  <a:gd name="T11" fmla="*/ 1159 h 1159"/>
                  <a:gd name="T12" fmla="*/ 1159 w 1159"/>
                  <a:gd name="T13" fmla="*/ 885 h 1159"/>
                  <a:gd name="T14" fmla="*/ 1159 w 1159"/>
                  <a:gd name="T15" fmla="*/ 274 h 1159"/>
                  <a:gd name="T16" fmla="*/ 885 w 1159"/>
                  <a:gd name="T17" fmla="*/ 0 h 1159"/>
                  <a:gd name="T18" fmla="*/ 867 w 1159"/>
                  <a:gd name="T19" fmla="*/ 708 h 1159"/>
                  <a:gd name="T20" fmla="*/ 708 w 1159"/>
                  <a:gd name="T21" fmla="*/ 867 h 1159"/>
                  <a:gd name="T22" fmla="*/ 451 w 1159"/>
                  <a:gd name="T23" fmla="*/ 867 h 1159"/>
                  <a:gd name="T24" fmla="*/ 292 w 1159"/>
                  <a:gd name="T25" fmla="*/ 708 h 1159"/>
                  <a:gd name="T26" fmla="*/ 292 w 1159"/>
                  <a:gd name="T27" fmla="*/ 451 h 1159"/>
                  <a:gd name="T28" fmla="*/ 451 w 1159"/>
                  <a:gd name="T29" fmla="*/ 292 h 1159"/>
                  <a:gd name="T30" fmla="*/ 708 w 1159"/>
                  <a:gd name="T31" fmla="*/ 292 h 1159"/>
                  <a:gd name="T32" fmla="*/ 867 w 1159"/>
                  <a:gd name="T33" fmla="*/ 451 h 1159"/>
                  <a:gd name="T34" fmla="*/ 867 w 1159"/>
                  <a:gd name="T35" fmla="*/ 708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59" h="1159">
                    <a:moveTo>
                      <a:pt x="885" y="0"/>
                    </a:moveTo>
                    <a:cubicBezTo>
                      <a:pt x="274" y="0"/>
                      <a:pt x="274" y="0"/>
                      <a:pt x="274" y="0"/>
                    </a:cubicBezTo>
                    <a:cubicBezTo>
                      <a:pt x="123" y="0"/>
                      <a:pt x="0" y="123"/>
                      <a:pt x="0" y="274"/>
                    </a:cubicBezTo>
                    <a:cubicBezTo>
                      <a:pt x="0" y="885"/>
                      <a:pt x="0" y="885"/>
                      <a:pt x="0" y="885"/>
                    </a:cubicBezTo>
                    <a:cubicBezTo>
                      <a:pt x="0" y="1036"/>
                      <a:pt x="123" y="1159"/>
                      <a:pt x="274" y="1159"/>
                    </a:cubicBezTo>
                    <a:cubicBezTo>
                      <a:pt x="885" y="1159"/>
                      <a:pt x="885" y="1159"/>
                      <a:pt x="885" y="1159"/>
                    </a:cubicBezTo>
                    <a:cubicBezTo>
                      <a:pt x="1036" y="1159"/>
                      <a:pt x="1159" y="1036"/>
                      <a:pt x="1159" y="885"/>
                    </a:cubicBezTo>
                    <a:cubicBezTo>
                      <a:pt x="1159" y="274"/>
                      <a:pt x="1159" y="274"/>
                      <a:pt x="1159" y="274"/>
                    </a:cubicBezTo>
                    <a:cubicBezTo>
                      <a:pt x="1159" y="123"/>
                      <a:pt x="1036" y="0"/>
                      <a:pt x="885" y="0"/>
                    </a:cubicBezTo>
                    <a:close/>
                    <a:moveTo>
                      <a:pt x="867" y="708"/>
                    </a:moveTo>
                    <a:cubicBezTo>
                      <a:pt x="867" y="796"/>
                      <a:pt x="796" y="867"/>
                      <a:pt x="708" y="867"/>
                    </a:cubicBezTo>
                    <a:cubicBezTo>
                      <a:pt x="451" y="867"/>
                      <a:pt x="451" y="867"/>
                      <a:pt x="451" y="867"/>
                    </a:cubicBezTo>
                    <a:cubicBezTo>
                      <a:pt x="363" y="867"/>
                      <a:pt x="292" y="796"/>
                      <a:pt x="292" y="708"/>
                    </a:cubicBezTo>
                    <a:cubicBezTo>
                      <a:pt x="292" y="451"/>
                      <a:pt x="292" y="451"/>
                      <a:pt x="292" y="451"/>
                    </a:cubicBezTo>
                    <a:cubicBezTo>
                      <a:pt x="292" y="363"/>
                      <a:pt x="363" y="292"/>
                      <a:pt x="451" y="292"/>
                    </a:cubicBezTo>
                    <a:cubicBezTo>
                      <a:pt x="708" y="292"/>
                      <a:pt x="708" y="292"/>
                      <a:pt x="708" y="292"/>
                    </a:cubicBezTo>
                    <a:cubicBezTo>
                      <a:pt x="796" y="292"/>
                      <a:pt x="867" y="363"/>
                      <a:pt x="867" y="451"/>
                    </a:cubicBezTo>
                    <a:lnTo>
                      <a:pt x="867" y="70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0096D6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170" name="Group 169"/>
          <p:cNvGrpSpPr/>
          <p:nvPr/>
        </p:nvGrpSpPr>
        <p:grpSpPr>
          <a:xfrm>
            <a:off x="5577437" y="2932829"/>
            <a:ext cx="343106" cy="343106"/>
            <a:chOff x="2906640" y="3321441"/>
            <a:chExt cx="343195" cy="343195"/>
          </a:xfrm>
        </p:grpSpPr>
        <p:sp>
          <p:nvSpPr>
            <p:cNvPr id="171" name="Oval 170"/>
            <p:cNvSpPr/>
            <p:nvPr/>
          </p:nvSpPr>
          <p:spPr>
            <a:xfrm>
              <a:off x="2906640" y="3321441"/>
              <a:ext cx="343195" cy="343195"/>
            </a:xfrm>
            <a:prstGeom prst="ellipse">
              <a:avLst/>
            </a:prstGeom>
            <a:solidFill>
              <a:srgbClr val="00B050"/>
            </a:solidFill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172" name="Group 94"/>
            <p:cNvGrpSpPr/>
            <p:nvPr/>
          </p:nvGrpSpPr>
          <p:grpSpPr>
            <a:xfrm>
              <a:off x="2984534" y="3399032"/>
              <a:ext cx="187407" cy="188013"/>
              <a:chOff x="6003191" y="4235559"/>
              <a:chExt cx="493776" cy="495372"/>
            </a:xfrm>
            <a:solidFill>
              <a:schemeClr val="accent4"/>
            </a:solidFill>
          </p:grpSpPr>
          <p:sp>
            <p:nvSpPr>
              <p:cNvPr id="173" name="Freeform 14"/>
              <p:cNvSpPr>
                <a:spLocks noEditPoints="1"/>
              </p:cNvSpPr>
              <p:nvPr/>
            </p:nvSpPr>
            <p:spPr bwMode="auto">
              <a:xfrm>
                <a:off x="6141153" y="4374017"/>
                <a:ext cx="217853" cy="218456"/>
              </a:xfrm>
              <a:custGeom>
                <a:avLst/>
                <a:gdLst>
                  <a:gd name="T0" fmla="*/ 384 w 511"/>
                  <a:gd name="T1" fmla="*/ 0 h 511"/>
                  <a:gd name="T2" fmla="*/ 127 w 511"/>
                  <a:gd name="T3" fmla="*/ 0 h 511"/>
                  <a:gd name="T4" fmla="*/ 0 w 511"/>
                  <a:gd name="T5" fmla="*/ 127 h 511"/>
                  <a:gd name="T6" fmla="*/ 0 w 511"/>
                  <a:gd name="T7" fmla="*/ 384 h 511"/>
                  <a:gd name="T8" fmla="*/ 127 w 511"/>
                  <a:gd name="T9" fmla="*/ 511 h 511"/>
                  <a:gd name="T10" fmla="*/ 384 w 511"/>
                  <a:gd name="T11" fmla="*/ 511 h 511"/>
                  <a:gd name="T12" fmla="*/ 511 w 511"/>
                  <a:gd name="T13" fmla="*/ 384 h 511"/>
                  <a:gd name="T14" fmla="*/ 511 w 511"/>
                  <a:gd name="T15" fmla="*/ 127 h 511"/>
                  <a:gd name="T16" fmla="*/ 384 w 511"/>
                  <a:gd name="T17" fmla="*/ 0 h 511"/>
                  <a:gd name="T18" fmla="*/ 275 w 511"/>
                  <a:gd name="T19" fmla="*/ 85 h 511"/>
                  <a:gd name="T20" fmla="*/ 236 w 511"/>
                  <a:gd name="T21" fmla="*/ 85 h 511"/>
                  <a:gd name="T22" fmla="*/ 236 w 511"/>
                  <a:gd name="T23" fmla="*/ 45 h 511"/>
                  <a:gd name="T24" fmla="*/ 275 w 511"/>
                  <a:gd name="T25" fmla="*/ 45 h 511"/>
                  <a:gd name="T26" fmla="*/ 275 w 511"/>
                  <a:gd name="T27" fmla="*/ 8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1" h="511">
                    <a:moveTo>
                      <a:pt x="384" y="0"/>
                    </a:moveTo>
                    <a:cubicBezTo>
                      <a:pt x="127" y="0"/>
                      <a:pt x="127" y="0"/>
                      <a:pt x="127" y="0"/>
                    </a:cubicBezTo>
                    <a:cubicBezTo>
                      <a:pt x="57" y="0"/>
                      <a:pt x="0" y="57"/>
                      <a:pt x="0" y="127"/>
                    </a:cubicBezTo>
                    <a:cubicBezTo>
                      <a:pt x="0" y="384"/>
                      <a:pt x="0" y="384"/>
                      <a:pt x="0" y="384"/>
                    </a:cubicBezTo>
                    <a:cubicBezTo>
                      <a:pt x="0" y="454"/>
                      <a:pt x="57" y="511"/>
                      <a:pt x="127" y="511"/>
                    </a:cubicBezTo>
                    <a:cubicBezTo>
                      <a:pt x="384" y="511"/>
                      <a:pt x="384" y="511"/>
                      <a:pt x="384" y="511"/>
                    </a:cubicBezTo>
                    <a:cubicBezTo>
                      <a:pt x="454" y="511"/>
                      <a:pt x="511" y="454"/>
                      <a:pt x="511" y="384"/>
                    </a:cubicBezTo>
                    <a:cubicBezTo>
                      <a:pt x="511" y="127"/>
                      <a:pt x="511" y="127"/>
                      <a:pt x="511" y="127"/>
                    </a:cubicBezTo>
                    <a:cubicBezTo>
                      <a:pt x="511" y="57"/>
                      <a:pt x="454" y="0"/>
                      <a:pt x="384" y="0"/>
                    </a:cubicBezTo>
                    <a:close/>
                    <a:moveTo>
                      <a:pt x="275" y="85"/>
                    </a:moveTo>
                    <a:cubicBezTo>
                      <a:pt x="236" y="85"/>
                      <a:pt x="236" y="85"/>
                      <a:pt x="236" y="85"/>
                    </a:cubicBezTo>
                    <a:cubicBezTo>
                      <a:pt x="236" y="45"/>
                      <a:pt x="236" y="45"/>
                      <a:pt x="236" y="45"/>
                    </a:cubicBezTo>
                    <a:cubicBezTo>
                      <a:pt x="275" y="45"/>
                      <a:pt x="275" y="45"/>
                      <a:pt x="275" y="45"/>
                    </a:cubicBezTo>
                    <a:lnTo>
                      <a:pt x="275" y="8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0096D6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174" name="Freeform 173"/>
              <p:cNvSpPr>
                <a:spLocks noEditPoints="1"/>
              </p:cNvSpPr>
              <p:nvPr/>
            </p:nvSpPr>
            <p:spPr bwMode="auto">
              <a:xfrm>
                <a:off x="6003191" y="4235559"/>
                <a:ext cx="493776" cy="495372"/>
              </a:xfrm>
              <a:custGeom>
                <a:avLst/>
                <a:gdLst>
                  <a:gd name="T0" fmla="*/ 885 w 1159"/>
                  <a:gd name="T1" fmla="*/ 0 h 1159"/>
                  <a:gd name="T2" fmla="*/ 274 w 1159"/>
                  <a:gd name="T3" fmla="*/ 0 h 1159"/>
                  <a:gd name="T4" fmla="*/ 0 w 1159"/>
                  <a:gd name="T5" fmla="*/ 274 h 1159"/>
                  <a:gd name="T6" fmla="*/ 0 w 1159"/>
                  <a:gd name="T7" fmla="*/ 885 h 1159"/>
                  <a:gd name="T8" fmla="*/ 274 w 1159"/>
                  <a:gd name="T9" fmla="*/ 1159 h 1159"/>
                  <a:gd name="T10" fmla="*/ 885 w 1159"/>
                  <a:gd name="T11" fmla="*/ 1159 h 1159"/>
                  <a:gd name="T12" fmla="*/ 1159 w 1159"/>
                  <a:gd name="T13" fmla="*/ 885 h 1159"/>
                  <a:gd name="T14" fmla="*/ 1159 w 1159"/>
                  <a:gd name="T15" fmla="*/ 274 h 1159"/>
                  <a:gd name="T16" fmla="*/ 885 w 1159"/>
                  <a:gd name="T17" fmla="*/ 0 h 1159"/>
                  <a:gd name="T18" fmla="*/ 867 w 1159"/>
                  <a:gd name="T19" fmla="*/ 708 h 1159"/>
                  <a:gd name="T20" fmla="*/ 708 w 1159"/>
                  <a:gd name="T21" fmla="*/ 867 h 1159"/>
                  <a:gd name="T22" fmla="*/ 451 w 1159"/>
                  <a:gd name="T23" fmla="*/ 867 h 1159"/>
                  <a:gd name="T24" fmla="*/ 292 w 1159"/>
                  <a:gd name="T25" fmla="*/ 708 h 1159"/>
                  <a:gd name="T26" fmla="*/ 292 w 1159"/>
                  <a:gd name="T27" fmla="*/ 451 h 1159"/>
                  <a:gd name="T28" fmla="*/ 451 w 1159"/>
                  <a:gd name="T29" fmla="*/ 292 h 1159"/>
                  <a:gd name="T30" fmla="*/ 708 w 1159"/>
                  <a:gd name="T31" fmla="*/ 292 h 1159"/>
                  <a:gd name="T32" fmla="*/ 867 w 1159"/>
                  <a:gd name="T33" fmla="*/ 451 h 1159"/>
                  <a:gd name="T34" fmla="*/ 867 w 1159"/>
                  <a:gd name="T35" fmla="*/ 708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59" h="1159">
                    <a:moveTo>
                      <a:pt x="885" y="0"/>
                    </a:moveTo>
                    <a:cubicBezTo>
                      <a:pt x="274" y="0"/>
                      <a:pt x="274" y="0"/>
                      <a:pt x="274" y="0"/>
                    </a:cubicBezTo>
                    <a:cubicBezTo>
                      <a:pt x="123" y="0"/>
                      <a:pt x="0" y="123"/>
                      <a:pt x="0" y="274"/>
                    </a:cubicBezTo>
                    <a:cubicBezTo>
                      <a:pt x="0" y="885"/>
                      <a:pt x="0" y="885"/>
                      <a:pt x="0" y="885"/>
                    </a:cubicBezTo>
                    <a:cubicBezTo>
                      <a:pt x="0" y="1036"/>
                      <a:pt x="123" y="1159"/>
                      <a:pt x="274" y="1159"/>
                    </a:cubicBezTo>
                    <a:cubicBezTo>
                      <a:pt x="885" y="1159"/>
                      <a:pt x="885" y="1159"/>
                      <a:pt x="885" y="1159"/>
                    </a:cubicBezTo>
                    <a:cubicBezTo>
                      <a:pt x="1036" y="1159"/>
                      <a:pt x="1159" y="1036"/>
                      <a:pt x="1159" y="885"/>
                    </a:cubicBezTo>
                    <a:cubicBezTo>
                      <a:pt x="1159" y="274"/>
                      <a:pt x="1159" y="274"/>
                      <a:pt x="1159" y="274"/>
                    </a:cubicBezTo>
                    <a:cubicBezTo>
                      <a:pt x="1159" y="123"/>
                      <a:pt x="1036" y="0"/>
                      <a:pt x="885" y="0"/>
                    </a:cubicBezTo>
                    <a:close/>
                    <a:moveTo>
                      <a:pt x="867" y="708"/>
                    </a:moveTo>
                    <a:cubicBezTo>
                      <a:pt x="867" y="796"/>
                      <a:pt x="796" y="867"/>
                      <a:pt x="708" y="867"/>
                    </a:cubicBezTo>
                    <a:cubicBezTo>
                      <a:pt x="451" y="867"/>
                      <a:pt x="451" y="867"/>
                      <a:pt x="451" y="867"/>
                    </a:cubicBezTo>
                    <a:cubicBezTo>
                      <a:pt x="363" y="867"/>
                      <a:pt x="292" y="796"/>
                      <a:pt x="292" y="708"/>
                    </a:cubicBezTo>
                    <a:cubicBezTo>
                      <a:pt x="292" y="451"/>
                      <a:pt x="292" y="451"/>
                      <a:pt x="292" y="451"/>
                    </a:cubicBezTo>
                    <a:cubicBezTo>
                      <a:pt x="292" y="363"/>
                      <a:pt x="363" y="292"/>
                      <a:pt x="451" y="292"/>
                    </a:cubicBezTo>
                    <a:cubicBezTo>
                      <a:pt x="708" y="292"/>
                      <a:pt x="708" y="292"/>
                      <a:pt x="708" y="292"/>
                    </a:cubicBezTo>
                    <a:cubicBezTo>
                      <a:pt x="796" y="292"/>
                      <a:pt x="867" y="363"/>
                      <a:pt x="867" y="451"/>
                    </a:cubicBezTo>
                    <a:lnTo>
                      <a:pt x="867" y="70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0096D6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175" name="Group 174"/>
          <p:cNvGrpSpPr/>
          <p:nvPr/>
        </p:nvGrpSpPr>
        <p:grpSpPr>
          <a:xfrm>
            <a:off x="6268359" y="2542662"/>
            <a:ext cx="343106" cy="343106"/>
            <a:chOff x="2906640" y="3321441"/>
            <a:chExt cx="343195" cy="343195"/>
          </a:xfrm>
        </p:grpSpPr>
        <p:sp>
          <p:nvSpPr>
            <p:cNvPr id="176" name="Oval 175"/>
            <p:cNvSpPr/>
            <p:nvPr/>
          </p:nvSpPr>
          <p:spPr>
            <a:xfrm>
              <a:off x="2906640" y="3321441"/>
              <a:ext cx="343195" cy="343195"/>
            </a:xfrm>
            <a:prstGeom prst="ellipse">
              <a:avLst/>
            </a:prstGeom>
            <a:solidFill>
              <a:srgbClr val="00B050"/>
            </a:solidFill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177" name="Group 94"/>
            <p:cNvGrpSpPr/>
            <p:nvPr/>
          </p:nvGrpSpPr>
          <p:grpSpPr>
            <a:xfrm>
              <a:off x="2984534" y="3399032"/>
              <a:ext cx="187407" cy="188013"/>
              <a:chOff x="6003191" y="4235559"/>
              <a:chExt cx="493776" cy="495372"/>
            </a:xfrm>
            <a:solidFill>
              <a:schemeClr val="accent4"/>
            </a:solidFill>
          </p:grpSpPr>
          <p:sp>
            <p:nvSpPr>
              <p:cNvPr id="178" name="Freeform 14"/>
              <p:cNvSpPr>
                <a:spLocks noEditPoints="1"/>
              </p:cNvSpPr>
              <p:nvPr/>
            </p:nvSpPr>
            <p:spPr bwMode="auto">
              <a:xfrm>
                <a:off x="6141153" y="4374017"/>
                <a:ext cx="217853" cy="218456"/>
              </a:xfrm>
              <a:custGeom>
                <a:avLst/>
                <a:gdLst>
                  <a:gd name="T0" fmla="*/ 384 w 511"/>
                  <a:gd name="T1" fmla="*/ 0 h 511"/>
                  <a:gd name="T2" fmla="*/ 127 w 511"/>
                  <a:gd name="T3" fmla="*/ 0 h 511"/>
                  <a:gd name="T4" fmla="*/ 0 w 511"/>
                  <a:gd name="T5" fmla="*/ 127 h 511"/>
                  <a:gd name="T6" fmla="*/ 0 w 511"/>
                  <a:gd name="T7" fmla="*/ 384 h 511"/>
                  <a:gd name="T8" fmla="*/ 127 w 511"/>
                  <a:gd name="T9" fmla="*/ 511 h 511"/>
                  <a:gd name="T10" fmla="*/ 384 w 511"/>
                  <a:gd name="T11" fmla="*/ 511 h 511"/>
                  <a:gd name="T12" fmla="*/ 511 w 511"/>
                  <a:gd name="T13" fmla="*/ 384 h 511"/>
                  <a:gd name="T14" fmla="*/ 511 w 511"/>
                  <a:gd name="T15" fmla="*/ 127 h 511"/>
                  <a:gd name="T16" fmla="*/ 384 w 511"/>
                  <a:gd name="T17" fmla="*/ 0 h 511"/>
                  <a:gd name="T18" fmla="*/ 275 w 511"/>
                  <a:gd name="T19" fmla="*/ 85 h 511"/>
                  <a:gd name="T20" fmla="*/ 236 w 511"/>
                  <a:gd name="T21" fmla="*/ 85 h 511"/>
                  <a:gd name="T22" fmla="*/ 236 w 511"/>
                  <a:gd name="T23" fmla="*/ 45 h 511"/>
                  <a:gd name="T24" fmla="*/ 275 w 511"/>
                  <a:gd name="T25" fmla="*/ 45 h 511"/>
                  <a:gd name="T26" fmla="*/ 275 w 511"/>
                  <a:gd name="T27" fmla="*/ 8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1" h="511">
                    <a:moveTo>
                      <a:pt x="384" y="0"/>
                    </a:moveTo>
                    <a:cubicBezTo>
                      <a:pt x="127" y="0"/>
                      <a:pt x="127" y="0"/>
                      <a:pt x="127" y="0"/>
                    </a:cubicBezTo>
                    <a:cubicBezTo>
                      <a:pt x="57" y="0"/>
                      <a:pt x="0" y="57"/>
                      <a:pt x="0" y="127"/>
                    </a:cubicBezTo>
                    <a:cubicBezTo>
                      <a:pt x="0" y="384"/>
                      <a:pt x="0" y="384"/>
                      <a:pt x="0" y="384"/>
                    </a:cubicBezTo>
                    <a:cubicBezTo>
                      <a:pt x="0" y="454"/>
                      <a:pt x="57" y="511"/>
                      <a:pt x="127" y="511"/>
                    </a:cubicBezTo>
                    <a:cubicBezTo>
                      <a:pt x="384" y="511"/>
                      <a:pt x="384" y="511"/>
                      <a:pt x="384" y="511"/>
                    </a:cubicBezTo>
                    <a:cubicBezTo>
                      <a:pt x="454" y="511"/>
                      <a:pt x="511" y="454"/>
                      <a:pt x="511" y="384"/>
                    </a:cubicBezTo>
                    <a:cubicBezTo>
                      <a:pt x="511" y="127"/>
                      <a:pt x="511" y="127"/>
                      <a:pt x="511" y="127"/>
                    </a:cubicBezTo>
                    <a:cubicBezTo>
                      <a:pt x="511" y="57"/>
                      <a:pt x="454" y="0"/>
                      <a:pt x="384" y="0"/>
                    </a:cubicBezTo>
                    <a:close/>
                    <a:moveTo>
                      <a:pt x="275" y="85"/>
                    </a:moveTo>
                    <a:cubicBezTo>
                      <a:pt x="236" y="85"/>
                      <a:pt x="236" y="85"/>
                      <a:pt x="236" y="85"/>
                    </a:cubicBezTo>
                    <a:cubicBezTo>
                      <a:pt x="236" y="45"/>
                      <a:pt x="236" y="45"/>
                      <a:pt x="236" y="45"/>
                    </a:cubicBezTo>
                    <a:cubicBezTo>
                      <a:pt x="275" y="45"/>
                      <a:pt x="275" y="45"/>
                      <a:pt x="275" y="45"/>
                    </a:cubicBezTo>
                    <a:lnTo>
                      <a:pt x="275" y="8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0096D6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179" name="Freeform 178"/>
              <p:cNvSpPr>
                <a:spLocks noEditPoints="1"/>
              </p:cNvSpPr>
              <p:nvPr/>
            </p:nvSpPr>
            <p:spPr bwMode="auto">
              <a:xfrm>
                <a:off x="6003191" y="4235559"/>
                <a:ext cx="493776" cy="495372"/>
              </a:xfrm>
              <a:custGeom>
                <a:avLst/>
                <a:gdLst>
                  <a:gd name="T0" fmla="*/ 885 w 1159"/>
                  <a:gd name="T1" fmla="*/ 0 h 1159"/>
                  <a:gd name="T2" fmla="*/ 274 w 1159"/>
                  <a:gd name="T3" fmla="*/ 0 h 1159"/>
                  <a:gd name="T4" fmla="*/ 0 w 1159"/>
                  <a:gd name="T5" fmla="*/ 274 h 1159"/>
                  <a:gd name="T6" fmla="*/ 0 w 1159"/>
                  <a:gd name="T7" fmla="*/ 885 h 1159"/>
                  <a:gd name="T8" fmla="*/ 274 w 1159"/>
                  <a:gd name="T9" fmla="*/ 1159 h 1159"/>
                  <a:gd name="T10" fmla="*/ 885 w 1159"/>
                  <a:gd name="T11" fmla="*/ 1159 h 1159"/>
                  <a:gd name="T12" fmla="*/ 1159 w 1159"/>
                  <a:gd name="T13" fmla="*/ 885 h 1159"/>
                  <a:gd name="T14" fmla="*/ 1159 w 1159"/>
                  <a:gd name="T15" fmla="*/ 274 h 1159"/>
                  <a:gd name="T16" fmla="*/ 885 w 1159"/>
                  <a:gd name="T17" fmla="*/ 0 h 1159"/>
                  <a:gd name="T18" fmla="*/ 867 w 1159"/>
                  <a:gd name="T19" fmla="*/ 708 h 1159"/>
                  <a:gd name="T20" fmla="*/ 708 w 1159"/>
                  <a:gd name="T21" fmla="*/ 867 h 1159"/>
                  <a:gd name="T22" fmla="*/ 451 w 1159"/>
                  <a:gd name="T23" fmla="*/ 867 h 1159"/>
                  <a:gd name="T24" fmla="*/ 292 w 1159"/>
                  <a:gd name="T25" fmla="*/ 708 h 1159"/>
                  <a:gd name="T26" fmla="*/ 292 w 1159"/>
                  <a:gd name="T27" fmla="*/ 451 h 1159"/>
                  <a:gd name="T28" fmla="*/ 451 w 1159"/>
                  <a:gd name="T29" fmla="*/ 292 h 1159"/>
                  <a:gd name="T30" fmla="*/ 708 w 1159"/>
                  <a:gd name="T31" fmla="*/ 292 h 1159"/>
                  <a:gd name="T32" fmla="*/ 867 w 1159"/>
                  <a:gd name="T33" fmla="*/ 451 h 1159"/>
                  <a:gd name="T34" fmla="*/ 867 w 1159"/>
                  <a:gd name="T35" fmla="*/ 708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59" h="1159">
                    <a:moveTo>
                      <a:pt x="885" y="0"/>
                    </a:moveTo>
                    <a:cubicBezTo>
                      <a:pt x="274" y="0"/>
                      <a:pt x="274" y="0"/>
                      <a:pt x="274" y="0"/>
                    </a:cubicBezTo>
                    <a:cubicBezTo>
                      <a:pt x="123" y="0"/>
                      <a:pt x="0" y="123"/>
                      <a:pt x="0" y="274"/>
                    </a:cubicBezTo>
                    <a:cubicBezTo>
                      <a:pt x="0" y="885"/>
                      <a:pt x="0" y="885"/>
                      <a:pt x="0" y="885"/>
                    </a:cubicBezTo>
                    <a:cubicBezTo>
                      <a:pt x="0" y="1036"/>
                      <a:pt x="123" y="1159"/>
                      <a:pt x="274" y="1159"/>
                    </a:cubicBezTo>
                    <a:cubicBezTo>
                      <a:pt x="885" y="1159"/>
                      <a:pt x="885" y="1159"/>
                      <a:pt x="885" y="1159"/>
                    </a:cubicBezTo>
                    <a:cubicBezTo>
                      <a:pt x="1036" y="1159"/>
                      <a:pt x="1159" y="1036"/>
                      <a:pt x="1159" y="885"/>
                    </a:cubicBezTo>
                    <a:cubicBezTo>
                      <a:pt x="1159" y="274"/>
                      <a:pt x="1159" y="274"/>
                      <a:pt x="1159" y="274"/>
                    </a:cubicBezTo>
                    <a:cubicBezTo>
                      <a:pt x="1159" y="123"/>
                      <a:pt x="1036" y="0"/>
                      <a:pt x="885" y="0"/>
                    </a:cubicBezTo>
                    <a:close/>
                    <a:moveTo>
                      <a:pt x="867" y="708"/>
                    </a:moveTo>
                    <a:cubicBezTo>
                      <a:pt x="867" y="796"/>
                      <a:pt x="796" y="867"/>
                      <a:pt x="708" y="867"/>
                    </a:cubicBezTo>
                    <a:cubicBezTo>
                      <a:pt x="451" y="867"/>
                      <a:pt x="451" y="867"/>
                      <a:pt x="451" y="867"/>
                    </a:cubicBezTo>
                    <a:cubicBezTo>
                      <a:pt x="363" y="867"/>
                      <a:pt x="292" y="796"/>
                      <a:pt x="292" y="708"/>
                    </a:cubicBezTo>
                    <a:cubicBezTo>
                      <a:pt x="292" y="451"/>
                      <a:pt x="292" y="451"/>
                      <a:pt x="292" y="451"/>
                    </a:cubicBezTo>
                    <a:cubicBezTo>
                      <a:pt x="292" y="363"/>
                      <a:pt x="363" y="292"/>
                      <a:pt x="451" y="292"/>
                    </a:cubicBezTo>
                    <a:cubicBezTo>
                      <a:pt x="708" y="292"/>
                      <a:pt x="708" y="292"/>
                      <a:pt x="708" y="292"/>
                    </a:cubicBezTo>
                    <a:cubicBezTo>
                      <a:pt x="796" y="292"/>
                      <a:pt x="867" y="363"/>
                      <a:pt x="867" y="451"/>
                    </a:cubicBezTo>
                    <a:lnTo>
                      <a:pt x="867" y="70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0096D6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180" name="Group 179"/>
          <p:cNvGrpSpPr/>
          <p:nvPr/>
        </p:nvGrpSpPr>
        <p:grpSpPr>
          <a:xfrm rot="10800000">
            <a:off x="4439069" y="1694498"/>
            <a:ext cx="1051641" cy="1051641"/>
            <a:chOff x="7597108" y="-981315"/>
            <a:chExt cx="1516552" cy="1516552"/>
          </a:xfrm>
        </p:grpSpPr>
        <p:sp>
          <p:nvSpPr>
            <p:cNvPr id="181" name="Freeform 5"/>
            <p:cNvSpPr>
              <a:spLocks/>
            </p:cNvSpPr>
            <p:nvPr/>
          </p:nvSpPr>
          <p:spPr bwMode="auto">
            <a:xfrm>
              <a:off x="7597108" y="-981315"/>
              <a:ext cx="758663" cy="1516552"/>
            </a:xfrm>
            <a:custGeom>
              <a:avLst/>
              <a:gdLst>
                <a:gd name="T0" fmla="*/ 828 w 828"/>
                <a:gd name="T1" fmla="*/ 1655 h 1655"/>
                <a:gd name="T2" fmla="*/ 0 w 828"/>
                <a:gd name="T3" fmla="*/ 827 h 1655"/>
                <a:gd name="T4" fmla="*/ 828 w 828"/>
                <a:gd name="T5" fmla="*/ 0 h 1655"/>
                <a:gd name="T6" fmla="*/ 828 w 828"/>
                <a:gd name="T7" fmla="*/ 1655 h 1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8" h="1655">
                  <a:moveTo>
                    <a:pt x="828" y="1655"/>
                  </a:moveTo>
                  <a:cubicBezTo>
                    <a:pt x="371" y="1655"/>
                    <a:pt x="0" y="1284"/>
                    <a:pt x="0" y="827"/>
                  </a:cubicBezTo>
                  <a:cubicBezTo>
                    <a:pt x="0" y="370"/>
                    <a:pt x="371" y="0"/>
                    <a:pt x="828" y="0"/>
                  </a:cubicBezTo>
                  <a:lnTo>
                    <a:pt x="828" y="1655"/>
                  </a:lnTo>
                  <a:close/>
                </a:path>
              </a:pathLst>
            </a:custGeom>
            <a:solidFill>
              <a:srgbClr val="FF6600">
                <a:alpha val="30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>
                <a:solidFill>
                  <a:srgbClr val="FFFFFF"/>
                </a:solidFill>
              </a:endParaRPr>
            </a:p>
          </p:txBody>
        </p:sp>
        <p:sp>
          <p:nvSpPr>
            <p:cNvPr id="182" name="Freeform 6"/>
            <p:cNvSpPr>
              <a:spLocks/>
            </p:cNvSpPr>
            <p:nvPr/>
          </p:nvSpPr>
          <p:spPr bwMode="auto">
            <a:xfrm>
              <a:off x="8355771" y="-981315"/>
              <a:ext cx="757889" cy="1516552"/>
            </a:xfrm>
            <a:custGeom>
              <a:avLst/>
              <a:gdLst>
                <a:gd name="T0" fmla="*/ 0 w 827"/>
                <a:gd name="T1" fmla="*/ 1655 h 1655"/>
                <a:gd name="T2" fmla="*/ 827 w 827"/>
                <a:gd name="T3" fmla="*/ 827 h 1655"/>
                <a:gd name="T4" fmla="*/ 0 w 827"/>
                <a:gd name="T5" fmla="*/ 0 h 1655"/>
                <a:gd name="T6" fmla="*/ 0 w 827"/>
                <a:gd name="T7" fmla="*/ 1655 h 1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7" h="1655">
                  <a:moveTo>
                    <a:pt x="0" y="1655"/>
                  </a:moveTo>
                  <a:cubicBezTo>
                    <a:pt x="457" y="1655"/>
                    <a:pt x="827" y="1284"/>
                    <a:pt x="827" y="827"/>
                  </a:cubicBezTo>
                  <a:cubicBezTo>
                    <a:pt x="827" y="370"/>
                    <a:pt x="457" y="0"/>
                    <a:pt x="0" y="0"/>
                  </a:cubicBezTo>
                  <a:lnTo>
                    <a:pt x="0" y="1655"/>
                  </a:lnTo>
                  <a:close/>
                </a:path>
              </a:pathLst>
            </a:custGeom>
            <a:solidFill>
              <a:srgbClr val="00B050">
                <a:alpha val="30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>
                <a:solidFill>
                  <a:srgbClr val="FFFFFF"/>
                </a:solidFill>
              </a:endParaRPr>
            </a:p>
          </p:txBody>
        </p:sp>
      </p:grpSp>
      <p:grpSp>
        <p:nvGrpSpPr>
          <p:cNvPr id="183" name="Group 182"/>
          <p:cNvGrpSpPr/>
          <p:nvPr/>
        </p:nvGrpSpPr>
        <p:grpSpPr>
          <a:xfrm rot="10800000">
            <a:off x="4569833" y="1825262"/>
            <a:ext cx="790113" cy="790113"/>
            <a:chOff x="7597108" y="-981315"/>
            <a:chExt cx="1516552" cy="1516552"/>
          </a:xfrm>
        </p:grpSpPr>
        <p:sp>
          <p:nvSpPr>
            <p:cNvPr id="184" name="Freeform 5"/>
            <p:cNvSpPr>
              <a:spLocks/>
            </p:cNvSpPr>
            <p:nvPr/>
          </p:nvSpPr>
          <p:spPr bwMode="auto">
            <a:xfrm>
              <a:off x="7597108" y="-981315"/>
              <a:ext cx="758663" cy="1516552"/>
            </a:xfrm>
            <a:custGeom>
              <a:avLst/>
              <a:gdLst>
                <a:gd name="T0" fmla="*/ 828 w 828"/>
                <a:gd name="T1" fmla="*/ 1655 h 1655"/>
                <a:gd name="T2" fmla="*/ 0 w 828"/>
                <a:gd name="T3" fmla="*/ 827 h 1655"/>
                <a:gd name="T4" fmla="*/ 828 w 828"/>
                <a:gd name="T5" fmla="*/ 0 h 1655"/>
                <a:gd name="T6" fmla="*/ 828 w 828"/>
                <a:gd name="T7" fmla="*/ 1655 h 1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8" h="1655">
                  <a:moveTo>
                    <a:pt x="828" y="1655"/>
                  </a:moveTo>
                  <a:cubicBezTo>
                    <a:pt x="371" y="1655"/>
                    <a:pt x="0" y="1284"/>
                    <a:pt x="0" y="827"/>
                  </a:cubicBezTo>
                  <a:cubicBezTo>
                    <a:pt x="0" y="370"/>
                    <a:pt x="371" y="0"/>
                    <a:pt x="828" y="0"/>
                  </a:cubicBezTo>
                  <a:lnTo>
                    <a:pt x="828" y="1655"/>
                  </a:lnTo>
                  <a:close/>
                </a:path>
              </a:pathLst>
            </a:custGeom>
            <a:solidFill>
              <a:srgbClr val="FF6600">
                <a:alpha val="50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>
                <a:solidFill>
                  <a:srgbClr val="FFFFFF"/>
                </a:solidFill>
              </a:endParaRPr>
            </a:p>
          </p:txBody>
        </p:sp>
        <p:sp>
          <p:nvSpPr>
            <p:cNvPr id="185" name="Freeform 6"/>
            <p:cNvSpPr>
              <a:spLocks/>
            </p:cNvSpPr>
            <p:nvPr/>
          </p:nvSpPr>
          <p:spPr bwMode="auto">
            <a:xfrm>
              <a:off x="8355771" y="-981315"/>
              <a:ext cx="757889" cy="1516552"/>
            </a:xfrm>
            <a:custGeom>
              <a:avLst/>
              <a:gdLst>
                <a:gd name="T0" fmla="*/ 0 w 827"/>
                <a:gd name="T1" fmla="*/ 1655 h 1655"/>
                <a:gd name="T2" fmla="*/ 827 w 827"/>
                <a:gd name="T3" fmla="*/ 827 h 1655"/>
                <a:gd name="T4" fmla="*/ 0 w 827"/>
                <a:gd name="T5" fmla="*/ 0 h 1655"/>
                <a:gd name="T6" fmla="*/ 0 w 827"/>
                <a:gd name="T7" fmla="*/ 1655 h 1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7" h="1655">
                  <a:moveTo>
                    <a:pt x="0" y="1655"/>
                  </a:moveTo>
                  <a:cubicBezTo>
                    <a:pt x="457" y="1655"/>
                    <a:pt x="827" y="1284"/>
                    <a:pt x="827" y="827"/>
                  </a:cubicBezTo>
                  <a:cubicBezTo>
                    <a:pt x="827" y="370"/>
                    <a:pt x="457" y="0"/>
                    <a:pt x="0" y="0"/>
                  </a:cubicBezTo>
                  <a:lnTo>
                    <a:pt x="0" y="1655"/>
                  </a:lnTo>
                  <a:close/>
                </a:path>
              </a:pathLst>
            </a:custGeom>
            <a:solidFill>
              <a:srgbClr val="00B050">
                <a:alpha val="50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>
                <a:solidFill>
                  <a:srgbClr val="FFFFFF"/>
                </a:solidFill>
              </a:endParaRPr>
            </a:p>
          </p:txBody>
        </p:sp>
      </p:grpSp>
      <p:grpSp>
        <p:nvGrpSpPr>
          <p:cNvPr id="186" name="Group 185"/>
          <p:cNvGrpSpPr/>
          <p:nvPr/>
        </p:nvGrpSpPr>
        <p:grpSpPr>
          <a:xfrm rot="10800000">
            <a:off x="4733439" y="1988868"/>
            <a:ext cx="462898" cy="462899"/>
            <a:chOff x="7597108" y="-981315"/>
            <a:chExt cx="1516552" cy="1516552"/>
          </a:xfrm>
        </p:grpSpPr>
        <p:sp>
          <p:nvSpPr>
            <p:cNvPr id="187" name="Freeform 5"/>
            <p:cNvSpPr>
              <a:spLocks/>
            </p:cNvSpPr>
            <p:nvPr/>
          </p:nvSpPr>
          <p:spPr bwMode="auto">
            <a:xfrm>
              <a:off x="7597108" y="-981315"/>
              <a:ext cx="758663" cy="1516552"/>
            </a:xfrm>
            <a:custGeom>
              <a:avLst/>
              <a:gdLst>
                <a:gd name="T0" fmla="*/ 828 w 828"/>
                <a:gd name="T1" fmla="*/ 1655 h 1655"/>
                <a:gd name="T2" fmla="*/ 0 w 828"/>
                <a:gd name="T3" fmla="*/ 827 h 1655"/>
                <a:gd name="T4" fmla="*/ 828 w 828"/>
                <a:gd name="T5" fmla="*/ 0 h 1655"/>
                <a:gd name="T6" fmla="*/ 828 w 828"/>
                <a:gd name="T7" fmla="*/ 1655 h 1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8" h="1655">
                  <a:moveTo>
                    <a:pt x="828" y="1655"/>
                  </a:moveTo>
                  <a:cubicBezTo>
                    <a:pt x="371" y="1655"/>
                    <a:pt x="0" y="1284"/>
                    <a:pt x="0" y="827"/>
                  </a:cubicBezTo>
                  <a:cubicBezTo>
                    <a:pt x="0" y="370"/>
                    <a:pt x="371" y="0"/>
                    <a:pt x="828" y="0"/>
                  </a:cubicBezTo>
                  <a:lnTo>
                    <a:pt x="828" y="1655"/>
                  </a:lnTo>
                  <a:close/>
                </a:path>
              </a:pathLst>
            </a:custGeom>
            <a:solidFill>
              <a:srgbClr val="FF6600">
                <a:alpha val="70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>
                <a:solidFill>
                  <a:srgbClr val="FFFFFF"/>
                </a:solidFill>
              </a:endParaRPr>
            </a:p>
          </p:txBody>
        </p:sp>
        <p:sp>
          <p:nvSpPr>
            <p:cNvPr id="188" name="Freeform 6"/>
            <p:cNvSpPr>
              <a:spLocks/>
            </p:cNvSpPr>
            <p:nvPr/>
          </p:nvSpPr>
          <p:spPr bwMode="auto">
            <a:xfrm>
              <a:off x="8355771" y="-981315"/>
              <a:ext cx="757889" cy="1516552"/>
            </a:xfrm>
            <a:custGeom>
              <a:avLst/>
              <a:gdLst>
                <a:gd name="T0" fmla="*/ 0 w 827"/>
                <a:gd name="T1" fmla="*/ 1655 h 1655"/>
                <a:gd name="T2" fmla="*/ 827 w 827"/>
                <a:gd name="T3" fmla="*/ 827 h 1655"/>
                <a:gd name="T4" fmla="*/ 0 w 827"/>
                <a:gd name="T5" fmla="*/ 0 h 1655"/>
                <a:gd name="T6" fmla="*/ 0 w 827"/>
                <a:gd name="T7" fmla="*/ 1655 h 1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7" h="1655">
                  <a:moveTo>
                    <a:pt x="0" y="1655"/>
                  </a:moveTo>
                  <a:cubicBezTo>
                    <a:pt x="457" y="1655"/>
                    <a:pt x="827" y="1284"/>
                    <a:pt x="827" y="827"/>
                  </a:cubicBezTo>
                  <a:cubicBezTo>
                    <a:pt x="827" y="370"/>
                    <a:pt x="457" y="0"/>
                    <a:pt x="0" y="0"/>
                  </a:cubicBezTo>
                  <a:lnTo>
                    <a:pt x="0" y="1655"/>
                  </a:lnTo>
                  <a:close/>
                </a:path>
              </a:pathLst>
            </a:custGeom>
            <a:solidFill>
              <a:srgbClr val="00B050">
                <a:alpha val="70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>
                <a:solidFill>
                  <a:srgbClr val="FFFFFF"/>
                </a:solidFill>
              </a:endParaRPr>
            </a:p>
          </p:txBody>
        </p:sp>
      </p:grpSp>
      <p:grpSp>
        <p:nvGrpSpPr>
          <p:cNvPr id="189" name="Group 188"/>
          <p:cNvGrpSpPr/>
          <p:nvPr/>
        </p:nvGrpSpPr>
        <p:grpSpPr>
          <a:xfrm>
            <a:off x="4794732" y="2045849"/>
            <a:ext cx="343106" cy="343106"/>
            <a:chOff x="2906640" y="3321441"/>
            <a:chExt cx="343195" cy="343195"/>
          </a:xfrm>
        </p:grpSpPr>
        <p:grpSp>
          <p:nvGrpSpPr>
            <p:cNvPr id="190" name="Group 189"/>
            <p:cNvGrpSpPr/>
            <p:nvPr/>
          </p:nvGrpSpPr>
          <p:grpSpPr>
            <a:xfrm>
              <a:off x="2906640" y="3321441"/>
              <a:ext cx="343195" cy="343195"/>
              <a:chOff x="2906640" y="3321441"/>
              <a:chExt cx="343195" cy="343195"/>
            </a:xfrm>
          </p:grpSpPr>
          <p:sp>
            <p:nvSpPr>
              <p:cNvPr id="194" name="Oval 193"/>
              <p:cNvSpPr/>
              <p:nvPr/>
            </p:nvSpPr>
            <p:spPr>
              <a:xfrm>
                <a:off x="2906640" y="3321441"/>
                <a:ext cx="343195" cy="343195"/>
              </a:xfrm>
              <a:prstGeom prst="ellipse">
                <a:avLst/>
              </a:prstGeom>
              <a:solidFill>
                <a:srgbClr val="FF6600"/>
              </a:solidFill>
              <a:ln>
                <a:solidFill>
                  <a:schemeClr val="bg1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5" name="Freeform 13"/>
              <p:cNvSpPr>
                <a:spLocks/>
              </p:cNvSpPr>
              <p:nvPr/>
            </p:nvSpPr>
            <p:spPr bwMode="auto">
              <a:xfrm>
                <a:off x="2921942" y="3339737"/>
                <a:ext cx="156296" cy="312590"/>
              </a:xfrm>
              <a:custGeom>
                <a:avLst/>
                <a:gdLst>
                  <a:gd name="T0" fmla="*/ 2268 w 2268"/>
                  <a:gd name="T1" fmla="*/ 4536 h 4536"/>
                  <a:gd name="T2" fmla="*/ 0 w 2268"/>
                  <a:gd name="T3" fmla="*/ 2268 h 4536"/>
                  <a:gd name="T4" fmla="*/ 2268 w 2268"/>
                  <a:gd name="T5" fmla="*/ 0 h 4536"/>
                  <a:gd name="T6" fmla="*/ 2268 w 2268"/>
                  <a:gd name="T7" fmla="*/ 4536 h 4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68" h="4536">
                    <a:moveTo>
                      <a:pt x="2268" y="4536"/>
                    </a:moveTo>
                    <a:cubicBezTo>
                      <a:pt x="1015" y="4536"/>
                      <a:pt x="0" y="3521"/>
                      <a:pt x="0" y="2268"/>
                    </a:cubicBezTo>
                    <a:cubicBezTo>
                      <a:pt x="0" y="1015"/>
                      <a:pt x="1015" y="0"/>
                      <a:pt x="2268" y="0"/>
                    </a:cubicBezTo>
                    <a:lnTo>
                      <a:pt x="2268" y="4536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  <p:grpSp>
          <p:nvGrpSpPr>
            <p:cNvPr id="191" name="Group 94"/>
            <p:cNvGrpSpPr/>
            <p:nvPr/>
          </p:nvGrpSpPr>
          <p:grpSpPr>
            <a:xfrm>
              <a:off x="2984534" y="3399032"/>
              <a:ext cx="187407" cy="188013"/>
              <a:chOff x="6003191" y="4235559"/>
              <a:chExt cx="493776" cy="495372"/>
            </a:xfrm>
            <a:solidFill>
              <a:schemeClr val="accent4"/>
            </a:solidFill>
          </p:grpSpPr>
          <p:sp>
            <p:nvSpPr>
              <p:cNvPr id="192" name="Freeform 14"/>
              <p:cNvSpPr>
                <a:spLocks noEditPoints="1"/>
              </p:cNvSpPr>
              <p:nvPr/>
            </p:nvSpPr>
            <p:spPr bwMode="auto">
              <a:xfrm>
                <a:off x="6141153" y="4374017"/>
                <a:ext cx="217853" cy="218456"/>
              </a:xfrm>
              <a:custGeom>
                <a:avLst/>
                <a:gdLst>
                  <a:gd name="T0" fmla="*/ 384 w 511"/>
                  <a:gd name="T1" fmla="*/ 0 h 511"/>
                  <a:gd name="T2" fmla="*/ 127 w 511"/>
                  <a:gd name="T3" fmla="*/ 0 h 511"/>
                  <a:gd name="T4" fmla="*/ 0 w 511"/>
                  <a:gd name="T5" fmla="*/ 127 h 511"/>
                  <a:gd name="T6" fmla="*/ 0 w 511"/>
                  <a:gd name="T7" fmla="*/ 384 h 511"/>
                  <a:gd name="T8" fmla="*/ 127 w 511"/>
                  <a:gd name="T9" fmla="*/ 511 h 511"/>
                  <a:gd name="T10" fmla="*/ 384 w 511"/>
                  <a:gd name="T11" fmla="*/ 511 h 511"/>
                  <a:gd name="T12" fmla="*/ 511 w 511"/>
                  <a:gd name="T13" fmla="*/ 384 h 511"/>
                  <a:gd name="T14" fmla="*/ 511 w 511"/>
                  <a:gd name="T15" fmla="*/ 127 h 511"/>
                  <a:gd name="T16" fmla="*/ 384 w 511"/>
                  <a:gd name="T17" fmla="*/ 0 h 511"/>
                  <a:gd name="T18" fmla="*/ 275 w 511"/>
                  <a:gd name="T19" fmla="*/ 85 h 511"/>
                  <a:gd name="T20" fmla="*/ 236 w 511"/>
                  <a:gd name="T21" fmla="*/ 85 h 511"/>
                  <a:gd name="T22" fmla="*/ 236 w 511"/>
                  <a:gd name="T23" fmla="*/ 45 h 511"/>
                  <a:gd name="T24" fmla="*/ 275 w 511"/>
                  <a:gd name="T25" fmla="*/ 45 h 511"/>
                  <a:gd name="T26" fmla="*/ 275 w 511"/>
                  <a:gd name="T27" fmla="*/ 8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1" h="511">
                    <a:moveTo>
                      <a:pt x="384" y="0"/>
                    </a:moveTo>
                    <a:cubicBezTo>
                      <a:pt x="127" y="0"/>
                      <a:pt x="127" y="0"/>
                      <a:pt x="127" y="0"/>
                    </a:cubicBezTo>
                    <a:cubicBezTo>
                      <a:pt x="57" y="0"/>
                      <a:pt x="0" y="57"/>
                      <a:pt x="0" y="127"/>
                    </a:cubicBezTo>
                    <a:cubicBezTo>
                      <a:pt x="0" y="384"/>
                      <a:pt x="0" y="384"/>
                      <a:pt x="0" y="384"/>
                    </a:cubicBezTo>
                    <a:cubicBezTo>
                      <a:pt x="0" y="454"/>
                      <a:pt x="57" y="511"/>
                      <a:pt x="127" y="511"/>
                    </a:cubicBezTo>
                    <a:cubicBezTo>
                      <a:pt x="384" y="511"/>
                      <a:pt x="384" y="511"/>
                      <a:pt x="384" y="511"/>
                    </a:cubicBezTo>
                    <a:cubicBezTo>
                      <a:pt x="454" y="511"/>
                      <a:pt x="511" y="454"/>
                      <a:pt x="511" y="384"/>
                    </a:cubicBezTo>
                    <a:cubicBezTo>
                      <a:pt x="511" y="127"/>
                      <a:pt x="511" y="127"/>
                      <a:pt x="511" y="127"/>
                    </a:cubicBezTo>
                    <a:cubicBezTo>
                      <a:pt x="511" y="57"/>
                      <a:pt x="454" y="0"/>
                      <a:pt x="384" y="0"/>
                    </a:cubicBezTo>
                    <a:close/>
                    <a:moveTo>
                      <a:pt x="275" y="85"/>
                    </a:moveTo>
                    <a:cubicBezTo>
                      <a:pt x="236" y="85"/>
                      <a:pt x="236" y="85"/>
                      <a:pt x="236" y="85"/>
                    </a:cubicBezTo>
                    <a:cubicBezTo>
                      <a:pt x="236" y="45"/>
                      <a:pt x="236" y="45"/>
                      <a:pt x="236" y="45"/>
                    </a:cubicBezTo>
                    <a:cubicBezTo>
                      <a:pt x="275" y="45"/>
                      <a:pt x="275" y="45"/>
                      <a:pt x="275" y="45"/>
                    </a:cubicBezTo>
                    <a:lnTo>
                      <a:pt x="275" y="8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0096D6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193" name="Freeform 192"/>
              <p:cNvSpPr>
                <a:spLocks noEditPoints="1"/>
              </p:cNvSpPr>
              <p:nvPr/>
            </p:nvSpPr>
            <p:spPr bwMode="auto">
              <a:xfrm>
                <a:off x="6003191" y="4235559"/>
                <a:ext cx="493776" cy="495372"/>
              </a:xfrm>
              <a:custGeom>
                <a:avLst/>
                <a:gdLst>
                  <a:gd name="T0" fmla="*/ 885 w 1159"/>
                  <a:gd name="T1" fmla="*/ 0 h 1159"/>
                  <a:gd name="T2" fmla="*/ 274 w 1159"/>
                  <a:gd name="T3" fmla="*/ 0 h 1159"/>
                  <a:gd name="T4" fmla="*/ 0 w 1159"/>
                  <a:gd name="T5" fmla="*/ 274 h 1159"/>
                  <a:gd name="T6" fmla="*/ 0 w 1159"/>
                  <a:gd name="T7" fmla="*/ 885 h 1159"/>
                  <a:gd name="T8" fmla="*/ 274 w 1159"/>
                  <a:gd name="T9" fmla="*/ 1159 h 1159"/>
                  <a:gd name="T10" fmla="*/ 885 w 1159"/>
                  <a:gd name="T11" fmla="*/ 1159 h 1159"/>
                  <a:gd name="T12" fmla="*/ 1159 w 1159"/>
                  <a:gd name="T13" fmla="*/ 885 h 1159"/>
                  <a:gd name="T14" fmla="*/ 1159 w 1159"/>
                  <a:gd name="T15" fmla="*/ 274 h 1159"/>
                  <a:gd name="T16" fmla="*/ 885 w 1159"/>
                  <a:gd name="T17" fmla="*/ 0 h 1159"/>
                  <a:gd name="T18" fmla="*/ 867 w 1159"/>
                  <a:gd name="T19" fmla="*/ 708 h 1159"/>
                  <a:gd name="T20" fmla="*/ 708 w 1159"/>
                  <a:gd name="T21" fmla="*/ 867 h 1159"/>
                  <a:gd name="T22" fmla="*/ 451 w 1159"/>
                  <a:gd name="T23" fmla="*/ 867 h 1159"/>
                  <a:gd name="T24" fmla="*/ 292 w 1159"/>
                  <a:gd name="T25" fmla="*/ 708 h 1159"/>
                  <a:gd name="T26" fmla="*/ 292 w 1159"/>
                  <a:gd name="T27" fmla="*/ 451 h 1159"/>
                  <a:gd name="T28" fmla="*/ 451 w 1159"/>
                  <a:gd name="T29" fmla="*/ 292 h 1159"/>
                  <a:gd name="T30" fmla="*/ 708 w 1159"/>
                  <a:gd name="T31" fmla="*/ 292 h 1159"/>
                  <a:gd name="T32" fmla="*/ 867 w 1159"/>
                  <a:gd name="T33" fmla="*/ 451 h 1159"/>
                  <a:gd name="T34" fmla="*/ 867 w 1159"/>
                  <a:gd name="T35" fmla="*/ 708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59" h="1159">
                    <a:moveTo>
                      <a:pt x="885" y="0"/>
                    </a:moveTo>
                    <a:cubicBezTo>
                      <a:pt x="274" y="0"/>
                      <a:pt x="274" y="0"/>
                      <a:pt x="274" y="0"/>
                    </a:cubicBezTo>
                    <a:cubicBezTo>
                      <a:pt x="123" y="0"/>
                      <a:pt x="0" y="123"/>
                      <a:pt x="0" y="274"/>
                    </a:cubicBezTo>
                    <a:cubicBezTo>
                      <a:pt x="0" y="885"/>
                      <a:pt x="0" y="885"/>
                      <a:pt x="0" y="885"/>
                    </a:cubicBezTo>
                    <a:cubicBezTo>
                      <a:pt x="0" y="1036"/>
                      <a:pt x="123" y="1159"/>
                      <a:pt x="274" y="1159"/>
                    </a:cubicBezTo>
                    <a:cubicBezTo>
                      <a:pt x="885" y="1159"/>
                      <a:pt x="885" y="1159"/>
                      <a:pt x="885" y="1159"/>
                    </a:cubicBezTo>
                    <a:cubicBezTo>
                      <a:pt x="1036" y="1159"/>
                      <a:pt x="1159" y="1036"/>
                      <a:pt x="1159" y="885"/>
                    </a:cubicBezTo>
                    <a:cubicBezTo>
                      <a:pt x="1159" y="274"/>
                      <a:pt x="1159" y="274"/>
                      <a:pt x="1159" y="274"/>
                    </a:cubicBezTo>
                    <a:cubicBezTo>
                      <a:pt x="1159" y="123"/>
                      <a:pt x="1036" y="0"/>
                      <a:pt x="885" y="0"/>
                    </a:cubicBezTo>
                    <a:close/>
                    <a:moveTo>
                      <a:pt x="867" y="708"/>
                    </a:moveTo>
                    <a:cubicBezTo>
                      <a:pt x="867" y="796"/>
                      <a:pt x="796" y="867"/>
                      <a:pt x="708" y="867"/>
                    </a:cubicBezTo>
                    <a:cubicBezTo>
                      <a:pt x="451" y="867"/>
                      <a:pt x="451" y="867"/>
                      <a:pt x="451" y="867"/>
                    </a:cubicBezTo>
                    <a:cubicBezTo>
                      <a:pt x="363" y="867"/>
                      <a:pt x="292" y="796"/>
                      <a:pt x="292" y="708"/>
                    </a:cubicBezTo>
                    <a:cubicBezTo>
                      <a:pt x="292" y="451"/>
                      <a:pt x="292" y="451"/>
                      <a:pt x="292" y="451"/>
                    </a:cubicBezTo>
                    <a:cubicBezTo>
                      <a:pt x="292" y="363"/>
                      <a:pt x="363" y="292"/>
                      <a:pt x="451" y="292"/>
                    </a:cubicBezTo>
                    <a:cubicBezTo>
                      <a:pt x="708" y="292"/>
                      <a:pt x="708" y="292"/>
                      <a:pt x="708" y="292"/>
                    </a:cubicBezTo>
                    <a:cubicBezTo>
                      <a:pt x="796" y="292"/>
                      <a:pt x="867" y="363"/>
                      <a:pt x="867" y="451"/>
                    </a:cubicBezTo>
                    <a:lnTo>
                      <a:pt x="867" y="70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0096D6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grpSp>
        <p:nvGrpSpPr>
          <p:cNvPr id="196" name="Group 195"/>
          <p:cNvGrpSpPr/>
          <p:nvPr/>
        </p:nvGrpSpPr>
        <p:grpSpPr>
          <a:xfrm rot="10800000">
            <a:off x="4450184" y="3128159"/>
            <a:ext cx="1051641" cy="1051641"/>
            <a:chOff x="7597108" y="-981315"/>
            <a:chExt cx="1516552" cy="1516552"/>
          </a:xfrm>
        </p:grpSpPr>
        <p:sp>
          <p:nvSpPr>
            <p:cNvPr id="197" name="Freeform 5"/>
            <p:cNvSpPr>
              <a:spLocks/>
            </p:cNvSpPr>
            <p:nvPr/>
          </p:nvSpPr>
          <p:spPr bwMode="auto">
            <a:xfrm>
              <a:off x="7597108" y="-981315"/>
              <a:ext cx="758663" cy="1516552"/>
            </a:xfrm>
            <a:custGeom>
              <a:avLst/>
              <a:gdLst>
                <a:gd name="T0" fmla="*/ 828 w 828"/>
                <a:gd name="T1" fmla="*/ 1655 h 1655"/>
                <a:gd name="T2" fmla="*/ 0 w 828"/>
                <a:gd name="T3" fmla="*/ 827 h 1655"/>
                <a:gd name="T4" fmla="*/ 828 w 828"/>
                <a:gd name="T5" fmla="*/ 0 h 1655"/>
                <a:gd name="T6" fmla="*/ 828 w 828"/>
                <a:gd name="T7" fmla="*/ 1655 h 1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8" h="1655">
                  <a:moveTo>
                    <a:pt x="828" y="1655"/>
                  </a:moveTo>
                  <a:cubicBezTo>
                    <a:pt x="371" y="1655"/>
                    <a:pt x="0" y="1284"/>
                    <a:pt x="0" y="827"/>
                  </a:cubicBezTo>
                  <a:cubicBezTo>
                    <a:pt x="0" y="370"/>
                    <a:pt x="371" y="0"/>
                    <a:pt x="828" y="0"/>
                  </a:cubicBezTo>
                  <a:lnTo>
                    <a:pt x="828" y="1655"/>
                  </a:lnTo>
                  <a:close/>
                </a:path>
              </a:pathLst>
            </a:custGeom>
            <a:solidFill>
              <a:srgbClr val="FF6600">
                <a:alpha val="30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>
                <a:solidFill>
                  <a:srgbClr val="FFFFFF"/>
                </a:solidFill>
              </a:endParaRPr>
            </a:p>
          </p:txBody>
        </p:sp>
        <p:sp>
          <p:nvSpPr>
            <p:cNvPr id="198" name="Freeform 6"/>
            <p:cNvSpPr>
              <a:spLocks/>
            </p:cNvSpPr>
            <p:nvPr/>
          </p:nvSpPr>
          <p:spPr bwMode="auto">
            <a:xfrm>
              <a:off x="8355771" y="-981315"/>
              <a:ext cx="757889" cy="1516552"/>
            </a:xfrm>
            <a:custGeom>
              <a:avLst/>
              <a:gdLst>
                <a:gd name="T0" fmla="*/ 0 w 827"/>
                <a:gd name="T1" fmla="*/ 1655 h 1655"/>
                <a:gd name="T2" fmla="*/ 827 w 827"/>
                <a:gd name="T3" fmla="*/ 827 h 1655"/>
                <a:gd name="T4" fmla="*/ 0 w 827"/>
                <a:gd name="T5" fmla="*/ 0 h 1655"/>
                <a:gd name="T6" fmla="*/ 0 w 827"/>
                <a:gd name="T7" fmla="*/ 1655 h 1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7" h="1655">
                  <a:moveTo>
                    <a:pt x="0" y="1655"/>
                  </a:moveTo>
                  <a:cubicBezTo>
                    <a:pt x="457" y="1655"/>
                    <a:pt x="827" y="1284"/>
                    <a:pt x="827" y="827"/>
                  </a:cubicBezTo>
                  <a:cubicBezTo>
                    <a:pt x="827" y="370"/>
                    <a:pt x="457" y="0"/>
                    <a:pt x="0" y="0"/>
                  </a:cubicBezTo>
                  <a:lnTo>
                    <a:pt x="0" y="1655"/>
                  </a:lnTo>
                  <a:close/>
                </a:path>
              </a:pathLst>
            </a:custGeom>
            <a:solidFill>
              <a:srgbClr val="00B050">
                <a:alpha val="30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>
                <a:solidFill>
                  <a:srgbClr val="FFFFFF"/>
                </a:solidFill>
              </a:endParaRPr>
            </a:p>
          </p:txBody>
        </p:sp>
      </p:grpSp>
      <p:grpSp>
        <p:nvGrpSpPr>
          <p:cNvPr id="199" name="Group 198"/>
          <p:cNvGrpSpPr/>
          <p:nvPr/>
        </p:nvGrpSpPr>
        <p:grpSpPr>
          <a:xfrm rot="10800000">
            <a:off x="4580948" y="3258923"/>
            <a:ext cx="790113" cy="790113"/>
            <a:chOff x="7597108" y="-981315"/>
            <a:chExt cx="1516552" cy="1516552"/>
          </a:xfrm>
        </p:grpSpPr>
        <p:sp>
          <p:nvSpPr>
            <p:cNvPr id="200" name="Freeform 5"/>
            <p:cNvSpPr>
              <a:spLocks/>
            </p:cNvSpPr>
            <p:nvPr/>
          </p:nvSpPr>
          <p:spPr bwMode="auto">
            <a:xfrm>
              <a:off x="7597108" y="-981315"/>
              <a:ext cx="758663" cy="1516552"/>
            </a:xfrm>
            <a:custGeom>
              <a:avLst/>
              <a:gdLst>
                <a:gd name="T0" fmla="*/ 828 w 828"/>
                <a:gd name="T1" fmla="*/ 1655 h 1655"/>
                <a:gd name="T2" fmla="*/ 0 w 828"/>
                <a:gd name="T3" fmla="*/ 827 h 1655"/>
                <a:gd name="T4" fmla="*/ 828 w 828"/>
                <a:gd name="T5" fmla="*/ 0 h 1655"/>
                <a:gd name="T6" fmla="*/ 828 w 828"/>
                <a:gd name="T7" fmla="*/ 1655 h 1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8" h="1655">
                  <a:moveTo>
                    <a:pt x="828" y="1655"/>
                  </a:moveTo>
                  <a:cubicBezTo>
                    <a:pt x="371" y="1655"/>
                    <a:pt x="0" y="1284"/>
                    <a:pt x="0" y="827"/>
                  </a:cubicBezTo>
                  <a:cubicBezTo>
                    <a:pt x="0" y="370"/>
                    <a:pt x="371" y="0"/>
                    <a:pt x="828" y="0"/>
                  </a:cubicBezTo>
                  <a:lnTo>
                    <a:pt x="828" y="1655"/>
                  </a:lnTo>
                  <a:close/>
                </a:path>
              </a:pathLst>
            </a:custGeom>
            <a:solidFill>
              <a:srgbClr val="FF6600">
                <a:alpha val="50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>
                <a:solidFill>
                  <a:srgbClr val="FFFFFF"/>
                </a:solidFill>
              </a:endParaRPr>
            </a:p>
          </p:txBody>
        </p:sp>
        <p:sp>
          <p:nvSpPr>
            <p:cNvPr id="201" name="Freeform 6"/>
            <p:cNvSpPr>
              <a:spLocks/>
            </p:cNvSpPr>
            <p:nvPr/>
          </p:nvSpPr>
          <p:spPr bwMode="auto">
            <a:xfrm>
              <a:off x="8355771" y="-981315"/>
              <a:ext cx="757889" cy="1516552"/>
            </a:xfrm>
            <a:custGeom>
              <a:avLst/>
              <a:gdLst>
                <a:gd name="T0" fmla="*/ 0 w 827"/>
                <a:gd name="T1" fmla="*/ 1655 h 1655"/>
                <a:gd name="T2" fmla="*/ 827 w 827"/>
                <a:gd name="T3" fmla="*/ 827 h 1655"/>
                <a:gd name="T4" fmla="*/ 0 w 827"/>
                <a:gd name="T5" fmla="*/ 0 h 1655"/>
                <a:gd name="T6" fmla="*/ 0 w 827"/>
                <a:gd name="T7" fmla="*/ 1655 h 1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7" h="1655">
                  <a:moveTo>
                    <a:pt x="0" y="1655"/>
                  </a:moveTo>
                  <a:cubicBezTo>
                    <a:pt x="457" y="1655"/>
                    <a:pt x="827" y="1284"/>
                    <a:pt x="827" y="827"/>
                  </a:cubicBezTo>
                  <a:cubicBezTo>
                    <a:pt x="827" y="370"/>
                    <a:pt x="457" y="0"/>
                    <a:pt x="0" y="0"/>
                  </a:cubicBezTo>
                  <a:lnTo>
                    <a:pt x="0" y="1655"/>
                  </a:lnTo>
                  <a:close/>
                </a:path>
              </a:pathLst>
            </a:custGeom>
            <a:solidFill>
              <a:srgbClr val="00B050">
                <a:alpha val="50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>
                <a:solidFill>
                  <a:srgbClr val="FFFFFF"/>
                </a:solidFill>
              </a:endParaRPr>
            </a:p>
          </p:txBody>
        </p:sp>
      </p:grpSp>
      <p:grpSp>
        <p:nvGrpSpPr>
          <p:cNvPr id="202" name="Group 201"/>
          <p:cNvGrpSpPr/>
          <p:nvPr/>
        </p:nvGrpSpPr>
        <p:grpSpPr>
          <a:xfrm rot="10800000">
            <a:off x="4744554" y="3422529"/>
            <a:ext cx="462898" cy="462899"/>
            <a:chOff x="7597108" y="-981315"/>
            <a:chExt cx="1516552" cy="1516552"/>
          </a:xfrm>
        </p:grpSpPr>
        <p:sp>
          <p:nvSpPr>
            <p:cNvPr id="203" name="Freeform 5"/>
            <p:cNvSpPr>
              <a:spLocks/>
            </p:cNvSpPr>
            <p:nvPr/>
          </p:nvSpPr>
          <p:spPr bwMode="auto">
            <a:xfrm>
              <a:off x="7597108" y="-981315"/>
              <a:ext cx="758663" cy="1516552"/>
            </a:xfrm>
            <a:custGeom>
              <a:avLst/>
              <a:gdLst>
                <a:gd name="T0" fmla="*/ 828 w 828"/>
                <a:gd name="T1" fmla="*/ 1655 h 1655"/>
                <a:gd name="T2" fmla="*/ 0 w 828"/>
                <a:gd name="T3" fmla="*/ 827 h 1655"/>
                <a:gd name="T4" fmla="*/ 828 w 828"/>
                <a:gd name="T5" fmla="*/ 0 h 1655"/>
                <a:gd name="T6" fmla="*/ 828 w 828"/>
                <a:gd name="T7" fmla="*/ 1655 h 1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8" h="1655">
                  <a:moveTo>
                    <a:pt x="828" y="1655"/>
                  </a:moveTo>
                  <a:cubicBezTo>
                    <a:pt x="371" y="1655"/>
                    <a:pt x="0" y="1284"/>
                    <a:pt x="0" y="827"/>
                  </a:cubicBezTo>
                  <a:cubicBezTo>
                    <a:pt x="0" y="370"/>
                    <a:pt x="371" y="0"/>
                    <a:pt x="828" y="0"/>
                  </a:cubicBezTo>
                  <a:lnTo>
                    <a:pt x="828" y="1655"/>
                  </a:lnTo>
                  <a:close/>
                </a:path>
              </a:pathLst>
            </a:custGeom>
            <a:solidFill>
              <a:srgbClr val="FF6600">
                <a:alpha val="70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>
                <a:solidFill>
                  <a:srgbClr val="FFFFFF"/>
                </a:solidFill>
              </a:endParaRPr>
            </a:p>
          </p:txBody>
        </p:sp>
        <p:sp>
          <p:nvSpPr>
            <p:cNvPr id="204" name="Freeform 6"/>
            <p:cNvSpPr>
              <a:spLocks/>
            </p:cNvSpPr>
            <p:nvPr/>
          </p:nvSpPr>
          <p:spPr bwMode="auto">
            <a:xfrm>
              <a:off x="8355771" y="-981315"/>
              <a:ext cx="757889" cy="1516552"/>
            </a:xfrm>
            <a:custGeom>
              <a:avLst/>
              <a:gdLst>
                <a:gd name="T0" fmla="*/ 0 w 827"/>
                <a:gd name="T1" fmla="*/ 1655 h 1655"/>
                <a:gd name="T2" fmla="*/ 827 w 827"/>
                <a:gd name="T3" fmla="*/ 827 h 1655"/>
                <a:gd name="T4" fmla="*/ 0 w 827"/>
                <a:gd name="T5" fmla="*/ 0 h 1655"/>
                <a:gd name="T6" fmla="*/ 0 w 827"/>
                <a:gd name="T7" fmla="*/ 1655 h 1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27" h="1655">
                  <a:moveTo>
                    <a:pt x="0" y="1655"/>
                  </a:moveTo>
                  <a:cubicBezTo>
                    <a:pt x="457" y="1655"/>
                    <a:pt x="827" y="1284"/>
                    <a:pt x="827" y="827"/>
                  </a:cubicBezTo>
                  <a:cubicBezTo>
                    <a:pt x="827" y="370"/>
                    <a:pt x="457" y="0"/>
                    <a:pt x="0" y="0"/>
                  </a:cubicBezTo>
                  <a:lnTo>
                    <a:pt x="0" y="1655"/>
                  </a:lnTo>
                  <a:close/>
                </a:path>
              </a:pathLst>
            </a:custGeom>
            <a:solidFill>
              <a:srgbClr val="00B050">
                <a:alpha val="70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>
                <a:solidFill>
                  <a:srgbClr val="FFFFFF"/>
                </a:solidFill>
              </a:endParaRPr>
            </a:p>
          </p:txBody>
        </p:sp>
      </p:grpSp>
      <p:grpSp>
        <p:nvGrpSpPr>
          <p:cNvPr id="205" name="Group 204"/>
          <p:cNvGrpSpPr/>
          <p:nvPr/>
        </p:nvGrpSpPr>
        <p:grpSpPr>
          <a:xfrm>
            <a:off x="4805739" y="3475684"/>
            <a:ext cx="343106" cy="343106"/>
            <a:chOff x="2906640" y="3321441"/>
            <a:chExt cx="343195" cy="343195"/>
          </a:xfrm>
        </p:grpSpPr>
        <p:grpSp>
          <p:nvGrpSpPr>
            <p:cNvPr id="206" name="Group 205"/>
            <p:cNvGrpSpPr/>
            <p:nvPr/>
          </p:nvGrpSpPr>
          <p:grpSpPr>
            <a:xfrm>
              <a:off x="2906640" y="3321441"/>
              <a:ext cx="343195" cy="343195"/>
              <a:chOff x="2906640" y="3321441"/>
              <a:chExt cx="343195" cy="343195"/>
            </a:xfrm>
          </p:grpSpPr>
          <p:sp>
            <p:nvSpPr>
              <p:cNvPr id="210" name="Oval 209"/>
              <p:cNvSpPr/>
              <p:nvPr/>
            </p:nvSpPr>
            <p:spPr>
              <a:xfrm>
                <a:off x="2906640" y="3321441"/>
                <a:ext cx="343195" cy="343195"/>
              </a:xfrm>
              <a:prstGeom prst="ellipse">
                <a:avLst/>
              </a:prstGeom>
              <a:solidFill>
                <a:srgbClr val="FF6600"/>
              </a:solidFill>
              <a:ln>
                <a:solidFill>
                  <a:schemeClr val="bg1"/>
                </a:solidFill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11" name="Freeform 13"/>
              <p:cNvSpPr>
                <a:spLocks/>
              </p:cNvSpPr>
              <p:nvPr/>
            </p:nvSpPr>
            <p:spPr bwMode="auto">
              <a:xfrm>
                <a:off x="2918949" y="3333751"/>
                <a:ext cx="159289" cy="318576"/>
              </a:xfrm>
              <a:custGeom>
                <a:avLst/>
                <a:gdLst>
                  <a:gd name="T0" fmla="*/ 2268 w 2268"/>
                  <a:gd name="T1" fmla="*/ 4536 h 4536"/>
                  <a:gd name="T2" fmla="*/ 0 w 2268"/>
                  <a:gd name="T3" fmla="*/ 2268 h 4536"/>
                  <a:gd name="T4" fmla="*/ 2268 w 2268"/>
                  <a:gd name="T5" fmla="*/ 0 h 4536"/>
                  <a:gd name="T6" fmla="*/ 2268 w 2268"/>
                  <a:gd name="T7" fmla="*/ 4536 h 4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68" h="4536">
                    <a:moveTo>
                      <a:pt x="2268" y="4536"/>
                    </a:moveTo>
                    <a:cubicBezTo>
                      <a:pt x="1015" y="4536"/>
                      <a:pt x="0" y="3521"/>
                      <a:pt x="0" y="2268"/>
                    </a:cubicBezTo>
                    <a:cubicBezTo>
                      <a:pt x="0" y="1015"/>
                      <a:pt x="1015" y="0"/>
                      <a:pt x="2268" y="0"/>
                    </a:cubicBezTo>
                    <a:lnTo>
                      <a:pt x="2268" y="4536"/>
                    </a:lnTo>
                    <a:close/>
                  </a:path>
                </a:pathLst>
              </a:custGeom>
              <a:solidFill>
                <a:srgbClr val="00B050"/>
              </a:solidFill>
              <a:ln>
                <a:noFill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>
                  <a:solidFill>
                    <a:srgbClr val="58585B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  <p:grpSp>
          <p:nvGrpSpPr>
            <p:cNvPr id="207" name="Group 94"/>
            <p:cNvGrpSpPr/>
            <p:nvPr/>
          </p:nvGrpSpPr>
          <p:grpSpPr>
            <a:xfrm>
              <a:off x="2984534" y="3399032"/>
              <a:ext cx="187407" cy="188013"/>
              <a:chOff x="6003191" y="4235559"/>
              <a:chExt cx="493776" cy="495372"/>
            </a:xfrm>
            <a:solidFill>
              <a:schemeClr val="accent4"/>
            </a:solidFill>
          </p:grpSpPr>
          <p:sp>
            <p:nvSpPr>
              <p:cNvPr id="208" name="Freeform 14"/>
              <p:cNvSpPr>
                <a:spLocks noEditPoints="1"/>
              </p:cNvSpPr>
              <p:nvPr/>
            </p:nvSpPr>
            <p:spPr bwMode="auto">
              <a:xfrm>
                <a:off x="6141153" y="4374017"/>
                <a:ext cx="217853" cy="218456"/>
              </a:xfrm>
              <a:custGeom>
                <a:avLst/>
                <a:gdLst>
                  <a:gd name="T0" fmla="*/ 384 w 511"/>
                  <a:gd name="T1" fmla="*/ 0 h 511"/>
                  <a:gd name="T2" fmla="*/ 127 w 511"/>
                  <a:gd name="T3" fmla="*/ 0 h 511"/>
                  <a:gd name="T4" fmla="*/ 0 w 511"/>
                  <a:gd name="T5" fmla="*/ 127 h 511"/>
                  <a:gd name="T6" fmla="*/ 0 w 511"/>
                  <a:gd name="T7" fmla="*/ 384 h 511"/>
                  <a:gd name="T8" fmla="*/ 127 w 511"/>
                  <a:gd name="T9" fmla="*/ 511 h 511"/>
                  <a:gd name="T10" fmla="*/ 384 w 511"/>
                  <a:gd name="T11" fmla="*/ 511 h 511"/>
                  <a:gd name="T12" fmla="*/ 511 w 511"/>
                  <a:gd name="T13" fmla="*/ 384 h 511"/>
                  <a:gd name="T14" fmla="*/ 511 w 511"/>
                  <a:gd name="T15" fmla="*/ 127 h 511"/>
                  <a:gd name="T16" fmla="*/ 384 w 511"/>
                  <a:gd name="T17" fmla="*/ 0 h 511"/>
                  <a:gd name="T18" fmla="*/ 275 w 511"/>
                  <a:gd name="T19" fmla="*/ 85 h 511"/>
                  <a:gd name="T20" fmla="*/ 236 w 511"/>
                  <a:gd name="T21" fmla="*/ 85 h 511"/>
                  <a:gd name="T22" fmla="*/ 236 w 511"/>
                  <a:gd name="T23" fmla="*/ 45 h 511"/>
                  <a:gd name="T24" fmla="*/ 275 w 511"/>
                  <a:gd name="T25" fmla="*/ 45 h 511"/>
                  <a:gd name="T26" fmla="*/ 275 w 511"/>
                  <a:gd name="T27" fmla="*/ 8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1" h="511">
                    <a:moveTo>
                      <a:pt x="384" y="0"/>
                    </a:moveTo>
                    <a:cubicBezTo>
                      <a:pt x="127" y="0"/>
                      <a:pt x="127" y="0"/>
                      <a:pt x="127" y="0"/>
                    </a:cubicBezTo>
                    <a:cubicBezTo>
                      <a:pt x="57" y="0"/>
                      <a:pt x="0" y="57"/>
                      <a:pt x="0" y="127"/>
                    </a:cubicBezTo>
                    <a:cubicBezTo>
                      <a:pt x="0" y="384"/>
                      <a:pt x="0" y="384"/>
                      <a:pt x="0" y="384"/>
                    </a:cubicBezTo>
                    <a:cubicBezTo>
                      <a:pt x="0" y="454"/>
                      <a:pt x="57" y="511"/>
                      <a:pt x="127" y="511"/>
                    </a:cubicBezTo>
                    <a:cubicBezTo>
                      <a:pt x="384" y="511"/>
                      <a:pt x="384" y="511"/>
                      <a:pt x="384" y="511"/>
                    </a:cubicBezTo>
                    <a:cubicBezTo>
                      <a:pt x="454" y="511"/>
                      <a:pt x="511" y="454"/>
                      <a:pt x="511" y="384"/>
                    </a:cubicBezTo>
                    <a:cubicBezTo>
                      <a:pt x="511" y="127"/>
                      <a:pt x="511" y="127"/>
                      <a:pt x="511" y="127"/>
                    </a:cubicBezTo>
                    <a:cubicBezTo>
                      <a:pt x="511" y="57"/>
                      <a:pt x="454" y="0"/>
                      <a:pt x="384" y="0"/>
                    </a:cubicBezTo>
                    <a:close/>
                    <a:moveTo>
                      <a:pt x="275" y="85"/>
                    </a:moveTo>
                    <a:cubicBezTo>
                      <a:pt x="236" y="85"/>
                      <a:pt x="236" y="85"/>
                      <a:pt x="236" y="85"/>
                    </a:cubicBezTo>
                    <a:cubicBezTo>
                      <a:pt x="236" y="45"/>
                      <a:pt x="236" y="45"/>
                      <a:pt x="236" y="45"/>
                    </a:cubicBezTo>
                    <a:cubicBezTo>
                      <a:pt x="275" y="45"/>
                      <a:pt x="275" y="45"/>
                      <a:pt x="275" y="45"/>
                    </a:cubicBezTo>
                    <a:lnTo>
                      <a:pt x="275" y="8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0096D6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209" name="Freeform 208"/>
              <p:cNvSpPr>
                <a:spLocks noEditPoints="1"/>
              </p:cNvSpPr>
              <p:nvPr/>
            </p:nvSpPr>
            <p:spPr bwMode="auto">
              <a:xfrm>
                <a:off x="6003191" y="4235559"/>
                <a:ext cx="493776" cy="495372"/>
              </a:xfrm>
              <a:custGeom>
                <a:avLst/>
                <a:gdLst>
                  <a:gd name="T0" fmla="*/ 885 w 1159"/>
                  <a:gd name="T1" fmla="*/ 0 h 1159"/>
                  <a:gd name="T2" fmla="*/ 274 w 1159"/>
                  <a:gd name="T3" fmla="*/ 0 h 1159"/>
                  <a:gd name="T4" fmla="*/ 0 w 1159"/>
                  <a:gd name="T5" fmla="*/ 274 h 1159"/>
                  <a:gd name="T6" fmla="*/ 0 w 1159"/>
                  <a:gd name="T7" fmla="*/ 885 h 1159"/>
                  <a:gd name="T8" fmla="*/ 274 w 1159"/>
                  <a:gd name="T9" fmla="*/ 1159 h 1159"/>
                  <a:gd name="T10" fmla="*/ 885 w 1159"/>
                  <a:gd name="T11" fmla="*/ 1159 h 1159"/>
                  <a:gd name="T12" fmla="*/ 1159 w 1159"/>
                  <a:gd name="T13" fmla="*/ 885 h 1159"/>
                  <a:gd name="T14" fmla="*/ 1159 w 1159"/>
                  <a:gd name="T15" fmla="*/ 274 h 1159"/>
                  <a:gd name="T16" fmla="*/ 885 w 1159"/>
                  <a:gd name="T17" fmla="*/ 0 h 1159"/>
                  <a:gd name="T18" fmla="*/ 867 w 1159"/>
                  <a:gd name="T19" fmla="*/ 708 h 1159"/>
                  <a:gd name="T20" fmla="*/ 708 w 1159"/>
                  <a:gd name="T21" fmla="*/ 867 h 1159"/>
                  <a:gd name="T22" fmla="*/ 451 w 1159"/>
                  <a:gd name="T23" fmla="*/ 867 h 1159"/>
                  <a:gd name="T24" fmla="*/ 292 w 1159"/>
                  <a:gd name="T25" fmla="*/ 708 h 1159"/>
                  <a:gd name="T26" fmla="*/ 292 w 1159"/>
                  <a:gd name="T27" fmla="*/ 451 h 1159"/>
                  <a:gd name="T28" fmla="*/ 451 w 1159"/>
                  <a:gd name="T29" fmla="*/ 292 h 1159"/>
                  <a:gd name="T30" fmla="*/ 708 w 1159"/>
                  <a:gd name="T31" fmla="*/ 292 h 1159"/>
                  <a:gd name="T32" fmla="*/ 867 w 1159"/>
                  <a:gd name="T33" fmla="*/ 451 h 1159"/>
                  <a:gd name="T34" fmla="*/ 867 w 1159"/>
                  <a:gd name="T35" fmla="*/ 708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59" h="1159">
                    <a:moveTo>
                      <a:pt x="885" y="0"/>
                    </a:moveTo>
                    <a:cubicBezTo>
                      <a:pt x="274" y="0"/>
                      <a:pt x="274" y="0"/>
                      <a:pt x="274" y="0"/>
                    </a:cubicBezTo>
                    <a:cubicBezTo>
                      <a:pt x="123" y="0"/>
                      <a:pt x="0" y="123"/>
                      <a:pt x="0" y="274"/>
                    </a:cubicBezTo>
                    <a:cubicBezTo>
                      <a:pt x="0" y="885"/>
                      <a:pt x="0" y="885"/>
                      <a:pt x="0" y="885"/>
                    </a:cubicBezTo>
                    <a:cubicBezTo>
                      <a:pt x="0" y="1036"/>
                      <a:pt x="123" y="1159"/>
                      <a:pt x="274" y="1159"/>
                    </a:cubicBezTo>
                    <a:cubicBezTo>
                      <a:pt x="885" y="1159"/>
                      <a:pt x="885" y="1159"/>
                      <a:pt x="885" y="1159"/>
                    </a:cubicBezTo>
                    <a:cubicBezTo>
                      <a:pt x="1036" y="1159"/>
                      <a:pt x="1159" y="1036"/>
                      <a:pt x="1159" y="885"/>
                    </a:cubicBezTo>
                    <a:cubicBezTo>
                      <a:pt x="1159" y="274"/>
                      <a:pt x="1159" y="274"/>
                      <a:pt x="1159" y="274"/>
                    </a:cubicBezTo>
                    <a:cubicBezTo>
                      <a:pt x="1159" y="123"/>
                      <a:pt x="1036" y="0"/>
                      <a:pt x="885" y="0"/>
                    </a:cubicBezTo>
                    <a:close/>
                    <a:moveTo>
                      <a:pt x="867" y="708"/>
                    </a:moveTo>
                    <a:cubicBezTo>
                      <a:pt x="867" y="796"/>
                      <a:pt x="796" y="867"/>
                      <a:pt x="708" y="867"/>
                    </a:cubicBezTo>
                    <a:cubicBezTo>
                      <a:pt x="451" y="867"/>
                      <a:pt x="451" y="867"/>
                      <a:pt x="451" y="867"/>
                    </a:cubicBezTo>
                    <a:cubicBezTo>
                      <a:pt x="363" y="867"/>
                      <a:pt x="292" y="796"/>
                      <a:pt x="292" y="708"/>
                    </a:cubicBezTo>
                    <a:cubicBezTo>
                      <a:pt x="292" y="451"/>
                      <a:pt x="292" y="451"/>
                      <a:pt x="292" y="451"/>
                    </a:cubicBezTo>
                    <a:cubicBezTo>
                      <a:pt x="292" y="363"/>
                      <a:pt x="363" y="292"/>
                      <a:pt x="451" y="292"/>
                    </a:cubicBezTo>
                    <a:cubicBezTo>
                      <a:pt x="708" y="292"/>
                      <a:pt x="708" y="292"/>
                      <a:pt x="708" y="292"/>
                    </a:cubicBezTo>
                    <a:cubicBezTo>
                      <a:pt x="796" y="292"/>
                      <a:pt x="867" y="363"/>
                      <a:pt x="867" y="451"/>
                    </a:cubicBezTo>
                    <a:lnTo>
                      <a:pt x="867" y="70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0096D6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sp>
        <p:nvSpPr>
          <p:cNvPr id="212" name="Oval 211"/>
          <p:cNvSpPr/>
          <p:nvPr/>
        </p:nvSpPr>
        <p:spPr>
          <a:xfrm>
            <a:off x="2966447" y="2311858"/>
            <a:ext cx="1051640" cy="1051640"/>
          </a:xfrm>
          <a:prstGeom prst="ellipse">
            <a:avLst/>
          </a:prstGeom>
          <a:solidFill>
            <a:srgbClr val="00B050">
              <a:alpha val="5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213" name="Oval 212"/>
          <p:cNvSpPr/>
          <p:nvPr/>
        </p:nvSpPr>
        <p:spPr>
          <a:xfrm>
            <a:off x="3097211" y="2442622"/>
            <a:ext cx="790112" cy="790112"/>
          </a:xfrm>
          <a:prstGeom prst="ellipse">
            <a:avLst/>
          </a:prstGeom>
          <a:solidFill>
            <a:srgbClr val="00B050">
              <a:alpha val="5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799" dirty="0">
              <a:solidFill>
                <a:srgbClr val="FFFFFF"/>
              </a:solidFill>
            </a:endParaRPr>
          </a:p>
        </p:txBody>
      </p:sp>
      <p:grpSp>
        <p:nvGrpSpPr>
          <p:cNvPr id="214" name="Group 92"/>
          <p:cNvGrpSpPr/>
          <p:nvPr/>
        </p:nvGrpSpPr>
        <p:grpSpPr>
          <a:xfrm>
            <a:off x="3315685" y="2655387"/>
            <a:ext cx="343106" cy="343106"/>
            <a:chOff x="11022921" y="-2056847"/>
            <a:chExt cx="904242" cy="904242"/>
          </a:xfrm>
        </p:grpSpPr>
        <p:sp>
          <p:nvSpPr>
            <p:cNvPr id="215" name="Oval 214"/>
            <p:cNvSpPr/>
            <p:nvPr/>
          </p:nvSpPr>
          <p:spPr>
            <a:xfrm>
              <a:off x="11022921" y="-2056847"/>
              <a:ext cx="904242" cy="904242"/>
            </a:xfrm>
            <a:prstGeom prst="ellipse">
              <a:avLst/>
            </a:prstGeom>
            <a:solidFill>
              <a:srgbClr val="00B050"/>
            </a:solidFill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216" name="Group 94"/>
            <p:cNvGrpSpPr/>
            <p:nvPr/>
          </p:nvGrpSpPr>
          <p:grpSpPr>
            <a:xfrm>
              <a:off x="11228154" y="-1852412"/>
              <a:ext cx="493776" cy="495372"/>
              <a:chOff x="6003191" y="4235559"/>
              <a:chExt cx="493776" cy="495372"/>
            </a:xfrm>
            <a:solidFill>
              <a:schemeClr val="accent4"/>
            </a:solidFill>
          </p:grpSpPr>
          <p:sp>
            <p:nvSpPr>
              <p:cNvPr id="217" name="Freeform 14"/>
              <p:cNvSpPr>
                <a:spLocks noEditPoints="1"/>
              </p:cNvSpPr>
              <p:nvPr/>
            </p:nvSpPr>
            <p:spPr bwMode="auto">
              <a:xfrm>
                <a:off x="6141153" y="4374017"/>
                <a:ext cx="217853" cy="218456"/>
              </a:xfrm>
              <a:custGeom>
                <a:avLst/>
                <a:gdLst>
                  <a:gd name="T0" fmla="*/ 384 w 511"/>
                  <a:gd name="T1" fmla="*/ 0 h 511"/>
                  <a:gd name="T2" fmla="*/ 127 w 511"/>
                  <a:gd name="T3" fmla="*/ 0 h 511"/>
                  <a:gd name="T4" fmla="*/ 0 w 511"/>
                  <a:gd name="T5" fmla="*/ 127 h 511"/>
                  <a:gd name="T6" fmla="*/ 0 w 511"/>
                  <a:gd name="T7" fmla="*/ 384 h 511"/>
                  <a:gd name="T8" fmla="*/ 127 w 511"/>
                  <a:gd name="T9" fmla="*/ 511 h 511"/>
                  <a:gd name="T10" fmla="*/ 384 w 511"/>
                  <a:gd name="T11" fmla="*/ 511 h 511"/>
                  <a:gd name="T12" fmla="*/ 511 w 511"/>
                  <a:gd name="T13" fmla="*/ 384 h 511"/>
                  <a:gd name="T14" fmla="*/ 511 w 511"/>
                  <a:gd name="T15" fmla="*/ 127 h 511"/>
                  <a:gd name="T16" fmla="*/ 384 w 511"/>
                  <a:gd name="T17" fmla="*/ 0 h 511"/>
                  <a:gd name="T18" fmla="*/ 275 w 511"/>
                  <a:gd name="T19" fmla="*/ 85 h 511"/>
                  <a:gd name="T20" fmla="*/ 236 w 511"/>
                  <a:gd name="T21" fmla="*/ 85 h 511"/>
                  <a:gd name="T22" fmla="*/ 236 w 511"/>
                  <a:gd name="T23" fmla="*/ 45 h 511"/>
                  <a:gd name="T24" fmla="*/ 275 w 511"/>
                  <a:gd name="T25" fmla="*/ 45 h 511"/>
                  <a:gd name="T26" fmla="*/ 275 w 511"/>
                  <a:gd name="T27" fmla="*/ 8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1" h="511">
                    <a:moveTo>
                      <a:pt x="384" y="0"/>
                    </a:moveTo>
                    <a:cubicBezTo>
                      <a:pt x="127" y="0"/>
                      <a:pt x="127" y="0"/>
                      <a:pt x="127" y="0"/>
                    </a:cubicBezTo>
                    <a:cubicBezTo>
                      <a:pt x="57" y="0"/>
                      <a:pt x="0" y="57"/>
                      <a:pt x="0" y="127"/>
                    </a:cubicBezTo>
                    <a:cubicBezTo>
                      <a:pt x="0" y="384"/>
                      <a:pt x="0" y="384"/>
                      <a:pt x="0" y="384"/>
                    </a:cubicBezTo>
                    <a:cubicBezTo>
                      <a:pt x="0" y="454"/>
                      <a:pt x="57" y="511"/>
                      <a:pt x="127" y="511"/>
                    </a:cubicBezTo>
                    <a:cubicBezTo>
                      <a:pt x="384" y="511"/>
                      <a:pt x="384" y="511"/>
                      <a:pt x="384" y="511"/>
                    </a:cubicBezTo>
                    <a:cubicBezTo>
                      <a:pt x="454" y="511"/>
                      <a:pt x="511" y="454"/>
                      <a:pt x="511" y="384"/>
                    </a:cubicBezTo>
                    <a:cubicBezTo>
                      <a:pt x="511" y="127"/>
                      <a:pt x="511" y="127"/>
                      <a:pt x="511" y="127"/>
                    </a:cubicBezTo>
                    <a:cubicBezTo>
                      <a:pt x="511" y="57"/>
                      <a:pt x="454" y="0"/>
                      <a:pt x="384" y="0"/>
                    </a:cubicBezTo>
                    <a:close/>
                    <a:moveTo>
                      <a:pt x="275" y="85"/>
                    </a:moveTo>
                    <a:cubicBezTo>
                      <a:pt x="236" y="85"/>
                      <a:pt x="236" y="85"/>
                      <a:pt x="236" y="85"/>
                    </a:cubicBezTo>
                    <a:cubicBezTo>
                      <a:pt x="236" y="45"/>
                      <a:pt x="236" y="45"/>
                      <a:pt x="236" y="45"/>
                    </a:cubicBezTo>
                    <a:cubicBezTo>
                      <a:pt x="275" y="45"/>
                      <a:pt x="275" y="45"/>
                      <a:pt x="275" y="45"/>
                    </a:cubicBezTo>
                    <a:lnTo>
                      <a:pt x="275" y="8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0096D6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218" name="Freeform 217"/>
              <p:cNvSpPr>
                <a:spLocks noEditPoints="1"/>
              </p:cNvSpPr>
              <p:nvPr/>
            </p:nvSpPr>
            <p:spPr bwMode="auto">
              <a:xfrm>
                <a:off x="6003191" y="4235559"/>
                <a:ext cx="493776" cy="495372"/>
              </a:xfrm>
              <a:custGeom>
                <a:avLst/>
                <a:gdLst>
                  <a:gd name="T0" fmla="*/ 885 w 1159"/>
                  <a:gd name="T1" fmla="*/ 0 h 1159"/>
                  <a:gd name="T2" fmla="*/ 274 w 1159"/>
                  <a:gd name="T3" fmla="*/ 0 h 1159"/>
                  <a:gd name="T4" fmla="*/ 0 w 1159"/>
                  <a:gd name="T5" fmla="*/ 274 h 1159"/>
                  <a:gd name="T6" fmla="*/ 0 w 1159"/>
                  <a:gd name="T7" fmla="*/ 885 h 1159"/>
                  <a:gd name="T8" fmla="*/ 274 w 1159"/>
                  <a:gd name="T9" fmla="*/ 1159 h 1159"/>
                  <a:gd name="T10" fmla="*/ 885 w 1159"/>
                  <a:gd name="T11" fmla="*/ 1159 h 1159"/>
                  <a:gd name="T12" fmla="*/ 1159 w 1159"/>
                  <a:gd name="T13" fmla="*/ 885 h 1159"/>
                  <a:gd name="T14" fmla="*/ 1159 w 1159"/>
                  <a:gd name="T15" fmla="*/ 274 h 1159"/>
                  <a:gd name="T16" fmla="*/ 885 w 1159"/>
                  <a:gd name="T17" fmla="*/ 0 h 1159"/>
                  <a:gd name="T18" fmla="*/ 867 w 1159"/>
                  <a:gd name="T19" fmla="*/ 708 h 1159"/>
                  <a:gd name="T20" fmla="*/ 708 w 1159"/>
                  <a:gd name="T21" fmla="*/ 867 h 1159"/>
                  <a:gd name="T22" fmla="*/ 451 w 1159"/>
                  <a:gd name="T23" fmla="*/ 867 h 1159"/>
                  <a:gd name="T24" fmla="*/ 292 w 1159"/>
                  <a:gd name="T25" fmla="*/ 708 h 1159"/>
                  <a:gd name="T26" fmla="*/ 292 w 1159"/>
                  <a:gd name="T27" fmla="*/ 451 h 1159"/>
                  <a:gd name="T28" fmla="*/ 451 w 1159"/>
                  <a:gd name="T29" fmla="*/ 292 h 1159"/>
                  <a:gd name="T30" fmla="*/ 708 w 1159"/>
                  <a:gd name="T31" fmla="*/ 292 h 1159"/>
                  <a:gd name="T32" fmla="*/ 867 w 1159"/>
                  <a:gd name="T33" fmla="*/ 451 h 1159"/>
                  <a:gd name="T34" fmla="*/ 867 w 1159"/>
                  <a:gd name="T35" fmla="*/ 708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59" h="1159">
                    <a:moveTo>
                      <a:pt x="885" y="0"/>
                    </a:moveTo>
                    <a:cubicBezTo>
                      <a:pt x="274" y="0"/>
                      <a:pt x="274" y="0"/>
                      <a:pt x="274" y="0"/>
                    </a:cubicBezTo>
                    <a:cubicBezTo>
                      <a:pt x="123" y="0"/>
                      <a:pt x="0" y="123"/>
                      <a:pt x="0" y="274"/>
                    </a:cubicBezTo>
                    <a:cubicBezTo>
                      <a:pt x="0" y="885"/>
                      <a:pt x="0" y="885"/>
                      <a:pt x="0" y="885"/>
                    </a:cubicBezTo>
                    <a:cubicBezTo>
                      <a:pt x="0" y="1036"/>
                      <a:pt x="123" y="1159"/>
                      <a:pt x="274" y="1159"/>
                    </a:cubicBezTo>
                    <a:cubicBezTo>
                      <a:pt x="885" y="1159"/>
                      <a:pt x="885" y="1159"/>
                      <a:pt x="885" y="1159"/>
                    </a:cubicBezTo>
                    <a:cubicBezTo>
                      <a:pt x="1036" y="1159"/>
                      <a:pt x="1159" y="1036"/>
                      <a:pt x="1159" y="885"/>
                    </a:cubicBezTo>
                    <a:cubicBezTo>
                      <a:pt x="1159" y="274"/>
                      <a:pt x="1159" y="274"/>
                      <a:pt x="1159" y="274"/>
                    </a:cubicBezTo>
                    <a:cubicBezTo>
                      <a:pt x="1159" y="123"/>
                      <a:pt x="1036" y="0"/>
                      <a:pt x="885" y="0"/>
                    </a:cubicBezTo>
                    <a:close/>
                    <a:moveTo>
                      <a:pt x="867" y="708"/>
                    </a:moveTo>
                    <a:cubicBezTo>
                      <a:pt x="867" y="796"/>
                      <a:pt x="796" y="867"/>
                      <a:pt x="708" y="867"/>
                    </a:cubicBezTo>
                    <a:cubicBezTo>
                      <a:pt x="451" y="867"/>
                      <a:pt x="451" y="867"/>
                      <a:pt x="451" y="867"/>
                    </a:cubicBezTo>
                    <a:cubicBezTo>
                      <a:pt x="363" y="867"/>
                      <a:pt x="292" y="796"/>
                      <a:pt x="292" y="708"/>
                    </a:cubicBezTo>
                    <a:cubicBezTo>
                      <a:pt x="292" y="451"/>
                      <a:pt x="292" y="451"/>
                      <a:pt x="292" y="451"/>
                    </a:cubicBezTo>
                    <a:cubicBezTo>
                      <a:pt x="292" y="363"/>
                      <a:pt x="363" y="292"/>
                      <a:pt x="451" y="292"/>
                    </a:cubicBezTo>
                    <a:cubicBezTo>
                      <a:pt x="708" y="292"/>
                      <a:pt x="708" y="292"/>
                      <a:pt x="708" y="292"/>
                    </a:cubicBezTo>
                    <a:cubicBezTo>
                      <a:pt x="796" y="292"/>
                      <a:pt x="867" y="363"/>
                      <a:pt x="867" y="451"/>
                    </a:cubicBezTo>
                    <a:lnTo>
                      <a:pt x="867" y="70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0096D6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sp>
        <p:nvSpPr>
          <p:cNvPr id="219" name="Oval 218"/>
          <p:cNvSpPr/>
          <p:nvPr/>
        </p:nvSpPr>
        <p:spPr>
          <a:xfrm>
            <a:off x="6771208" y="2442831"/>
            <a:ext cx="1051640" cy="1051640"/>
          </a:xfrm>
          <a:prstGeom prst="ellipse">
            <a:avLst/>
          </a:prstGeom>
          <a:solidFill>
            <a:srgbClr val="00B050">
              <a:alpha val="5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220" name="Oval 219"/>
          <p:cNvSpPr/>
          <p:nvPr/>
        </p:nvSpPr>
        <p:spPr>
          <a:xfrm>
            <a:off x="6901972" y="2573595"/>
            <a:ext cx="790112" cy="790112"/>
          </a:xfrm>
          <a:prstGeom prst="ellipse">
            <a:avLst/>
          </a:prstGeom>
          <a:solidFill>
            <a:srgbClr val="00B050">
              <a:alpha val="5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799" dirty="0">
              <a:solidFill>
                <a:srgbClr val="FFFFFF"/>
              </a:solidFill>
            </a:endParaRPr>
          </a:p>
        </p:txBody>
      </p:sp>
      <p:grpSp>
        <p:nvGrpSpPr>
          <p:cNvPr id="221" name="Group 92"/>
          <p:cNvGrpSpPr/>
          <p:nvPr/>
        </p:nvGrpSpPr>
        <p:grpSpPr>
          <a:xfrm>
            <a:off x="7120447" y="2786360"/>
            <a:ext cx="343106" cy="343106"/>
            <a:chOff x="11022921" y="-2056847"/>
            <a:chExt cx="904242" cy="904242"/>
          </a:xfrm>
        </p:grpSpPr>
        <p:sp>
          <p:nvSpPr>
            <p:cNvPr id="222" name="Oval 221"/>
            <p:cNvSpPr/>
            <p:nvPr/>
          </p:nvSpPr>
          <p:spPr>
            <a:xfrm>
              <a:off x="11022921" y="-2056847"/>
              <a:ext cx="904242" cy="904242"/>
            </a:xfrm>
            <a:prstGeom prst="ellipse">
              <a:avLst/>
            </a:prstGeom>
            <a:solidFill>
              <a:srgbClr val="00B050"/>
            </a:solidFill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223" name="Group 94"/>
            <p:cNvGrpSpPr/>
            <p:nvPr/>
          </p:nvGrpSpPr>
          <p:grpSpPr>
            <a:xfrm>
              <a:off x="11228154" y="-1852412"/>
              <a:ext cx="493776" cy="495372"/>
              <a:chOff x="6003191" y="4235559"/>
              <a:chExt cx="493776" cy="495372"/>
            </a:xfrm>
            <a:solidFill>
              <a:schemeClr val="accent4"/>
            </a:solidFill>
          </p:grpSpPr>
          <p:sp>
            <p:nvSpPr>
              <p:cNvPr id="224" name="Freeform 14"/>
              <p:cNvSpPr>
                <a:spLocks noEditPoints="1"/>
              </p:cNvSpPr>
              <p:nvPr/>
            </p:nvSpPr>
            <p:spPr bwMode="auto">
              <a:xfrm>
                <a:off x="6141153" y="4374017"/>
                <a:ext cx="217853" cy="218456"/>
              </a:xfrm>
              <a:custGeom>
                <a:avLst/>
                <a:gdLst>
                  <a:gd name="T0" fmla="*/ 384 w 511"/>
                  <a:gd name="T1" fmla="*/ 0 h 511"/>
                  <a:gd name="T2" fmla="*/ 127 w 511"/>
                  <a:gd name="T3" fmla="*/ 0 h 511"/>
                  <a:gd name="T4" fmla="*/ 0 w 511"/>
                  <a:gd name="T5" fmla="*/ 127 h 511"/>
                  <a:gd name="T6" fmla="*/ 0 w 511"/>
                  <a:gd name="T7" fmla="*/ 384 h 511"/>
                  <a:gd name="T8" fmla="*/ 127 w 511"/>
                  <a:gd name="T9" fmla="*/ 511 h 511"/>
                  <a:gd name="T10" fmla="*/ 384 w 511"/>
                  <a:gd name="T11" fmla="*/ 511 h 511"/>
                  <a:gd name="T12" fmla="*/ 511 w 511"/>
                  <a:gd name="T13" fmla="*/ 384 h 511"/>
                  <a:gd name="T14" fmla="*/ 511 w 511"/>
                  <a:gd name="T15" fmla="*/ 127 h 511"/>
                  <a:gd name="T16" fmla="*/ 384 w 511"/>
                  <a:gd name="T17" fmla="*/ 0 h 511"/>
                  <a:gd name="T18" fmla="*/ 275 w 511"/>
                  <a:gd name="T19" fmla="*/ 85 h 511"/>
                  <a:gd name="T20" fmla="*/ 236 w 511"/>
                  <a:gd name="T21" fmla="*/ 85 h 511"/>
                  <a:gd name="T22" fmla="*/ 236 w 511"/>
                  <a:gd name="T23" fmla="*/ 45 h 511"/>
                  <a:gd name="T24" fmla="*/ 275 w 511"/>
                  <a:gd name="T25" fmla="*/ 45 h 511"/>
                  <a:gd name="T26" fmla="*/ 275 w 511"/>
                  <a:gd name="T27" fmla="*/ 8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1" h="511">
                    <a:moveTo>
                      <a:pt x="384" y="0"/>
                    </a:moveTo>
                    <a:cubicBezTo>
                      <a:pt x="127" y="0"/>
                      <a:pt x="127" y="0"/>
                      <a:pt x="127" y="0"/>
                    </a:cubicBezTo>
                    <a:cubicBezTo>
                      <a:pt x="57" y="0"/>
                      <a:pt x="0" y="57"/>
                      <a:pt x="0" y="127"/>
                    </a:cubicBezTo>
                    <a:cubicBezTo>
                      <a:pt x="0" y="384"/>
                      <a:pt x="0" y="384"/>
                      <a:pt x="0" y="384"/>
                    </a:cubicBezTo>
                    <a:cubicBezTo>
                      <a:pt x="0" y="454"/>
                      <a:pt x="57" y="511"/>
                      <a:pt x="127" y="511"/>
                    </a:cubicBezTo>
                    <a:cubicBezTo>
                      <a:pt x="384" y="511"/>
                      <a:pt x="384" y="511"/>
                      <a:pt x="384" y="511"/>
                    </a:cubicBezTo>
                    <a:cubicBezTo>
                      <a:pt x="454" y="511"/>
                      <a:pt x="511" y="454"/>
                      <a:pt x="511" y="384"/>
                    </a:cubicBezTo>
                    <a:cubicBezTo>
                      <a:pt x="511" y="127"/>
                      <a:pt x="511" y="127"/>
                      <a:pt x="511" y="127"/>
                    </a:cubicBezTo>
                    <a:cubicBezTo>
                      <a:pt x="511" y="57"/>
                      <a:pt x="454" y="0"/>
                      <a:pt x="384" y="0"/>
                    </a:cubicBezTo>
                    <a:close/>
                    <a:moveTo>
                      <a:pt x="275" y="85"/>
                    </a:moveTo>
                    <a:cubicBezTo>
                      <a:pt x="236" y="85"/>
                      <a:pt x="236" y="85"/>
                      <a:pt x="236" y="85"/>
                    </a:cubicBezTo>
                    <a:cubicBezTo>
                      <a:pt x="236" y="45"/>
                      <a:pt x="236" y="45"/>
                      <a:pt x="236" y="45"/>
                    </a:cubicBezTo>
                    <a:cubicBezTo>
                      <a:pt x="275" y="45"/>
                      <a:pt x="275" y="45"/>
                      <a:pt x="275" y="45"/>
                    </a:cubicBezTo>
                    <a:lnTo>
                      <a:pt x="275" y="8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0096D6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225" name="Freeform 224"/>
              <p:cNvSpPr>
                <a:spLocks noEditPoints="1"/>
              </p:cNvSpPr>
              <p:nvPr/>
            </p:nvSpPr>
            <p:spPr bwMode="auto">
              <a:xfrm>
                <a:off x="6003191" y="4235559"/>
                <a:ext cx="493776" cy="495372"/>
              </a:xfrm>
              <a:custGeom>
                <a:avLst/>
                <a:gdLst>
                  <a:gd name="T0" fmla="*/ 885 w 1159"/>
                  <a:gd name="T1" fmla="*/ 0 h 1159"/>
                  <a:gd name="T2" fmla="*/ 274 w 1159"/>
                  <a:gd name="T3" fmla="*/ 0 h 1159"/>
                  <a:gd name="T4" fmla="*/ 0 w 1159"/>
                  <a:gd name="T5" fmla="*/ 274 h 1159"/>
                  <a:gd name="T6" fmla="*/ 0 w 1159"/>
                  <a:gd name="T7" fmla="*/ 885 h 1159"/>
                  <a:gd name="T8" fmla="*/ 274 w 1159"/>
                  <a:gd name="T9" fmla="*/ 1159 h 1159"/>
                  <a:gd name="T10" fmla="*/ 885 w 1159"/>
                  <a:gd name="T11" fmla="*/ 1159 h 1159"/>
                  <a:gd name="T12" fmla="*/ 1159 w 1159"/>
                  <a:gd name="T13" fmla="*/ 885 h 1159"/>
                  <a:gd name="T14" fmla="*/ 1159 w 1159"/>
                  <a:gd name="T15" fmla="*/ 274 h 1159"/>
                  <a:gd name="T16" fmla="*/ 885 w 1159"/>
                  <a:gd name="T17" fmla="*/ 0 h 1159"/>
                  <a:gd name="T18" fmla="*/ 867 w 1159"/>
                  <a:gd name="T19" fmla="*/ 708 h 1159"/>
                  <a:gd name="T20" fmla="*/ 708 w 1159"/>
                  <a:gd name="T21" fmla="*/ 867 h 1159"/>
                  <a:gd name="T22" fmla="*/ 451 w 1159"/>
                  <a:gd name="T23" fmla="*/ 867 h 1159"/>
                  <a:gd name="T24" fmla="*/ 292 w 1159"/>
                  <a:gd name="T25" fmla="*/ 708 h 1159"/>
                  <a:gd name="T26" fmla="*/ 292 w 1159"/>
                  <a:gd name="T27" fmla="*/ 451 h 1159"/>
                  <a:gd name="T28" fmla="*/ 451 w 1159"/>
                  <a:gd name="T29" fmla="*/ 292 h 1159"/>
                  <a:gd name="T30" fmla="*/ 708 w 1159"/>
                  <a:gd name="T31" fmla="*/ 292 h 1159"/>
                  <a:gd name="T32" fmla="*/ 867 w 1159"/>
                  <a:gd name="T33" fmla="*/ 451 h 1159"/>
                  <a:gd name="T34" fmla="*/ 867 w 1159"/>
                  <a:gd name="T35" fmla="*/ 708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59" h="1159">
                    <a:moveTo>
                      <a:pt x="885" y="0"/>
                    </a:moveTo>
                    <a:cubicBezTo>
                      <a:pt x="274" y="0"/>
                      <a:pt x="274" y="0"/>
                      <a:pt x="274" y="0"/>
                    </a:cubicBezTo>
                    <a:cubicBezTo>
                      <a:pt x="123" y="0"/>
                      <a:pt x="0" y="123"/>
                      <a:pt x="0" y="274"/>
                    </a:cubicBezTo>
                    <a:cubicBezTo>
                      <a:pt x="0" y="885"/>
                      <a:pt x="0" y="885"/>
                      <a:pt x="0" y="885"/>
                    </a:cubicBezTo>
                    <a:cubicBezTo>
                      <a:pt x="0" y="1036"/>
                      <a:pt x="123" y="1159"/>
                      <a:pt x="274" y="1159"/>
                    </a:cubicBezTo>
                    <a:cubicBezTo>
                      <a:pt x="885" y="1159"/>
                      <a:pt x="885" y="1159"/>
                      <a:pt x="885" y="1159"/>
                    </a:cubicBezTo>
                    <a:cubicBezTo>
                      <a:pt x="1036" y="1159"/>
                      <a:pt x="1159" y="1036"/>
                      <a:pt x="1159" y="885"/>
                    </a:cubicBezTo>
                    <a:cubicBezTo>
                      <a:pt x="1159" y="274"/>
                      <a:pt x="1159" y="274"/>
                      <a:pt x="1159" y="274"/>
                    </a:cubicBezTo>
                    <a:cubicBezTo>
                      <a:pt x="1159" y="123"/>
                      <a:pt x="1036" y="0"/>
                      <a:pt x="885" y="0"/>
                    </a:cubicBezTo>
                    <a:close/>
                    <a:moveTo>
                      <a:pt x="867" y="708"/>
                    </a:moveTo>
                    <a:cubicBezTo>
                      <a:pt x="867" y="796"/>
                      <a:pt x="796" y="867"/>
                      <a:pt x="708" y="867"/>
                    </a:cubicBezTo>
                    <a:cubicBezTo>
                      <a:pt x="451" y="867"/>
                      <a:pt x="451" y="867"/>
                      <a:pt x="451" y="867"/>
                    </a:cubicBezTo>
                    <a:cubicBezTo>
                      <a:pt x="363" y="867"/>
                      <a:pt x="292" y="796"/>
                      <a:pt x="292" y="708"/>
                    </a:cubicBezTo>
                    <a:cubicBezTo>
                      <a:pt x="292" y="451"/>
                      <a:pt x="292" y="451"/>
                      <a:pt x="292" y="451"/>
                    </a:cubicBezTo>
                    <a:cubicBezTo>
                      <a:pt x="292" y="363"/>
                      <a:pt x="363" y="292"/>
                      <a:pt x="451" y="292"/>
                    </a:cubicBezTo>
                    <a:cubicBezTo>
                      <a:pt x="708" y="292"/>
                      <a:pt x="708" y="292"/>
                      <a:pt x="708" y="292"/>
                    </a:cubicBezTo>
                    <a:cubicBezTo>
                      <a:pt x="796" y="292"/>
                      <a:pt x="867" y="363"/>
                      <a:pt x="867" y="451"/>
                    </a:cubicBezTo>
                    <a:lnTo>
                      <a:pt x="867" y="70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0096D6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sp>
        <p:nvSpPr>
          <p:cNvPr id="226" name="Oval 225"/>
          <p:cNvSpPr/>
          <p:nvPr/>
        </p:nvSpPr>
        <p:spPr>
          <a:xfrm>
            <a:off x="1908253" y="3329119"/>
            <a:ext cx="1051640" cy="1051640"/>
          </a:xfrm>
          <a:prstGeom prst="ellipse">
            <a:avLst/>
          </a:prstGeom>
          <a:solidFill>
            <a:srgbClr val="00B050">
              <a:alpha val="5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799" dirty="0">
              <a:solidFill>
                <a:srgbClr val="FFFFFF"/>
              </a:solidFill>
            </a:endParaRPr>
          </a:p>
        </p:txBody>
      </p:sp>
      <p:sp>
        <p:nvSpPr>
          <p:cNvPr id="227" name="Oval 226"/>
          <p:cNvSpPr/>
          <p:nvPr/>
        </p:nvSpPr>
        <p:spPr>
          <a:xfrm>
            <a:off x="2039017" y="3459883"/>
            <a:ext cx="790112" cy="790112"/>
          </a:xfrm>
          <a:prstGeom prst="ellipse">
            <a:avLst/>
          </a:prstGeom>
          <a:solidFill>
            <a:srgbClr val="00B050">
              <a:alpha val="5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799" dirty="0">
              <a:solidFill>
                <a:srgbClr val="FFFFFF"/>
              </a:solidFill>
            </a:endParaRPr>
          </a:p>
        </p:txBody>
      </p:sp>
      <p:grpSp>
        <p:nvGrpSpPr>
          <p:cNvPr id="228" name="Group 92"/>
          <p:cNvGrpSpPr/>
          <p:nvPr/>
        </p:nvGrpSpPr>
        <p:grpSpPr>
          <a:xfrm>
            <a:off x="2257491" y="3672648"/>
            <a:ext cx="343106" cy="343106"/>
            <a:chOff x="11022921" y="-2056847"/>
            <a:chExt cx="904242" cy="904242"/>
          </a:xfrm>
        </p:grpSpPr>
        <p:sp>
          <p:nvSpPr>
            <p:cNvPr id="229" name="Oval 228"/>
            <p:cNvSpPr/>
            <p:nvPr/>
          </p:nvSpPr>
          <p:spPr>
            <a:xfrm>
              <a:off x="11022921" y="-2056847"/>
              <a:ext cx="904242" cy="904242"/>
            </a:xfrm>
            <a:prstGeom prst="ellipse">
              <a:avLst/>
            </a:prstGeom>
            <a:solidFill>
              <a:srgbClr val="00B050"/>
            </a:solidFill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1799" dirty="0">
                <a:solidFill>
                  <a:srgbClr val="FFFFFF"/>
                </a:solidFill>
              </a:endParaRPr>
            </a:p>
          </p:txBody>
        </p:sp>
        <p:grpSp>
          <p:nvGrpSpPr>
            <p:cNvPr id="230" name="Group 94"/>
            <p:cNvGrpSpPr/>
            <p:nvPr/>
          </p:nvGrpSpPr>
          <p:grpSpPr>
            <a:xfrm>
              <a:off x="11228154" y="-1852412"/>
              <a:ext cx="493776" cy="495372"/>
              <a:chOff x="6003191" y="4235559"/>
              <a:chExt cx="493776" cy="495372"/>
            </a:xfrm>
            <a:solidFill>
              <a:schemeClr val="accent4"/>
            </a:solidFill>
          </p:grpSpPr>
          <p:sp>
            <p:nvSpPr>
              <p:cNvPr id="231" name="Freeform 14"/>
              <p:cNvSpPr>
                <a:spLocks noEditPoints="1"/>
              </p:cNvSpPr>
              <p:nvPr/>
            </p:nvSpPr>
            <p:spPr bwMode="auto">
              <a:xfrm>
                <a:off x="6141153" y="4374017"/>
                <a:ext cx="217853" cy="218456"/>
              </a:xfrm>
              <a:custGeom>
                <a:avLst/>
                <a:gdLst>
                  <a:gd name="T0" fmla="*/ 384 w 511"/>
                  <a:gd name="T1" fmla="*/ 0 h 511"/>
                  <a:gd name="T2" fmla="*/ 127 w 511"/>
                  <a:gd name="T3" fmla="*/ 0 h 511"/>
                  <a:gd name="T4" fmla="*/ 0 w 511"/>
                  <a:gd name="T5" fmla="*/ 127 h 511"/>
                  <a:gd name="T6" fmla="*/ 0 w 511"/>
                  <a:gd name="T7" fmla="*/ 384 h 511"/>
                  <a:gd name="T8" fmla="*/ 127 w 511"/>
                  <a:gd name="T9" fmla="*/ 511 h 511"/>
                  <a:gd name="T10" fmla="*/ 384 w 511"/>
                  <a:gd name="T11" fmla="*/ 511 h 511"/>
                  <a:gd name="T12" fmla="*/ 511 w 511"/>
                  <a:gd name="T13" fmla="*/ 384 h 511"/>
                  <a:gd name="T14" fmla="*/ 511 w 511"/>
                  <a:gd name="T15" fmla="*/ 127 h 511"/>
                  <a:gd name="T16" fmla="*/ 384 w 511"/>
                  <a:gd name="T17" fmla="*/ 0 h 511"/>
                  <a:gd name="T18" fmla="*/ 275 w 511"/>
                  <a:gd name="T19" fmla="*/ 85 h 511"/>
                  <a:gd name="T20" fmla="*/ 236 w 511"/>
                  <a:gd name="T21" fmla="*/ 85 h 511"/>
                  <a:gd name="T22" fmla="*/ 236 w 511"/>
                  <a:gd name="T23" fmla="*/ 45 h 511"/>
                  <a:gd name="T24" fmla="*/ 275 w 511"/>
                  <a:gd name="T25" fmla="*/ 45 h 511"/>
                  <a:gd name="T26" fmla="*/ 275 w 511"/>
                  <a:gd name="T27" fmla="*/ 8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1" h="511">
                    <a:moveTo>
                      <a:pt x="384" y="0"/>
                    </a:moveTo>
                    <a:cubicBezTo>
                      <a:pt x="127" y="0"/>
                      <a:pt x="127" y="0"/>
                      <a:pt x="127" y="0"/>
                    </a:cubicBezTo>
                    <a:cubicBezTo>
                      <a:pt x="57" y="0"/>
                      <a:pt x="0" y="57"/>
                      <a:pt x="0" y="127"/>
                    </a:cubicBezTo>
                    <a:cubicBezTo>
                      <a:pt x="0" y="384"/>
                      <a:pt x="0" y="384"/>
                      <a:pt x="0" y="384"/>
                    </a:cubicBezTo>
                    <a:cubicBezTo>
                      <a:pt x="0" y="454"/>
                      <a:pt x="57" y="511"/>
                      <a:pt x="127" y="511"/>
                    </a:cubicBezTo>
                    <a:cubicBezTo>
                      <a:pt x="384" y="511"/>
                      <a:pt x="384" y="511"/>
                      <a:pt x="384" y="511"/>
                    </a:cubicBezTo>
                    <a:cubicBezTo>
                      <a:pt x="454" y="511"/>
                      <a:pt x="511" y="454"/>
                      <a:pt x="511" y="384"/>
                    </a:cubicBezTo>
                    <a:cubicBezTo>
                      <a:pt x="511" y="127"/>
                      <a:pt x="511" y="127"/>
                      <a:pt x="511" y="127"/>
                    </a:cubicBezTo>
                    <a:cubicBezTo>
                      <a:pt x="511" y="57"/>
                      <a:pt x="454" y="0"/>
                      <a:pt x="384" y="0"/>
                    </a:cubicBezTo>
                    <a:close/>
                    <a:moveTo>
                      <a:pt x="275" y="85"/>
                    </a:moveTo>
                    <a:cubicBezTo>
                      <a:pt x="236" y="85"/>
                      <a:pt x="236" y="85"/>
                      <a:pt x="236" y="85"/>
                    </a:cubicBezTo>
                    <a:cubicBezTo>
                      <a:pt x="236" y="45"/>
                      <a:pt x="236" y="45"/>
                      <a:pt x="236" y="45"/>
                    </a:cubicBezTo>
                    <a:cubicBezTo>
                      <a:pt x="275" y="45"/>
                      <a:pt x="275" y="45"/>
                      <a:pt x="275" y="45"/>
                    </a:cubicBezTo>
                    <a:lnTo>
                      <a:pt x="275" y="8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0096D6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  <p:sp>
            <p:nvSpPr>
              <p:cNvPr id="232" name="Freeform 231"/>
              <p:cNvSpPr>
                <a:spLocks noEditPoints="1"/>
              </p:cNvSpPr>
              <p:nvPr/>
            </p:nvSpPr>
            <p:spPr bwMode="auto">
              <a:xfrm>
                <a:off x="6003191" y="4235559"/>
                <a:ext cx="493776" cy="495372"/>
              </a:xfrm>
              <a:custGeom>
                <a:avLst/>
                <a:gdLst>
                  <a:gd name="T0" fmla="*/ 885 w 1159"/>
                  <a:gd name="T1" fmla="*/ 0 h 1159"/>
                  <a:gd name="T2" fmla="*/ 274 w 1159"/>
                  <a:gd name="T3" fmla="*/ 0 h 1159"/>
                  <a:gd name="T4" fmla="*/ 0 w 1159"/>
                  <a:gd name="T5" fmla="*/ 274 h 1159"/>
                  <a:gd name="T6" fmla="*/ 0 w 1159"/>
                  <a:gd name="T7" fmla="*/ 885 h 1159"/>
                  <a:gd name="T8" fmla="*/ 274 w 1159"/>
                  <a:gd name="T9" fmla="*/ 1159 h 1159"/>
                  <a:gd name="T10" fmla="*/ 885 w 1159"/>
                  <a:gd name="T11" fmla="*/ 1159 h 1159"/>
                  <a:gd name="T12" fmla="*/ 1159 w 1159"/>
                  <a:gd name="T13" fmla="*/ 885 h 1159"/>
                  <a:gd name="T14" fmla="*/ 1159 w 1159"/>
                  <a:gd name="T15" fmla="*/ 274 h 1159"/>
                  <a:gd name="T16" fmla="*/ 885 w 1159"/>
                  <a:gd name="T17" fmla="*/ 0 h 1159"/>
                  <a:gd name="T18" fmla="*/ 867 w 1159"/>
                  <a:gd name="T19" fmla="*/ 708 h 1159"/>
                  <a:gd name="T20" fmla="*/ 708 w 1159"/>
                  <a:gd name="T21" fmla="*/ 867 h 1159"/>
                  <a:gd name="T22" fmla="*/ 451 w 1159"/>
                  <a:gd name="T23" fmla="*/ 867 h 1159"/>
                  <a:gd name="T24" fmla="*/ 292 w 1159"/>
                  <a:gd name="T25" fmla="*/ 708 h 1159"/>
                  <a:gd name="T26" fmla="*/ 292 w 1159"/>
                  <a:gd name="T27" fmla="*/ 451 h 1159"/>
                  <a:gd name="T28" fmla="*/ 451 w 1159"/>
                  <a:gd name="T29" fmla="*/ 292 h 1159"/>
                  <a:gd name="T30" fmla="*/ 708 w 1159"/>
                  <a:gd name="T31" fmla="*/ 292 h 1159"/>
                  <a:gd name="T32" fmla="*/ 867 w 1159"/>
                  <a:gd name="T33" fmla="*/ 451 h 1159"/>
                  <a:gd name="T34" fmla="*/ 867 w 1159"/>
                  <a:gd name="T35" fmla="*/ 708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59" h="1159">
                    <a:moveTo>
                      <a:pt x="885" y="0"/>
                    </a:moveTo>
                    <a:cubicBezTo>
                      <a:pt x="274" y="0"/>
                      <a:pt x="274" y="0"/>
                      <a:pt x="274" y="0"/>
                    </a:cubicBezTo>
                    <a:cubicBezTo>
                      <a:pt x="123" y="0"/>
                      <a:pt x="0" y="123"/>
                      <a:pt x="0" y="274"/>
                    </a:cubicBezTo>
                    <a:cubicBezTo>
                      <a:pt x="0" y="885"/>
                      <a:pt x="0" y="885"/>
                      <a:pt x="0" y="885"/>
                    </a:cubicBezTo>
                    <a:cubicBezTo>
                      <a:pt x="0" y="1036"/>
                      <a:pt x="123" y="1159"/>
                      <a:pt x="274" y="1159"/>
                    </a:cubicBezTo>
                    <a:cubicBezTo>
                      <a:pt x="885" y="1159"/>
                      <a:pt x="885" y="1159"/>
                      <a:pt x="885" y="1159"/>
                    </a:cubicBezTo>
                    <a:cubicBezTo>
                      <a:pt x="1036" y="1159"/>
                      <a:pt x="1159" y="1036"/>
                      <a:pt x="1159" y="885"/>
                    </a:cubicBezTo>
                    <a:cubicBezTo>
                      <a:pt x="1159" y="274"/>
                      <a:pt x="1159" y="274"/>
                      <a:pt x="1159" y="274"/>
                    </a:cubicBezTo>
                    <a:cubicBezTo>
                      <a:pt x="1159" y="123"/>
                      <a:pt x="1036" y="0"/>
                      <a:pt x="885" y="0"/>
                    </a:cubicBezTo>
                    <a:close/>
                    <a:moveTo>
                      <a:pt x="867" y="708"/>
                    </a:moveTo>
                    <a:cubicBezTo>
                      <a:pt x="867" y="796"/>
                      <a:pt x="796" y="867"/>
                      <a:pt x="708" y="867"/>
                    </a:cubicBezTo>
                    <a:cubicBezTo>
                      <a:pt x="451" y="867"/>
                      <a:pt x="451" y="867"/>
                      <a:pt x="451" y="867"/>
                    </a:cubicBezTo>
                    <a:cubicBezTo>
                      <a:pt x="363" y="867"/>
                      <a:pt x="292" y="796"/>
                      <a:pt x="292" y="708"/>
                    </a:cubicBezTo>
                    <a:cubicBezTo>
                      <a:pt x="292" y="451"/>
                      <a:pt x="292" y="451"/>
                      <a:pt x="292" y="451"/>
                    </a:cubicBezTo>
                    <a:cubicBezTo>
                      <a:pt x="292" y="363"/>
                      <a:pt x="363" y="292"/>
                      <a:pt x="451" y="292"/>
                    </a:cubicBezTo>
                    <a:cubicBezTo>
                      <a:pt x="708" y="292"/>
                      <a:pt x="708" y="292"/>
                      <a:pt x="708" y="292"/>
                    </a:cubicBezTo>
                    <a:cubicBezTo>
                      <a:pt x="796" y="292"/>
                      <a:pt x="867" y="363"/>
                      <a:pt x="867" y="451"/>
                    </a:cubicBezTo>
                    <a:lnTo>
                      <a:pt x="867" y="70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799" dirty="0">
                  <a:solidFill>
                    <a:srgbClr val="0096D6"/>
                  </a:solidFill>
                  <a:ea typeface="ＭＳ Ｐゴシック" pitchFamily="34" charset="-128"/>
                  <a:cs typeface="ＭＳ Ｐゴシック" charset="0"/>
                </a:endParaRPr>
              </a:p>
            </p:txBody>
          </p:sp>
        </p:grpSp>
      </p:grpSp>
      <p:sp>
        <p:nvSpPr>
          <p:cNvPr id="233" name="Title 2"/>
          <p:cNvSpPr txBox="1">
            <a:spLocks/>
          </p:cNvSpPr>
          <p:nvPr/>
        </p:nvSpPr>
        <p:spPr bwMode="auto">
          <a:xfrm>
            <a:off x="94793" y="231983"/>
            <a:ext cx="9144000" cy="62865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  <a:normAutofit/>
          </a:bodyPr>
          <a:lstStyle>
            <a:lvl1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3200" kern="1200" dirty="0">
                <a:solidFill>
                  <a:srgbClr val="676767"/>
                </a:solidFill>
                <a:latin typeface="+mj-lt"/>
                <a:ea typeface="ＭＳ Ｐゴシック" charset="0"/>
                <a:cs typeface="CiscoSans"/>
              </a:defRPr>
            </a:lvl1pPr>
            <a:lvl2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4572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4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6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8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sz="2800" smtClean="0"/>
              <a:t>Cisco Wireless Security Deployment with AP3800/2800 </a:t>
            </a:r>
            <a:br>
              <a:rPr sz="2800" smtClean="0"/>
            </a:br>
            <a:r>
              <a:rPr sz="1400" smtClean="0">
                <a:solidFill>
                  <a:srgbClr val="214794"/>
                </a:solidFill>
              </a:rPr>
              <a:t>Maintains Capacity and Avoids Interference</a:t>
            </a:r>
            <a:endParaRPr sz="1400"/>
          </a:p>
        </p:txBody>
      </p:sp>
      <p:sp>
        <p:nvSpPr>
          <p:cNvPr id="312" name="Rectangle 311"/>
          <p:cNvSpPr/>
          <p:nvPr/>
        </p:nvSpPr>
        <p:spPr>
          <a:xfrm rot="5400000">
            <a:off x="2415181" y="-1554551"/>
            <a:ext cx="4313634" cy="9144003"/>
          </a:xfrm>
          <a:prstGeom prst="rect">
            <a:avLst/>
          </a:prstGeom>
          <a:gradFill flip="none" rotWithShape="1">
            <a:gsLst>
              <a:gs pos="0">
                <a:srgbClr val="030303">
                  <a:alpha val="88000"/>
                </a:srgbClr>
              </a:gs>
              <a:gs pos="100000">
                <a:srgbClr val="000000">
                  <a:alpha val="88000"/>
                </a:srgb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97" tIns="34299" rIns="68597" bIns="34299" spcCol="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graphicFrame>
        <p:nvGraphicFramePr>
          <p:cNvPr id="235" name="Table 234"/>
          <p:cNvGraphicFramePr>
            <a:graphicFrameLocks noGrp="1"/>
          </p:cNvGraphicFramePr>
          <p:nvPr>
            <p:extLst/>
          </p:nvPr>
        </p:nvGraphicFramePr>
        <p:xfrm>
          <a:off x="263584" y="927605"/>
          <a:ext cx="8290912" cy="1892048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07272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07272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07272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07272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170307">
                <a:tc>
                  <a:txBody>
                    <a:bodyPr/>
                    <a:lstStyle/>
                    <a:p>
                      <a:endParaRPr lang="en-US" sz="900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Good</a:t>
                      </a:r>
                      <a:endParaRPr lang="en-US" sz="900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Better</a:t>
                      </a:r>
                      <a:endParaRPr lang="en-US" sz="900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Best</a:t>
                      </a:r>
                      <a:endParaRPr lang="en-US" sz="900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83846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Features</a:t>
                      </a:r>
                      <a:endParaRPr lang="en-US" sz="900" b="1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ELM</a:t>
                      </a:r>
                      <a:endParaRPr lang="en-US" sz="900" b="1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Monitor Mode AP</a:t>
                      </a:r>
                      <a:endParaRPr lang="en-US" sz="900" b="1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ELM with FRA</a:t>
                      </a:r>
                    </a:p>
                    <a:p>
                      <a:pPr algn="ctr"/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Monitor Mode</a:t>
                      </a:r>
                      <a:endParaRPr lang="en-US" sz="900" b="1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0307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Deployment Density </a:t>
                      </a:r>
                      <a:endParaRPr lang="en-US" sz="900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Per</a:t>
                      </a:r>
                      <a:r>
                        <a:rPr lang="en-US" sz="900" baseline="0" dirty="0" smtClean="0">
                          <a:solidFill>
                            <a:srgbClr val="FFFFFF"/>
                          </a:solidFill>
                        </a:rPr>
                        <a:t> AP</a:t>
                      </a:r>
                      <a:endParaRPr lang="en-US" sz="900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1 in 5 APs</a:t>
                      </a:r>
                      <a:endParaRPr lang="en-US" sz="900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1 radio per 5 APs</a:t>
                      </a:r>
                      <a:endParaRPr lang="en-US" sz="900" b="1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83846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Client Serving with Security Monitoring</a:t>
                      </a:r>
                      <a:endParaRPr lang="en-US" sz="900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Y</a:t>
                      </a:r>
                      <a:endParaRPr lang="en-US" sz="900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N</a:t>
                      </a:r>
                      <a:endParaRPr lang="en-US" sz="900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Y</a:t>
                      </a:r>
                      <a:endParaRPr lang="en-US" sz="900" b="1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97384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err="1" smtClean="0">
                          <a:solidFill>
                            <a:srgbClr val="FFFFFF"/>
                          </a:solidFill>
                        </a:rPr>
                        <a:t>wIPS</a:t>
                      </a:r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 Security Monitoring</a:t>
                      </a:r>
                      <a:endParaRPr lang="en-US" sz="900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50</a:t>
                      </a:r>
                      <a:r>
                        <a:rPr lang="en-US" sz="900" baseline="0" dirty="0" smtClean="0">
                          <a:solidFill>
                            <a:srgbClr val="FFFFFF"/>
                          </a:solidFill>
                        </a:rPr>
                        <a:t> </a:t>
                      </a:r>
                      <a:r>
                        <a:rPr lang="en-US" sz="900" baseline="0" dirty="0" err="1" smtClean="0">
                          <a:solidFill>
                            <a:srgbClr val="FFFFFF"/>
                          </a:solidFill>
                        </a:rPr>
                        <a:t>ms</a:t>
                      </a:r>
                      <a:r>
                        <a:rPr lang="en-US" sz="900" baseline="0" dirty="0" smtClean="0">
                          <a:solidFill>
                            <a:srgbClr val="FFFFFF"/>
                          </a:solidFill>
                        </a:rPr>
                        <a:t> off-channel scan on selected channels on 2.4 and 5 GHz</a:t>
                      </a:r>
                      <a:endParaRPr lang="en-US" sz="900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charset="0"/>
                        <a:buNone/>
                      </a:pPr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7</a:t>
                      </a:r>
                      <a:r>
                        <a:rPr lang="en-US" sz="900" baseline="0" dirty="0" smtClean="0">
                          <a:solidFill>
                            <a:srgbClr val="FFFFFF"/>
                          </a:solidFill>
                        </a:rPr>
                        <a:t> </a:t>
                      </a:r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x 24 All Channels on 2.4GHz and</a:t>
                      </a:r>
                      <a:r>
                        <a:rPr lang="en-US" sz="900" baseline="0" dirty="0" smtClean="0">
                          <a:solidFill>
                            <a:srgbClr val="FFFFFF"/>
                          </a:solidFill>
                        </a:rPr>
                        <a:t> 5GHz</a:t>
                      </a:r>
                      <a:endParaRPr lang="en-US" sz="900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charset="0"/>
                        <a:buNone/>
                      </a:pPr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7</a:t>
                      </a:r>
                      <a:r>
                        <a:rPr lang="en-US" sz="900" baseline="0" dirty="0" smtClean="0">
                          <a:solidFill>
                            <a:srgbClr val="FFFFFF"/>
                          </a:solidFill>
                        </a:rPr>
                        <a:t> </a:t>
                      </a:r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x 24 All Channels on 2.4GHz and</a:t>
                      </a:r>
                      <a:r>
                        <a:rPr lang="en-US" sz="900" baseline="0" dirty="0" smtClean="0">
                          <a:solidFill>
                            <a:srgbClr val="FFFFFF"/>
                          </a:solidFill>
                        </a:rPr>
                        <a:t> 5GHz</a:t>
                      </a:r>
                      <a:endParaRPr lang="en-US" sz="900" b="1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97384">
                <a:tc>
                  <a:txBody>
                    <a:bodyPr/>
                    <a:lstStyle/>
                    <a:p>
                      <a:pPr algn="ctr"/>
                      <a:r>
                        <a:rPr lang="en-US" sz="900" dirty="0" err="1" smtClean="0">
                          <a:solidFill>
                            <a:srgbClr val="FFFFFF"/>
                          </a:solidFill>
                        </a:rPr>
                        <a:t>CleanAir</a:t>
                      </a:r>
                      <a:r>
                        <a:rPr lang="en-US" sz="900" baseline="0" dirty="0" smtClean="0">
                          <a:solidFill>
                            <a:srgbClr val="FFFFFF"/>
                          </a:solidFill>
                        </a:rPr>
                        <a:t> Spectrum Intelligence</a:t>
                      </a:r>
                      <a:endParaRPr lang="en-US" sz="900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7 x 24 on</a:t>
                      </a:r>
                      <a:r>
                        <a:rPr lang="en-US" sz="900" baseline="0" dirty="0" smtClean="0">
                          <a:solidFill>
                            <a:srgbClr val="FFFFFF"/>
                          </a:solidFill>
                        </a:rPr>
                        <a:t> client serving channel</a:t>
                      </a:r>
                      <a:endParaRPr lang="en-US" sz="900" dirty="0" smtClean="0">
                        <a:solidFill>
                          <a:srgbClr val="FFFFFF"/>
                        </a:solidFill>
                      </a:endParaRPr>
                    </a:p>
                    <a:p>
                      <a:pPr algn="ctr"/>
                      <a:endParaRPr lang="en-US" sz="900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charset="0"/>
                        <a:buNone/>
                      </a:pPr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7</a:t>
                      </a:r>
                      <a:r>
                        <a:rPr lang="en-US" sz="900" baseline="0" dirty="0" smtClean="0">
                          <a:solidFill>
                            <a:srgbClr val="FFFFFF"/>
                          </a:solidFill>
                        </a:rPr>
                        <a:t> </a:t>
                      </a:r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x 24 All Channels on 2.4GHz and</a:t>
                      </a:r>
                      <a:r>
                        <a:rPr lang="en-US" sz="900" baseline="0" dirty="0" smtClean="0">
                          <a:solidFill>
                            <a:srgbClr val="FFFFFF"/>
                          </a:solidFill>
                        </a:rPr>
                        <a:t> 5GHz</a:t>
                      </a:r>
                      <a:endParaRPr lang="en-US" sz="900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charset="0"/>
                        <a:buNone/>
                      </a:pPr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7</a:t>
                      </a:r>
                      <a:r>
                        <a:rPr lang="en-US" sz="900" baseline="0" dirty="0" smtClean="0">
                          <a:solidFill>
                            <a:srgbClr val="FFFFFF"/>
                          </a:solidFill>
                        </a:rPr>
                        <a:t> </a:t>
                      </a:r>
                      <a:r>
                        <a:rPr lang="en-US" sz="900" dirty="0" smtClean="0">
                          <a:solidFill>
                            <a:srgbClr val="FFFFFF"/>
                          </a:solidFill>
                        </a:rPr>
                        <a:t>x 24 All Channels on 2.4GHz and</a:t>
                      </a:r>
                      <a:r>
                        <a:rPr lang="en-US" sz="900" baseline="0" dirty="0" smtClean="0">
                          <a:solidFill>
                            <a:srgbClr val="FFFFFF"/>
                          </a:solidFill>
                        </a:rPr>
                        <a:t> 5GHz</a:t>
                      </a:r>
                      <a:endParaRPr lang="en-US" sz="900" b="1" dirty="0">
                        <a:solidFill>
                          <a:srgbClr val="FFFFFF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236" name="Group 235"/>
          <p:cNvGrpSpPr/>
          <p:nvPr/>
        </p:nvGrpSpPr>
        <p:grpSpPr>
          <a:xfrm>
            <a:off x="273783" y="2895086"/>
            <a:ext cx="8584955" cy="648919"/>
            <a:chOff x="396883" y="4265048"/>
            <a:chExt cx="8584955" cy="648919"/>
          </a:xfrm>
        </p:grpSpPr>
        <p:cxnSp>
          <p:nvCxnSpPr>
            <p:cNvPr id="237" name="Straight Arrow Connector 236"/>
            <p:cNvCxnSpPr/>
            <p:nvPr/>
          </p:nvCxnSpPr>
          <p:spPr>
            <a:xfrm flipV="1">
              <a:off x="2673528" y="4520604"/>
              <a:ext cx="6132406" cy="7147"/>
            </a:xfrm>
            <a:prstGeom prst="straightConnector1">
              <a:avLst/>
            </a:prstGeom>
            <a:ln>
              <a:solidFill>
                <a:schemeClr val="accent6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8" name="Rectangle 237"/>
            <p:cNvSpPr/>
            <p:nvPr/>
          </p:nvSpPr>
          <p:spPr>
            <a:xfrm>
              <a:off x="2880801" y="4359789"/>
              <a:ext cx="2330028" cy="160815"/>
            </a:xfrm>
            <a:prstGeom prst="rect">
              <a:avLst/>
            </a:prstGeom>
            <a:solidFill>
              <a:srgbClr val="0096D6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solidFill>
                    <a:srgbClr val="FFFFFF"/>
                  </a:solidFill>
                </a:rPr>
                <a:t>Serving channel</a:t>
              </a:r>
            </a:p>
          </p:txBody>
        </p:sp>
        <p:sp>
          <p:nvSpPr>
            <p:cNvPr id="239" name="Rectangle 238"/>
            <p:cNvSpPr/>
            <p:nvPr/>
          </p:nvSpPr>
          <p:spPr>
            <a:xfrm>
              <a:off x="5663493" y="4359789"/>
              <a:ext cx="2330028" cy="160815"/>
            </a:xfrm>
            <a:prstGeom prst="rect">
              <a:avLst/>
            </a:prstGeom>
            <a:solidFill>
              <a:srgbClr val="0096D6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solidFill>
                    <a:srgbClr val="FFFFFF"/>
                  </a:solidFill>
                </a:rPr>
                <a:t>Serving channel</a:t>
              </a:r>
            </a:p>
          </p:txBody>
        </p:sp>
        <p:sp>
          <p:nvSpPr>
            <p:cNvPr id="240" name="Rectangle 239"/>
            <p:cNvSpPr/>
            <p:nvPr/>
          </p:nvSpPr>
          <p:spPr>
            <a:xfrm>
              <a:off x="5251329" y="4359789"/>
              <a:ext cx="374043" cy="15545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</a:rPr>
                <a:t>Off-</a:t>
              </a:r>
              <a:r>
                <a:rPr lang="en-US" sz="600" dirty="0" err="1">
                  <a:solidFill>
                    <a:srgbClr val="FFFFFF"/>
                  </a:solidFill>
                </a:rPr>
                <a:t>Ch</a:t>
              </a:r>
              <a:endParaRPr lang="en-US" sz="600" dirty="0">
                <a:solidFill>
                  <a:srgbClr val="FFFFFF"/>
                </a:solidFill>
              </a:endParaRPr>
            </a:p>
          </p:txBody>
        </p:sp>
        <p:sp>
          <p:nvSpPr>
            <p:cNvPr id="241" name="Rectangle 240"/>
            <p:cNvSpPr/>
            <p:nvPr/>
          </p:nvSpPr>
          <p:spPr>
            <a:xfrm>
              <a:off x="8034025" y="4361577"/>
              <a:ext cx="374043" cy="15545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</a:rPr>
                <a:t>Off-</a:t>
              </a:r>
              <a:r>
                <a:rPr lang="en-US" sz="600" dirty="0" err="1">
                  <a:solidFill>
                    <a:srgbClr val="FFFFFF"/>
                  </a:solidFill>
                </a:rPr>
                <a:t>Ch</a:t>
              </a:r>
              <a:endParaRPr lang="en-US" sz="600" dirty="0">
                <a:solidFill>
                  <a:srgbClr val="FFFFFF"/>
                </a:solidFill>
              </a:endParaRPr>
            </a:p>
          </p:txBody>
        </p:sp>
        <p:cxnSp>
          <p:nvCxnSpPr>
            <p:cNvPr id="242" name="Straight Arrow Connector 241"/>
            <p:cNvCxnSpPr/>
            <p:nvPr/>
          </p:nvCxnSpPr>
          <p:spPr>
            <a:xfrm flipV="1">
              <a:off x="2673528" y="4788034"/>
              <a:ext cx="6132406" cy="7147"/>
            </a:xfrm>
            <a:prstGeom prst="straightConnector1">
              <a:avLst/>
            </a:prstGeom>
            <a:ln>
              <a:solidFill>
                <a:schemeClr val="accent6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3" name="Rectangle 242"/>
            <p:cNvSpPr/>
            <p:nvPr/>
          </p:nvSpPr>
          <p:spPr>
            <a:xfrm>
              <a:off x="2880801" y="4627219"/>
              <a:ext cx="2330028" cy="160815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solidFill>
                    <a:srgbClr val="FFFFFF"/>
                  </a:solidFill>
                </a:rPr>
                <a:t>Serving channel</a:t>
              </a:r>
            </a:p>
          </p:txBody>
        </p:sp>
        <p:sp>
          <p:nvSpPr>
            <p:cNvPr id="244" name="Rectangle 243"/>
            <p:cNvSpPr/>
            <p:nvPr/>
          </p:nvSpPr>
          <p:spPr>
            <a:xfrm>
              <a:off x="5663493" y="4627219"/>
              <a:ext cx="2330028" cy="160815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solidFill>
                    <a:srgbClr val="FFFFFF"/>
                  </a:solidFill>
                </a:rPr>
                <a:t>Serving channel</a:t>
              </a:r>
            </a:p>
          </p:txBody>
        </p:sp>
        <p:sp>
          <p:nvSpPr>
            <p:cNvPr id="245" name="Rectangle 244"/>
            <p:cNvSpPr/>
            <p:nvPr/>
          </p:nvSpPr>
          <p:spPr>
            <a:xfrm>
              <a:off x="5251329" y="4627219"/>
              <a:ext cx="374043" cy="155453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</a:rPr>
                <a:t>Off-</a:t>
              </a:r>
              <a:r>
                <a:rPr lang="en-US" sz="600" dirty="0" err="1">
                  <a:solidFill>
                    <a:srgbClr val="FFFFFF"/>
                  </a:solidFill>
                </a:rPr>
                <a:t>Ch</a:t>
              </a:r>
              <a:endParaRPr lang="en-US" sz="600" dirty="0">
                <a:solidFill>
                  <a:srgbClr val="FFFFFF"/>
                </a:solidFill>
              </a:endParaRPr>
            </a:p>
          </p:txBody>
        </p:sp>
        <p:sp>
          <p:nvSpPr>
            <p:cNvPr id="246" name="Rectangle 245"/>
            <p:cNvSpPr/>
            <p:nvPr/>
          </p:nvSpPr>
          <p:spPr>
            <a:xfrm>
              <a:off x="8034025" y="4629007"/>
              <a:ext cx="374043" cy="155453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</a:rPr>
                <a:t>Off-</a:t>
              </a:r>
              <a:r>
                <a:rPr lang="en-US" sz="600" dirty="0" err="1">
                  <a:solidFill>
                    <a:srgbClr val="FFFFFF"/>
                  </a:solidFill>
                </a:rPr>
                <a:t>Ch</a:t>
              </a:r>
              <a:endParaRPr lang="en-US" sz="6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47" name="TextBox 246"/>
            <p:cNvSpPr txBox="1"/>
            <p:nvPr/>
          </p:nvSpPr>
          <p:spPr>
            <a:xfrm>
              <a:off x="396883" y="4390747"/>
              <a:ext cx="1133644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Enhanced Local Mode</a:t>
              </a:r>
            </a:p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Access Point</a:t>
              </a:r>
            </a:p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700" b="1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  <a:p>
              <a:pPr marL="171450" indent="-171450" defTabSz="457200" fontAlgn="base">
                <a:spcBef>
                  <a:spcPct val="0"/>
                </a:spcBef>
                <a:spcAft>
                  <a:spcPct val="0"/>
                </a:spcAft>
                <a:buFont typeface="Wingdings" charset="2"/>
                <a:buChar char="ü"/>
              </a:pPr>
              <a:r>
                <a:rPr lang="en-US" sz="700" b="1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GOOD</a:t>
              </a:r>
              <a:endParaRPr lang="en-US" sz="700" b="1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48" name="TextBox 247"/>
            <p:cNvSpPr txBox="1"/>
            <p:nvPr/>
          </p:nvSpPr>
          <p:spPr>
            <a:xfrm>
              <a:off x="2102890" y="4265048"/>
              <a:ext cx="466895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2.4 GHz</a:t>
              </a:r>
            </a:p>
          </p:txBody>
        </p:sp>
        <p:sp>
          <p:nvSpPr>
            <p:cNvPr id="249" name="TextBox 248"/>
            <p:cNvSpPr txBox="1"/>
            <p:nvPr/>
          </p:nvSpPr>
          <p:spPr>
            <a:xfrm>
              <a:off x="2210078" y="4553021"/>
              <a:ext cx="402724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5 GHz</a:t>
              </a:r>
            </a:p>
          </p:txBody>
        </p:sp>
        <p:sp>
          <p:nvSpPr>
            <p:cNvPr id="250" name="Left Brace 249"/>
            <p:cNvSpPr/>
            <p:nvPr/>
          </p:nvSpPr>
          <p:spPr>
            <a:xfrm>
              <a:off x="1875332" y="4265048"/>
              <a:ext cx="283608" cy="538168"/>
            </a:xfrm>
            <a:prstGeom prst="leftBrace">
              <a:avLst>
                <a:gd name="adj1" fmla="val 43615"/>
                <a:gd name="adj2" fmla="val 50000"/>
              </a:avLst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600">
                <a:solidFill>
                  <a:srgbClr val="FFFFFF"/>
                </a:solidFill>
              </a:endParaRPr>
            </a:p>
          </p:txBody>
        </p:sp>
        <p:sp>
          <p:nvSpPr>
            <p:cNvPr id="251" name="TextBox 250"/>
            <p:cNvSpPr txBox="1"/>
            <p:nvPr/>
          </p:nvSpPr>
          <p:spPr>
            <a:xfrm>
              <a:off x="8770198" y="4291250"/>
              <a:ext cx="210314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t</a:t>
              </a:r>
              <a:endParaRPr lang="en-U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52" name="TextBox 251"/>
            <p:cNvSpPr txBox="1"/>
            <p:nvPr/>
          </p:nvSpPr>
          <p:spPr>
            <a:xfrm>
              <a:off x="8771524" y="4558105"/>
              <a:ext cx="210314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t</a:t>
              </a:r>
              <a:endParaRPr lang="en-U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grpSp>
        <p:nvGrpSpPr>
          <p:cNvPr id="253" name="Group 252"/>
          <p:cNvGrpSpPr/>
          <p:nvPr/>
        </p:nvGrpSpPr>
        <p:grpSpPr>
          <a:xfrm>
            <a:off x="263584" y="3614000"/>
            <a:ext cx="8628604" cy="699215"/>
            <a:chOff x="138129" y="2358142"/>
            <a:chExt cx="8628604" cy="699215"/>
          </a:xfrm>
        </p:grpSpPr>
        <p:cxnSp>
          <p:nvCxnSpPr>
            <p:cNvPr id="254" name="Straight Arrow Connector 253"/>
            <p:cNvCxnSpPr/>
            <p:nvPr/>
          </p:nvCxnSpPr>
          <p:spPr>
            <a:xfrm flipV="1">
              <a:off x="2458424" y="2656889"/>
              <a:ext cx="6132406" cy="7147"/>
            </a:xfrm>
            <a:prstGeom prst="straightConnector1">
              <a:avLst/>
            </a:prstGeom>
            <a:ln>
              <a:solidFill>
                <a:schemeClr val="accent6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Arrow Connector 254"/>
            <p:cNvCxnSpPr/>
            <p:nvPr/>
          </p:nvCxnSpPr>
          <p:spPr>
            <a:xfrm flipV="1">
              <a:off x="2458424" y="2924319"/>
              <a:ext cx="6132406" cy="7147"/>
            </a:xfrm>
            <a:prstGeom prst="straightConnector1">
              <a:avLst/>
            </a:prstGeom>
            <a:ln>
              <a:solidFill>
                <a:schemeClr val="accent6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6" name="TextBox 255"/>
            <p:cNvSpPr txBox="1"/>
            <p:nvPr/>
          </p:nvSpPr>
          <p:spPr>
            <a:xfrm>
              <a:off x="138129" y="2534137"/>
              <a:ext cx="135997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Monitor </a:t>
              </a:r>
              <a:r>
                <a:rPr lang="en-US" sz="700" b="1" dirty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Mode</a:t>
              </a:r>
            </a:p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 dirty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Access </a:t>
              </a:r>
              <a:r>
                <a:rPr lang="en-US" sz="700" b="1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Point</a:t>
              </a:r>
            </a:p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700" b="1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  <a:p>
              <a:pPr marL="171450" indent="-171450" defTabSz="457200" fontAlgn="base">
                <a:spcBef>
                  <a:spcPct val="0"/>
                </a:spcBef>
                <a:spcAft>
                  <a:spcPct val="0"/>
                </a:spcAft>
                <a:buFont typeface="Wingdings" charset="2"/>
                <a:buChar char="ü"/>
              </a:pPr>
              <a:r>
                <a:rPr lang="en-US" sz="700" b="1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BETTER</a:t>
              </a:r>
              <a:endParaRPr lang="en-US" sz="700" b="1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57" name="TextBox 256"/>
            <p:cNvSpPr txBox="1"/>
            <p:nvPr/>
          </p:nvSpPr>
          <p:spPr>
            <a:xfrm>
              <a:off x="1887786" y="2401333"/>
              <a:ext cx="466895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2.4 GHz</a:t>
              </a:r>
            </a:p>
          </p:txBody>
        </p:sp>
        <p:sp>
          <p:nvSpPr>
            <p:cNvPr id="258" name="TextBox 257"/>
            <p:cNvSpPr txBox="1"/>
            <p:nvPr/>
          </p:nvSpPr>
          <p:spPr>
            <a:xfrm>
              <a:off x="1994973" y="2689307"/>
              <a:ext cx="402724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5 GHz</a:t>
              </a:r>
            </a:p>
          </p:txBody>
        </p:sp>
        <p:sp>
          <p:nvSpPr>
            <p:cNvPr id="259" name="Left Brace 258"/>
            <p:cNvSpPr/>
            <p:nvPr/>
          </p:nvSpPr>
          <p:spPr>
            <a:xfrm>
              <a:off x="1660227" y="2401333"/>
              <a:ext cx="283608" cy="538168"/>
            </a:xfrm>
            <a:prstGeom prst="leftBrace">
              <a:avLst>
                <a:gd name="adj1" fmla="val 43615"/>
                <a:gd name="adj2" fmla="val 50000"/>
              </a:avLst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600">
                <a:solidFill>
                  <a:srgbClr val="FFFFFF"/>
                </a:solidFill>
              </a:endParaRPr>
            </a:p>
          </p:txBody>
        </p:sp>
        <p:sp>
          <p:nvSpPr>
            <p:cNvPr id="260" name="TextBox 259"/>
            <p:cNvSpPr txBox="1"/>
            <p:nvPr/>
          </p:nvSpPr>
          <p:spPr>
            <a:xfrm>
              <a:off x="8555094" y="2427536"/>
              <a:ext cx="210314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t</a:t>
              </a:r>
              <a:endParaRPr lang="en-U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61" name="TextBox 260"/>
            <p:cNvSpPr txBox="1"/>
            <p:nvPr/>
          </p:nvSpPr>
          <p:spPr>
            <a:xfrm>
              <a:off x="8556419" y="2694390"/>
              <a:ext cx="210314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t</a:t>
              </a:r>
              <a:endParaRPr lang="en-U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62" name="Rectangle 261"/>
            <p:cNvSpPr/>
            <p:nvPr/>
          </p:nvSpPr>
          <p:spPr>
            <a:xfrm>
              <a:off x="4071352" y="2485586"/>
              <a:ext cx="374043" cy="15545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</a:rPr>
                <a:t>Ch11</a:t>
              </a:r>
            </a:p>
          </p:txBody>
        </p:sp>
        <p:sp>
          <p:nvSpPr>
            <p:cNvPr id="263" name="Rectangle 262"/>
            <p:cNvSpPr/>
            <p:nvPr/>
          </p:nvSpPr>
          <p:spPr>
            <a:xfrm>
              <a:off x="3064162" y="2493962"/>
              <a:ext cx="374043" cy="15545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</a:rPr>
                <a:t>Ch2</a:t>
              </a:r>
            </a:p>
          </p:txBody>
        </p:sp>
        <p:sp>
          <p:nvSpPr>
            <p:cNvPr id="264" name="Rectangle 263"/>
            <p:cNvSpPr/>
            <p:nvPr/>
          </p:nvSpPr>
          <p:spPr>
            <a:xfrm>
              <a:off x="3064162" y="2761392"/>
              <a:ext cx="374043" cy="155453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</a:rPr>
                <a:t>Ch38</a:t>
              </a:r>
            </a:p>
          </p:txBody>
        </p:sp>
        <p:sp>
          <p:nvSpPr>
            <p:cNvPr id="265" name="Rectangle 264"/>
            <p:cNvSpPr/>
            <p:nvPr/>
          </p:nvSpPr>
          <p:spPr>
            <a:xfrm>
              <a:off x="2635337" y="2493962"/>
              <a:ext cx="374043" cy="15545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</a:rPr>
                <a:t>Ch1</a:t>
              </a:r>
            </a:p>
          </p:txBody>
        </p:sp>
        <p:sp>
          <p:nvSpPr>
            <p:cNvPr id="266" name="Rectangle 265"/>
            <p:cNvSpPr/>
            <p:nvPr/>
          </p:nvSpPr>
          <p:spPr>
            <a:xfrm>
              <a:off x="2635337" y="2761392"/>
              <a:ext cx="374043" cy="155453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</a:rPr>
                <a:t>Ch36</a:t>
              </a:r>
            </a:p>
          </p:txBody>
        </p:sp>
        <p:sp>
          <p:nvSpPr>
            <p:cNvPr id="267" name="TextBox 266"/>
            <p:cNvSpPr txBox="1"/>
            <p:nvPr/>
          </p:nvSpPr>
          <p:spPr>
            <a:xfrm>
              <a:off x="3571654" y="2376313"/>
              <a:ext cx="261610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…</a:t>
              </a:r>
              <a:endParaRPr lang="en-U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grpSp>
          <p:nvGrpSpPr>
            <p:cNvPr id="268" name="Group 267"/>
            <p:cNvGrpSpPr/>
            <p:nvPr/>
          </p:nvGrpSpPr>
          <p:grpSpPr>
            <a:xfrm>
              <a:off x="4481706" y="2362348"/>
              <a:ext cx="1810058" cy="273102"/>
              <a:chOff x="5348602" y="2260705"/>
              <a:chExt cx="2226649" cy="335957"/>
            </a:xfrm>
          </p:grpSpPr>
          <p:sp>
            <p:nvSpPr>
              <p:cNvPr id="283" name="Rectangle 282"/>
              <p:cNvSpPr/>
              <p:nvPr/>
            </p:nvSpPr>
            <p:spPr>
              <a:xfrm>
                <a:off x="7115120" y="2395126"/>
                <a:ext cx="460131" cy="191231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>
                <a:outerShdw blurRad="76200" dist="50800" dir="5400000" algn="ctr" rotWithShape="0">
                  <a:srgbClr val="000000">
                    <a:alpha val="27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600" dirty="0">
                    <a:solidFill>
                      <a:srgbClr val="FFFFFF"/>
                    </a:solidFill>
                  </a:rPr>
                  <a:t>Ch11</a:t>
                </a:r>
              </a:p>
            </p:txBody>
          </p:sp>
          <p:sp>
            <p:nvSpPr>
              <p:cNvPr id="284" name="Rectangle 283"/>
              <p:cNvSpPr/>
              <p:nvPr/>
            </p:nvSpPr>
            <p:spPr>
              <a:xfrm>
                <a:off x="5876122" y="2405431"/>
                <a:ext cx="460131" cy="191231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>
                <a:outerShdw blurRad="76200" dist="50800" dir="5400000" algn="ctr" rotWithShape="0">
                  <a:srgbClr val="000000">
                    <a:alpha val="27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600" dirty="0">
                    <a:solidFill>
                      <a:srgbClr val="FFFFFF"/>
                    </a:solidFill>
                  </a:rPr>
                  <a:t>Ch2</a:t>
                </a:r>
              </a:p>
            </p:txBody>
          </p:sp>
          <p:sp>
            <p:nvSpPr>
              <p:cNvPr id="285" name="Rectangle 284"/>
              <p:cNvSpPr/>
              <p:nvPr/>
            </p:nvSpPr>
            <p:spPr>
              <a:xfrm>
                <a:off x="5348602" y="2405431"/>
                <a:ext cx="460131" cy="191231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>
                <a:outerShdw blurRad="76200" dist="50800" dir="5400000" algn="ctr" rotWithShape="0">
                  <a:srgbClr val="000000">
                    <a:alpha val="27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600" dirty="0">
                    <a:solidFill>
                      <a:srgbClr val="FFFFFF"/>
                    </a:solidFill>
                  </a:rPr>
                  <a:t>Ch1</a:t>
                </a:r>
              </a:p>
            </p:txBody>
          </p:sp>
          <p:sp>
            <p:nvSpPr>
              <p:cNvPr id="286" name="TextBox 285"/>
              <p:cNvSpPr txBox="1"/>
              <p:nvPr/>
            </p:nvSpPr>
            <p:spPr>
              <a:xfrm>
                <a:off x="6500416" y="2260705"/>
                <a:ext cx="321820" cy="22716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600" dirty="0" smtClean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rPr>
                  <a:t>…</a:t>
                </a:r>
                <a:endParaRPr lang="en-US" sz="600" dirty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  <p:grpSp>
          <p:nvGrpSpPr>
            <p:cNvPr id="269" name="Group 268"/>
            <p:cNvGrpSpPr/>
            <p:nvPr/>
          </p:nvGrpSpPr>
          <p:grpSpPr>
            <a:xfrm>
              <a:off x="6321532" y="2358142"/>
              <a:ext cx="1810058" cy="273102"/>
              <a:chOff x="5348602" y="2260705"/>
              <a:chExt cx="2226649" cy="335957"/>
            </a:xfrm>
          </p:grpSpPr>
          <p:sp>
            <p:nvSpPr>
              <p:cNvPr id="279" name="Rectangle 278"/>
              <p:cNvSpPr/>
              <p:nvPr/>
            </p:nvSpPr>
            <p:spPr>
              <a:xfrm>
                <a:off x="7115120" y="2395126"/>
                <a:ext cx="460131" cy="191231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>
                <a:outerShdw blurRad="76200" dist="50800" dir="5400000" algn="ctr" rotWithShape="0">
                  <a:srgbClr val="000000">
                    <a:alpha val="27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600" dirty="0">
                    <a:solidFill>
                      <a:srgbClr val="FFFFFF"/>
                    </a:solidFill>
                  </a:rPr>
                  <a:t>Ch11</a:t>
                </a:r>
              </a:p>
            </p:txBody>
          </p:sp>
          <p:sp>
            <p:nvSpPr>
              <p:cNvPr id="280" name="Rectangle 279"/>
              <p:cNvSpPr/>
              <p:nvPr/>
            </p:nvSpPr>
            <p:spPr>
              <a:xfrm>
                <a:off x="5876122" y="2405431"/>
                <a:ext cx="460131" cy="191231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>
                <a:outerShdw blurRad="76200" dist="50800" dir="5400000" algn="ctr" rotWithShape="0">
                  <a:srgbClr val="000000">
                    <a:alpha val="27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600" dirty="0">
                    <a:solidFill>
                      <a:srgbClr val="FFFFFF"/>
                    </a:solidFill>
                  </a:rPr>
                  <a:t>Ch2</a:t>
                </a:r>
              </a:p>
            </p:txBody>
          </p:sp>
          <p:sp>
            <p:nvSpPr>
              <p:cNvPr id="281" name="Rectangle 280"/>
              <p:cNvSpPr/>
              <p:nvPr/>
            </p:nvSpPr>
            <p:spPr>
              <a:xfrm>
                <a:off x="5348602" y="2405431"/>
                <a:ext cx="460131" cy="191231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>
                <a:outerShdw blurRad="76200" dist="50800" dir="5400000" algn="ctr" rotWithShape="0">
                  <a:srgbClr val="000000">
                    <a:alpha val="27000"/>
                  </a:srgb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600" dirty="0">
                    <a:solidFill>
                      <a:srgbClr val="FFFFFF"/>
                    </a:solidFill>
                  </a:rPr>
                  <a:t>Ch1</a:t>
                </a:r>
              </a:p>
            </p:txBody>
          </p:sp>
          <p:sp>
            <p:nvSpPr>
              <p:cNvPr id="282" name="TextBox 281"/>
              <p:cNvSpPr txBox="1"/>
              <p:nvPr/>
            </p:nvSpPr>
            <p:spPr>
              <a:xfrm>
                <a:off x="6500416" y="2260705"/>
                <a:ext cx="321820" cy="22716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600" dirty="0" smtClean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rPr>
                  <a:t>…</a:t>
                </a:r>
                <a:endParaRPr lang="en-US" sz="600" dirty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  <p:sp>
          <p:nvSpPr>
            <p:cNvPr id="270" name="TextBox 269"/>
            <p:cNvSpPr txBox="1"/>
            <p:nvPr/>
          </p:nvSpPr>
          <p:spPr>
            <a:xfrm>
              <a:off x="4499846" y="2649150"/>
              <a:ext cx="261610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…</a:t>
              </a:r>
              <a:endParaRPr lang="en-U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71" name="Rectangle 270"/>
            <p:cNvSpPr/>
            <p:nvPr/>
          </p:nvSpPr>
          <p:spPr>
            <a:xfrm>
              <a:off x="6758661" y="2761392"/>
              <a:ext cx="374043" cy="155453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</a:rPr>
                <a:t>Ch161</a:t>
              </a:r>
            </a:p>
          </p:txBody>
        </p:sp>
        <p:sp>
          <p:nvSpPr>
            <p:cNvPr id="272" name="Rectangle 271"/>
            <p:cNvSpPr/>
            <p:nvPr/>
          </p:nvSpPr>
          <p:spPr>
            <a:xfrm>
              <a:off x="6329836" y="2761392"/>
              <a:ext cx="374043" cy="155453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</a:rPr>
                <a:t>Ch157</a:t>
              </a:r>
            </a:p>
          </p:txBody>
        </p:sp>
        <p:sp>
          <p:nvSpPr>
            <p:cNvPr id="273" name="Rectangle 272"/>
            <p:cNvSpPr/>
            <p:nvPr/>
          </p:nvSpPr>
          <p:spPr>
            <a:xfrm>
              <a:off x="7600362" y="2756895"/>
              <a:ext cx="374043" cy="155453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</a:rPr>
                <a:t>Ch38</a:t>
              </a:r>
            </a:p>
          </p:txBody>
        </p:sp>
        <p:sp>
          <p:nvSpPr>
            <p:cNvPr id="274" name="Rectangle 273"/>
            <p:cNvSpPr/>
            <p:nvPr/>
          </p:nvSpPr>
          <p:spPr>
            <a:xfrm>
              <a:off x="7171537" y="2756895"/>
              <a:ext cx="374043" cy="155453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</a:rPr>
                <a:t>Ch36</a:t>
              </a:r>
            </a:p>
          </p:txBody>
        </p:sp>
        <p:sp>
          <p:nvSpPr>
            <p:cNvPr id="275" name="TextBox 274"/>
            <p:cNvSpPr txBox="1"/>
            <p:nvPr/>
          </p:nvSpPr>
          <p:spPr>
            <a:xfrm>
              <a:off x="7993722" y="2644386"/>
              <a:ext cx="261610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…</a:t>
              </a:r>
              <a:endParaRPr lang="en-U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76" name="TextBox 275"/>
            <p:cNvSpPr txBox="1"/>
            <p:nvPr/>
          </p:nvSpPr>
          <p:spPr>
            <a:xfrm>
              <a:off x="3569796" y="2652457"/>
              <a:ext cx="261610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…</a:t>
              </a:r>
              <a:endParaRPr lang="en-U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77" name="TextBox 276"/>
            <p:cNvSpPr txBox="1"/>
            <p:nvPr/>
          </p:nvSpPr>
          <p:spPr>
            <a:xfrm>
              <a:off x="5893876" y="2646169"/>
              <a:ext cx="261610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…</a:t>
              </a:r>
              <a:endParaRPr lang="en-U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78" name="TextBox 277"/>
            <p:cNvSpPr txBox="1"/>
            <p:nvPr/>
          </p:nvSpPr>
          <p:spPr>
            <a:xfrm>
              <a:off x="8537962" y="2863188"/>
              <a:ext cx="210314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t</a:t>
              </a:r>
              <a:endParaRPr lang="en-U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grpSp>
        <p:nvGrpSpPr>
          <p:cNvPr id="287" name="Group 286"/>
          <p:cNvGrpSpPr/>
          <p:nvPr/>
        </p:nvGrpSpPr>
        <p:grpSpPr>
          <a:xfrm>
            <a:off x="240636" y="4342481"/>
            <a:ext cx="8702364" cy="650168"/>
            <a:chOff x="91173" y="3412176"/>
            <a:chExt cx="8702364" cy="650168"/>
          </a:xfrm>
        </p:grpSpPr>
        <p:sp>
          <p:nvSpPr>
            <p:cNvPr id="288" name="Left Brace 287"/>
            <p:cNvSpPr/>
            <p:nvPr/>
          </p:nvSpPr>
          <p:spPr>
            <a:xfrm>
              <a:off x="1657997" y="3431451"/>
              <a:ext cx="283608" cy="575052"/>
            </a:xfrm>
            <a:prstGeom prst="leftBrace">
              <a:avLst>
                <a:gd name="adj1" fmla="val 43615"/>
                <a:gd name="adj2" fmla="val 50000"/>
              </a:avLst>
            </a:prstGeom>
            <a:ln>
              <a:solidFill>
                <a:schemeClr val="accent6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600">
                <a:solidFill>
                  <a:srgbClr val="FFFFFF"/>
                </a:solidFill>
              </a:endParaRPr>
            </a:p>
          </p:txBody>
        </p:sp>
        <p:cxnSp>
          <p:nvCxnSpPr>
            <p:cNvPr id="289" name="Straight Arrow Connector 288"/>
            <p:cNvCxnSpPr/>
            <p:nvPr/>
          </p:nvCxnSpPr>
          <p:spPr>
            <a:xfrm flipV="1">
              <a:off x="2486553" y="3915105"/>
              <a:ext cx="6132406" cy="7147"/>
            </a:xfrm>
            <a:prstGeom prst="straightConnector1">
              <a:avLst/>
            </a:prstGeom>
            <a:ln>
              <a:solidFill>
                <a:schemeClr val="accent6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0" name="TextBox 289"/>
            <p:cNvSpPr txBox="1"/>
            <p:nvPr/>
          </p:nvSpPr>
          <p:spPr>
            <a:xfrm>
              <a:off x="1895876" y="3696431"/>
              <a:ext cx="466895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2.4 GHz</a:t>
              </a:r>
            </a:p>
          </p:txBody>
        </p:sp>
        <p:sp>
          <p:nvSpPr>
            <p:cNvPr id="291" name="TextBox 290"/>
            <p:cNvSpPr txBox="1"/>
            <p:nvPr/>
          </p:nvSpPr>
          <p:spPr>
            <a:xfrm>
              <a:off x="1971963" y="3860886"/>
              <a:ext cx="402724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5 GHz</a:t>
              </a:r>
            </a:p>
          </p:txBody>
        </p:sp>
        <p:sp>
          <p:nvSpPr>
            <p:cNvPr id="292" name="TextBox 291"/>
            <p:cNvSpPr txBox="1"/>
            <p:nvPr/>
          </p:nvSpPr>
          <p:spPr>
            <a:xfrm>
              <a:off x="8583223" y="3685752"/>
              <a:ext cx="210314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t</a:t>
              </a:r>
              <a:endParaRPr lang="en-U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93" name="Rectangle 292"/>
            <p:cNvSpPr/>
            <p:nvPr/>
          </p:nvSpPr>
          <p:spPr>
            <a:xfrm>
              <a:off x="4099481" y="3743802"/>
              <a:ext cx="374043" cy="15545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</a:rPr>
                <a:t>Ch11</a:t>
              </a:r>
            </a:p>
          </p:txBody>
        </p:sp>
        <p:sp>
          <p:nvSpPr>
            <p:cNvPr id="294" name="Rectangle 293"/>
            <p:cNvSpPr/>
            <p:nvPr/>
          </p:nvSpPr>
          <p:spPr>
            <a:xfrm>
              <a:off x="3092291" y="3752178"/>
              <a:ext cx="374043" cy="15545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</a:rPr>
                <a:t>Ch2</a:t>
              </a:r>
            </a:p>
          </p:txBody>
        </p:sp>
        <p:sp>
          <p:nvSpPr>
            <p:cNvPr id="295" name="Rectangle 294"/>
            <p:cNvSpPr/>
            <p:nvPr/>
          </p:nvSpPr>
          <p:spPr>
            <a:xfrm>
              <a:off x="2663467" y="3752178"/>
              <a:ext cx="374043" cy="15545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</a:rPr>
                <a:t>Ch1</a:t>
              </a:r>
            </a:p>
          </p:txBody>
        </p:sp>
        <p:sp>
          <p:nvSpPr>
            <p:cNvPr id="296" name="TextBox 295"/>
            <p:cNvSpPr txBox="1"/>
            <p:nvPr/>
          </p:nvSpPr>
          <p:spPr>
            <a:xfrm>
              <a:off x="3599782" y="3634529"/>
              <a:ext cx="261610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…</a:t>
              </a:r>
              <a:endParaRPr lang="en-U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97" name="Rectangle 296"/>
            <p:cNvSpPr/>
            <p:nvPr/>
          </p:nvSpPr>
          <p:spPr>
            <a:xfrm>
              <a:off x="4938659" y="3750994"/>
              <a:ext cx="374043" cy="155453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</a:rPr>
                <a:t>Ch38</a:t>
              </a:r>
            </a:p>
          </p:txBody>
        </p:sp>
        <p:sp>
          <p:nvSpPr>
            <p:cNvPr id="298" name="Rectangle 297"/>
            <p:cNvSpPr/>
            <p:nvPr/>
          </p:nvSpPr>
          <p:spPr>
            <a:xfrm>
              <a:off x="4509835" y="3750994"/>
              <a:ext cx="374043" cy="155453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</a:rPr>
                <a:t>Ch36</a:t>
              </a:r>
            </a:p>
          </p:txBody>
        </p:sp>
        <p:sp>
          <p:nvSpPr>
            <p:cNvPr id="299" name="Rectangle 298"/>
            <p:cNvSpPr/>
            <p:nvPr/>
          </p:nvSpPr>
          <p:spPr>
            <a:xfrm>
              <a:off x="8067923" y="3743845"/>
              <a:ext cx="374043" cy="155453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</a:rPr>
                <a:t>Ch161</a:t>
              </a:r>
            </a:p>
          </p:txBody>
        </p:sp>
        <p:sp>
          <p:nvSpPr>
            <p:cNvPr id="300" name="Rectangle 299"/>
            <p:cNvSpPr/>
            <p:nvPr/>
          </p:nvSpPr>
          <p:spPr>
            <a:xfrm>
              <a:off x="7661094" y="3743846"/>
              <a:ext cx="374043" cy="155453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</a:rPr>
                <a:t>Ch157</a:t>
              </a:r>
            </a:p>
          </p:txBody>
        </p:sp>
        <p:sp>
          <p:nvSpPr>
            <p:cNvPr id="301" name="TextBox 300"/>
            <p:cNvSpPr txBox="1"/>
            <p:nvPr/>
          </p:nvSpPr>
          <p:spPr>
            <a:xfrm>
              <a:off x="6417814" y="3624429"/>
              <a:ext cx="261610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…</a:t>
              </a:r>
              <a:endParaRPr lang="en-U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02" name="TextBox 301"/>
            <p:cNvSpPr txBox="1"/>
            <p:nvPr/>
          </p:nvSpPr>
          <p:spPr>
            <a:xfrm>
              <a:off x="5301939" y="3627737"/>
              <a:ext cx="261610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…</a:t>
              </a:r>
              <a:endParaRPr lang="en-U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03" name="TextBox 302"/>
            <p:cNvSpPr txBox="1"/>
            <p:nvPr/>
          </p:nvSpPr>
          <p:spPr>
            <a:xfrm>
              <a:off x="7313797" y="3627737"/>
              <a:ext cx="261610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…</a:t>
              </a:r>
              <a:endParaRPr lang="en-U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304" name="TextBox 303"/>
            <p:cNvSpPr txBox="1"/>
            <p:nvPr/>
          </p:nvSpPr>
          <p:spPr>
            <a:xfrm>
              <a:off x="91173" y="3539124"/>
              <a:ext cx="17189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700" b="1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ELM with FRA Wireless Security Monitoring</a:t>
              </a:r>
            </a:p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700" b="1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  <a:p>
              <a:pPr marL="171450" indent="-171450" defTabSz="457200" fontAlgn="base">
                <a:spcBef>
                  <a:spcPct val="0"/>
                </a:spcBef>
                <a:spcAft>
                  <a:spcPct val="0"/>
                </a:spcAft>
                <a:buFont typeface="Wingdings" charset="2"/>
                <a:buChar char="ü"/>
              </a:pPr>
              <a:r>
                <a:rPr lang="en-US" sz="700" b="1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BEST</a:t>
              </a:r>
              <a:endParaRPr lang="en-US" sz="700" b="1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  <p:cxnSp>
          <p:nvCxnSpPr>
            <p:cNvPr id="305" name="Straight Arrow Connector 304"/>
            <p:cNvCxnSpPr/>
            <p:nvPr/>
          </p:nvCxnSpPr>
          <p:spPr>
            <a:xfrm flipV="1">
              <a:off x="2468564" y="3647189"/>
              <a:ext cx="6132406" cy="7147"/>
            </a:xfrm>
            <a:prstGeom prst="straightConnector1">
              <a:avLst/>
            </a:prstGeom>
            <a:ln>
              <a:solidFill>
                <a:schemeClr val="accent6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6" name="Rectangle 305"/>
            <p:cNvSpPr/>
            <p:nvPr/>
          </p:nvSpPr>
          <p:spPr>
            <a:xfrm>
              <a:off x="2675837" y="3486374"/>
              <a:ext cx="2330028" cy="160815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solidFill>
                    <a:srgbClr val="FFFFFF"/>
                  </a:solidFill>
                </a:rPr>
                <a:t>Serving channel</a:t>
              </a:r>
            </a:p>
          </p:txBody>
        </p:sp>
        <p:sp>
          <p:nvSpPr>
            <p:cNvPr id="307" name="Rectangle 306"/>
            <p:cNvSpPr/>
            <p:nvPr/>
          </p:nvSpPr>
          <p:spPr>
            <a:xfrm>
              <a:off x="5458529" y="3486374"/>
              <a:ext cx="2330028" cy="160815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solidFill>
                    <a:srgbClr val="FFFFFF"/>
                  </a:solidFill>
                </a:rPr>
                <a:t>Serving channel</a:t>
              </a:r>
            </a:p>
          </p:txBody>
        </p:sp>
        <p:sp>
          <p:nvSpPr>
            <p:cNvPr id="308" name="Rectangle 307"/>
            <p:cNvSpPr/>
            <p:nvPr/>
          </p:nvSpPr>
          <p:spPr>
            <a:xfrm>
              <a:off x="5046365" y="3486374"/>
              <a:ext cx="374043" cy="155453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</a:rPr>
                <a:t>Off-</a:t>
              </a:r>
              <a:r>
                <a:rPr lang="en-US" sz="600" dirty="0" err="1">
                  <a:solidFill>
                    <a:srgbClr val="FFFFFF"/>
                  </a:solidFill>
                </a:rPr>
                <a:t>Ch</a:t>
              </a:r>
              <a:endParaRPr lang="en-US" sz="600" dirty="0">
                <a:solidFill>
                  <a:srgbClr val="FFFFFF"/>
                </a:solidFill>
              </a:endParaRPr>
            </a:p>
          </p:txBody>
        </p:sp>
        <p:sp>
          <p:nvSpPr>
            <p:cNvPr id="309" name="Rectangle 308"/>
            <p:cNvSpPr/>
            <p:nvPr/>
          </p:nvSpPr>
          <p:spPr>
            <a:xfrm>
              <a:off x="7829061" y="3488162"/>
              <a:ext cx="374043" cy="155453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>
              <a:outerShdw blurRad="76200" dist="50800" dir="5400000" algn="ctr" rotWithShape="0">
                <a:srgbClr val="000000">
                  <a:alpha val="27000"/>
                </a:srgb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</a:rPr>
                <a:t>Off-</a:t>
              </a:r>
              <a:r>
                <a:rPr lang="en-US" sz="600" dirty="0" err="1">
                  <a:solidFill>
                    <a:srgbClr val="FFFFFF"/>
                  </a:solidFill>
                </a:rPr>
                <a:t>Ch</a:t>
              </a:r>
              <a:endParaRPr lang="en-US" sz="600" dirty="0" smtClean="0">
                <a:solidFill>
                  <a:srgbClr val="FFFFFF"/>
                </a:solidFill>
              </a:endParaRPr>
            </a:p>
          </p:txBody>
        </p:sp>
        <p:sp>
          <p:nvSpPr>
            <p:cNvPr id="310" name="TextBox 309"/>
            <p:cNvSpPr txBox="1"/>
            <p:nvPr/>
          </p:nvSpPr>
          <p:spPr>
            <a:xfrm>
              <a:off x="2005114" y="3412176"/>
              <a:ext cx="402724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5 GHz</a:t>
              </a:r>
            </a:p>
          </p:txBody>
        </p:sp>
        <p:sp>
          <p:nvSpPr>
            <p:cNvPr id="311" name="TextBox 310"/>
            <p:cNvSpPr txBox="1"/>
            <p:nvPr/>
          </p:nvSpPr>
          <p:spPr>
            <a:xfrm>
              <a:off x="8566560" y="3417260"/>
              <a:ext cx="210314" cy="18466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600" dirty="0" smtClean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rPr>
                <a:t>t</a:t>
              </a:r>
              <a:endParaRPr lang="en-US" sz="600" dirty="0">
                <a:solidFill>
                  <a:srgbClr val="FFFFFF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sp>
        <p:nvSpPr>
          <p:cNvPr id="313" name="Rectangle 312"/>
          <p:cNvSpPr/>
          <p:nvPr/>
        </p:nvSpPr>
        <p:spPr>
          <a:xfrm>
            <a:off x="2461502" y="898361"/>
            <a:ext cx="1925003" cy="1915997"/>
          </a:xfrm>
          <a:prstGeom prst="rect">
            <a:avLst/>
          </a:prstGeom>
          <a:noFill/>
          <a:ln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grpSp>
        <p:nvGrpSpPr>
          <p:cNvPr id="314" name="Group 313"/>
          <p:cNvGrpSpPr/>
          <p:nvPr/>
        </p:nvGrpSpPr>
        <p:grpSpPr>
          <a:xfrm>
            <a:off x="3786392" y="803368"/>
            <a:ext cx="305263" cy="305263"/>
            <a:chOff x="971601" y="1893303"/>
            <a:chExt cx="305263" cy="305263"/>
          </a:xfrm>
        </p:grpSpPr>
        <p:sp>
          <p:nvSpPr>
            <p:cNvPr id="315" name="Oval 314"/>
            <p:cNvSpPr/>
            <p:nvPr/>
          </p:nvSpPr>
          <p:spPr>
            <a:xfrm>
              <a:off x="971601" y="1893303"/>
              <a:ext cx="305263" cy="305263"/>
            </a:xfrm>
            <a:prstGeom prst="ellipse">
              <a:avLst/>
            </a:prstGeom>
            <a:solidFill>
              <a:srgbClr val="FDBE24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316" name="Freeform 315"/>
            <p:cNvSpPr>
              <a:spLocks/>
            </p:cNvSpPr>
            <p:nvPr/>
          </p:nvSpPr>
          <p:spPr bwMode="auto">
            <a:xfrm>
              <a:off x="1053833" y="1981355"/>
              <a:ext cx="149716" cy="141972"/>
            </a:xfrm>
            <a:custGeom>
              <a:avLst/>
              <a:gdLst>
                <a:gd name="T0" fmla="*/ 95 w 98"/>
                <a:gd name="T1" fmla="*/ 0 h 93"/>
                <a:gd name="T2" fmla="*/ 98 w 98"/>
                <a:gd name="T3" fmla="*/ 4 h 93"/>
                <a:gd name="T4" fmla="*/ 64 w 98"/>
                <a:gd name="T5" fmla="*/ 39 h 93"/>
                <a:gd name="T6" fmla="*/ 36 w 98"/>
                <a:gd name="T7" fmla="*/ 83 h 93"/>
                <a:gd name="T8" fmla="*/ 31 w 98"/>
                <a:gd name="T9" fmla="*/ 86 h 93"/>
                <a:gd name="T10" fmla="*/ 22 w 98"/>
                <a:gd name="T11" fmla="*/ 93 h 93"/>
                <a:gd name="T12" fmla="*/ 18 w 98"/>
                <a:gd name="T13" fmla="*/ 82 h 93"/>
                <a:gd name="T14" fmla="*/ 16 w 98"/>
                <a:gd name="T15" fmla="*/ 77 h 93"/>
                <a:gd name="T16" fmla="*/ 8 w 98"/>
                <a:gd name="T17" fmla="*/ 63 h 93"/>
                <a:gd name="T18" fmla="*/ 0 w 98"/>
                <a:gd name="T19" fmla="*/ 57 h 93"/>
                <a:gd name="T20" fmla="*/ 14 w 98"/>
                <a:gd name="T21" fmla="*/ 49 h 93"/>
                <a:gd name="T22" fmla="*/ 26 w 98"/>
                <a:gd name="T23" fmla="*/ 63 h 93"/>
                <a:gd name="T24" fmla="*/ 28 w 98"/>
                <a:gd name="T25" fmla="*/ 68 h 93"/>
                <a:gd name="T26" fmla="*/ 59 w 98"/>
                <a:gd name="T27" fmla="*/ 29 h 93"/>
                <a:gd name="T28" fmla="*/ 95 w 98"/>
                <a:gd name="T2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93">
                  <a:moveTo>
                    <a:pt x="95" y="0"/>
                  </a:moveTo>
                  <a:cubicBezTo>
                    <a:pt x="98" y="4"/>
                    <a:pt x="98" y="4"/>
                    <a:pt x="98" y="4"/>
                  </a:cubicBezTo>
                  <a:cubicBezTo>
                    <a:pt x="88" y="11"/>
                    <a:pt x="76" y="23"/>
                    <a:pt x="64" y="39"/>
                  </a:cubicBezTo>
                  <a:cubicBezTo>
                    <a:pt x="52" y="54"/>
                    <a:pt x="42" y="69"/>
                    <a:pt x="36" y="83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26" y="89"/>
                    <a:pt x="24" y="91"/>
                    <a:pt x="22" y="93"/>
                  </a:cubicBezTo>
                  <a:cubicBezTo>
                    <a:pt x="21" y="91"/>
                    <a:pt x="20" y="87"/>
                    <a:pt x="18" y="82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3" y="71"/>
                    <a:pt x="11" y="66"/>
                    <a:pt x="8" y="63"/>
                  </a:cubicBezTo>
                  <a:cubicBezTo>
                    <a:pt x="6" y="60"/>
                    <a:pt x="3" y="58"/>
                    <a:pt x="0" y="57"/>
                  </a:cubicBezTo>
                  <a:cubicBezTo>
                    <a:pt x="5" y="51"/>
                    <a:pt x="10" y="49"/>
                    <a:pt x="14" y="49"/>
                  </a:cubicBezTo>
                  <a:cubicBezTo>
                    <a:pt x="18" y="49"/>
                    <a:pt x="22" y="54"/>
                    <a:pt x="26" y="63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6" y="55"/>
                    <a:pt x="46" y="42"/>
                    <a:pt x="59" y="29"/>
                  </a:cubicBezTo>
                  <a:cubicBezTo>
                    <a:pt x="71" y="17"/>
                    <a:pt x="83" y="7"/>
                    <a:pt x="9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endParaRPr lang="en-US">
                <a:solidFill>
                  <a:srgbClr val="676767"/>
                </a:solidFill>
              </a:endParaRPr>
            </a:p>
          </p:txBody>
        </p:sp>
      </p:grpSp>
      <p:grpSp>
        <p:nvGrpSpPr>
          <p:cNvPr id="317" name="Group 316"/>
          <p:cNvGrpSpPr/>
          <p:nvPr/>
        </p:nvGrpSpPr>
        <p:grpSpPr>
          <a:xfrm>
            <a:off x="5975678" y="800881"/>
            <a:ext cx="305263" cy="305263"/>
            <a:chOff x="971601" y="1893303"/>
            <a:chExt cx="305263" cy="305263"/>
          </a:xfrm>
        </p:grpSpPr>
        <p:sp>
          <p:nvSpPr>
            <p:cNvPr id="318" name="Oval 317"/>
            <p:cNvSpPr/>
            <p:nvPr/>
          </p:nvSpPr>
          <p:spPr>
            <a:xfrm>
              <a:off x="971601" y="1893303"/>
              <a:ext cx="305263" cy="305263"/>
            </a:xfrm>
            <a:prstGeom prst="ellipse">
              <a:avLst/>
            </a:prstGeom>
            <a:solidFill>
              <a:srgbClr val="FF6600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319" name="Freeform 318"/>
            <p:cNvSpPr>
              <a:spLocks/>
            </p:cNvSpPr>
            <p:nvPr/>
          </p:nvSpPr>
          <p:spPr bwMode="auto">
            <a:xfrm>
              <a:off x="1053833" y="1981355"/>
              <a:ext cx="149716" cy="141972"/>
            </a:xfrm>
            <a:custGeom>
              <a:avLst/>
              <a:gdLst>
                <a:gd name="T0" fmla="*/ 95 w 98"/>
                <a:gd name="T1" fmla="*/ 0 h 93"/>
                <a:gd name="T2" fmla="*/ 98 w 98"/>
                <a:gd name="T3" fmla="*/ 4 h 93"/>
                <a:gd name="T4" fmla="*/ 64 w 98"/>
                <a:gd name="T5" fmla="*/ 39 h 93"/>
                <a:gd name="T6" fmla="*/ 36 w 98"/>
                <a:gd name="T7" fmla="*/ 83 h 93"/>
                <a:gd name="T8" fmla="*/ 31 w 98"/>
                <a:gd name="T9" fmla="*/ 86 h 93"/>
                <a:gd name="T10" fmla="*/ 22 w 98"/>
                <a:gd name="T11" fmla="*/ 93 h 93"/>
                <a:gd name="T12" fmla="*/ 18 w 98"/>
                <a:gd name="T13" fmla="*/ 82 h 93"/>
                <a:gd name="T14" fmla="*/ 16 w 98"/>
                <a:gd name="T15" fmla="*/ 77 h 93"/>
                <a:gd name="T16" fmla="*/ 8 w 98"/>
                <a:gd name="T17" fmla="*/ 63 h 93"/>
                <a:gd name="T18" fmla="*/ 0 w 98"/>
                <a:gd name="T19" fmla="*/ 57 h 93"/>
                <a:gd name="T20" fmla="*/ 14 w 98"/>
                <a:gd name="T21" fmla="*/ 49 h 93"/>
                <a:gd name="T22" fmla="*/ 26 w 98"/>
                <a:gd name="T23" fmla="*/ 63 h 93"/>
                <a:gd name="T24" fmla="*/ 28 w 98"/>
                <a:gd name="T25" fmla="*/ 68 h 93"/>
                <a:gd name="T26" fmla="*/ 59 w 98"/>
                <a:gd name="T27" fmla="*/ 29 h 93"/>
                <a:gd name="T28" fmla="*/ 95 w 98"/>
                <a:gd name="T2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93">
                  <a:moveTo>
                    <a:pt x="95" y="0"/>
                  </a:moveTo>
                  <a:cubicBezTo>
                    <a:pt x="98" y="4"/>
                    <a:pt x="98" y="4"/>
                    <a:pt x="98" y="4"/>
                  </a:cubicBezTo>
                  <a:cubicBezTo>
                    <a:pt x="88" y="11"/>
                    <a:pt x="76" y="23"/>
                    <a:pt x="64" y="39"/>
                  </a:cubicBezTo>
                  <a:cubicBezTo>
                    <a:pt x="52" y="54"/>
                    <a:pt x="42" y="69"/>
                    <a:pt x="36" y="83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26" y="89"/>
                    <a:pt x="24" y="91"/>
                    <a:pt x="22" y="93"/>
                  </a:cubicBezTo>
                  <a:cubicBezTo>
                    <a:pt x="21" y="91"/>
                    <a:pt x="20" y="87"/>
                    <a:pt x="18" y="82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3" y="71"/>
                    <a:pt x="11" y="66"/>
                    <a:pt x="8" y="63"/>
                  </a:cubicBezTo>
                  <a:cubicBezTo>
                    <a:pt x="6" y="60"/>
                    <a:pt x="3" y="58"/>
                    <a:pt x="0" y="57"/>
                  </a:cubicBezTo>
                  <a:cubicBezTo>
                    <a:pt x="5" y="51"/>
                    <a:pt x="10" y="49"/>
                    <a:pt x="14" y="49"/>
                  </a:cubicBezTo>
                  <a:cubicBezTo>
                    <a:pt x="18" y="49"/>
                    <a:pt x="22" y="54"/>
                    <a:pt x="26" y="63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6" y="55"/>
                    <a:pt x="46" y="42"/>
                    <a:pt x="59" y="29"/>
                  </a:cubicBezTo>
                  <a:cubicBezTo>
                    <a:pt x="71" y="17"/>
                    <a:pt x="83" y="7"/>
                    <a:pt x="9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endParaRPr lang="en-US">
                <a:solidFill>
                  <a:srgbClr val="676767"/>
                </a:solidFill>
              </a:endParaRPr>
            </a:p>
          </p:txBody>
        </p:sp>
      </p:grpSp>
      <p:grpSp>
        <p:nvGrpSpPr>
          <p:cNvPr id="320" name="Group 319"/>
          <p:cNvGrpSpPr/>
          <p:nvPr/>
        </p:nvGrpSpPr>
        <p:grpSpPr>
          <a:xfrm>
            <a:off x="8102005" y="800881"/>
            <a:ext cx="305263" cy="305263"/>
            <a:chOff x="971601" y="1893303"/>
            <a:chExt cx="305263" cy="305263"/>
          </a:xfrm>
        </p:grpSpPr>
        <p:sp>
          <p:nvSpPr>
            <p:cNvPr id="321" name="Oval 320"/>
            <p:cNvSpPr/>
            <p:nvPr/>
          </p:nvSpPr>
          <p:spPr>
            <a:xfrm>
              <a:off x="971601" y="1893303"/>
              <a:ext cx="305263" cy="305263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322" name="Freeform 321"/>
            <p:cNvSpPr>
              <a:spLocks/>
            </p:cNvSpPr>
            <p:nvPr/>
          </p:nvSpPr>
          <p:spPr bwMode="auto">
            <a:xfrm>
              <a:off x="1053833" y="1981355"/>
              <a:ext cx="149716" cy="141972"/>
            </a:xfrm>
            <a:custGeom>
              <a:avLst/>
              <a:gdLst>
                <a:gd name="T0" fmla="*/ 95 w 98"/>
                <a:gd name="T1" fmla="*/ 0 h 93"/>
                <a:gd name="T2" fmla="*/ 98 w 98"/>
                <a:gd name="T3" fmla="*/ 4 h 93"/>
                <a:gd name="T4" fmla="*/ 64 w 98"/>
                <a:gd name="T5" fmla="*/ 39 h 93"/>
                <a:gd name="T6" fmla="*/ 36 w 98"/>
                <a:gd name="T7" fmla="*/ 83 h 93"/>
                <a:gd name="T8" fmla="*/ 31 w 98"/>
                <a:gd name="T9" fmla="*/ 86 h 93"/>
                <a:gd name="T10" fmla="*/ 22 w 98"/>
                <a:gd name="T11" fmla="*/ 93 h 93"/>
                <a:gd name="T12" fmla="*/ 18 w 98"/>
                <a:gd name="T13" fmla="*/ 82 h 93"/>
                <a:gd name="T14" fmla="*/ 16 w 98"/>
                <a:gd name="T15" fmla="*/ 77 h 93"/>
                <a:gd name="T16" fmla="*/ 8 w 98"/>
                <a:gd name="T17" fmla="*/ 63 h 93"/>
                <a:gd name="T18" fmla="*/ 0 w 98"/>
                <a:gd name="T19" fmla="*/ 57 h 93"/>
                <a:gd name="T20" fmla="*/ 14 w 98"/>
                <a:gd name="T21" fmla="*/ 49 h 93"/>
                <a:gd name="T22" fmla="*/ 26 w 98"/>
                <a:gd name="T23" fmla="*/ 63 h 93"/>
                <a:gd name="T24" fmla="*/ 28 w 98"/>
                <a:gd name="T25" fmla="*/ 68 h 93"/>
                <a:gd name="T26" fmla="*/ 59 w 98"/>
                <a:gd name="T27" fmla="*/ 29 h 93"/>
                <a:gd name="T28" fmla="*/ 95 w 98"/>
                <a:gd name="T2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93">
                  <a:moveTo>
                    <a:pt x="95" y="0"/>
                  </a:moveTo>
                  <a:cubicBezTo>
                    <a:pt x="98" y="4"/>
                    <a:pt x="98" y="4"/>
                    <a:pt x="98" y="4"/>
                  </a:cubicBezTo>
                  <a:cubicBezTo>
                    <a:pt x="88" y="11"/>
                    <a:pt x="76" y="23"/>
                    <a:pt x="64" y="39"/>
                  </a:cubicBezTo>
                  <a:cubicBezTo>
                    <a:pt x="52" y="54"/>
                    <a:pt x="42" y="69"/>
                    <a:pt x="36" y="83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26" y="89"/>
                    <a:pt x="24" y="91"/>
                    <a:pt x="22" y="93"/>
                  </a:cubicBezTo>
                  <a:cubicBezTo>
                    <a:pt x="21" y="91"/>
                    <a:pt x="20" y="87"/>
                    <a:pt x="18" y="82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3" y="71"/>
                    <a:pt x="11" y="66"/>
                    <a:pt x="8" y="63"/>
                  </a:cubicBezTo>
                  <a:cubicBezTo>
                    <a:pt x="6" y="60"/>
                    <a:pt x="3" y="58"/>
                    <a:pt x="0" y="57"/>
                  </a:cubicBezTo>
                  <a:cubicBezTo>
                    <a:pt x="5" y="51"/>
                    <a:pt x="10" y="49"/>
                    <a:pt x="14" y="49"/>
                  </a:cubicBezTo>
                  <a:cubicBezTo>
                    <a:pt x="18" y="49"/>
                    <a:pt x="22" y="54"/>
                    <a:pt x="26" y="63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6" y="55"/>
                    <a:pt x="46" y="42"/>
                    <a:pt x="59" y="29"/>
                  </a:cubicBezTo>
                  <a:cubicBezTo>
                    <a:pt x="71" y="17"/>
                    <a:pt x="83" y="7"/>
                    <a:pt x="9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endParaRPr lang="en-US">
                <a:solidFill>
                  <a:srgbClr val="67676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64191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0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199E-7 4.93827E-6 L 0.21605 -0.00741 " pathEditMode="relative" rAng="0" ptsTypes="AA">
                                      <p:cBhvr>
                                        <p:cTn id="23" dur="2000" fill="hold"/>
                                        <p:tgtEl>
                                          <p:spTgt spid="3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802" y="-37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0" presetClass="path" presetSubtype="0" accel="50000" decel="5000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1605 -0.00741 L 0.44634 -0.00741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3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151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3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3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6" presetClass="emph" presetSubtype="0" repeatCount="2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 tmFilter="0, 0; .2, .5; .8, .5; 1, 0"/>
                                        <p:tgtEl>
                                          <p:spTgt spid="31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3" dur="250" autoRev="1" fill="hold"/>
                                        <p:tgtEl>
                                          <p:spTgt spid="31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4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6" presetClass="emph" presetSubtype="0" repeatCount="2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500" tmFilter="0, 0; .2, .5; .8, .5; 1, 0"/>
                                        <p:tgtEl>
                                          <p:spTgt spid="31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1" dur="250" autoRev="1" fill="hold"/>
                                        <p:tgtEl>
                                          <p:spTgt spid="31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2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3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3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6" presetClass="emph" presetSubtype="0" repeatCount="2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 tmFilter="0, 0; .2, .5; .8, .5; 1, 0"/>
                                        <p:tgtEl>
                                          <p:spTgt spid="32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9" dur="250" autoRev="1" fill="hold"/>
                                        <p:tgtEl>
                                          <p:spTgt spid="32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2" grpId="0" animBg="1"/>
      <p:bldP spid="313" grpId="0" animBg="1"/>
      <p:bldP spid="313" grpId="1" animBg="1"/>
      <p:bldP spid="313" grpId="2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7958" y="1056022"/>
            <a:ext cx="3805998" cy="23790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673" y="971250"/>
            <a:ext cx="3601840" cy="2251420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/>
        </p:nvSpPr>
        <p:spPr>
          <a:xfrm>
            <a:off x="266700" y="285750"/>
            <a:ext cx="8513064" cy="765432"/>
          </a:xfrm>
          <a:prstGeom prst="rect">
            <a:avLst/>
          </a:prstGeom>
        </p:spPr>
        <p:txBody>
          <a:bodyPr/>
          <a:lstStyle>
            <a:lvl1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lang="en-US" sz="3200" kern="1200" dirty="0">
                <a:solidFill>
                  <a:schemeClr val="tx2"/>
                </a:solidFill>
                <a:latin typeface="+mj-lt"/>
                <a:ea typeface="ＭＳ Ｐゴシック" charset="0"/>
                <a:cs typeface="CiscoSans"/>
              </a:defRPr>
            </a:lvl1pPr>
            <a:lvl2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2pPr>
            <a:lvl3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3pPr>
            <a:lvl4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4pPr>
            <a:lvl5pPr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  <a:cs typeface="CiscoSans" pitchFamily="34" charset="0"/>
              </a:defRPr>
            </a:lvl5pPr>
            <a:lvl6pPr marL="4572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9144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3716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1828800" algn="l" defTabSz="684213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2800" dirty="0" smtClean="0">
                <a:solidFill>
                  <a:srgbClr val="58585B"/>
                </a:solidFill>
                <a:latin typeface="Arial"/>
              </a:rPr>
              <a:t>Adaptive 11r and Cisco </a:t>
            </a:r>
            <a:r>
              <a:rPr lang="en-US" sz="2800" dirty="0" err="1" smtClean="0">
                <a:solidFill>
                  <a:srgbClr val="58585B"/>
                </a:solidFill>
                <a:latin typeface="Arial"/>
              </a:rPr>
              <a:t>Fastlane</a:t>
            </a:r>
            <a:endParaRPr sz="2800" dirty="0">
              <a:solidFill>
                <a:srgbClr val="58585B"/>
              </a:solidFill>
              <a:latin typeface="Arial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474181" y="4625773"/>
            <a:ext cx="6915973" cy="271652"/>
            <a:chOff x="474175" y="4625773"/>
            <a:chExt cx="8259947" cy="271652"/>
          </a:xfrm>
        </p:grpSpPr>
        <p:pic>
          <p:nvPicPr>
            <p:cNvPr id="28" name="Picture 27" descr="C:\Users\spius\Pictures\cisco logo blue gradient.png"/>
            <p:cNvPicPr>
              <a:picLocks noChangeAspect="1" noChangeArrowheads="1"/>
            </p:cNvPicPr>
            <p:nvPr/>
          </p:nvPicPr>
          <p:blipFill>
            <a:blip r:embed="rId5" cstate="screen">
              <a:biLevel thresh="25000"/>
              <a:alphaModFix amt="6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4175" y="4625773"/>
              <a:ext cx="431312" cy="265176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Rectangle 7"/>
            <p:cNvSpPr>
              <a:spLocks noChangeArrowheads="1"/>
            </p:cNvSpPr>
            <p:nvPr/>
          </p:nvSpPr>
          <p:spPr bwMode="ltGray">
            <a:xfrm>
              <a:off x="8566469" y="4742909"/>
              <a:ext cx="167653" cy="15451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1585" tIns="30791" rIns="61585" bIns="30791" anchor="b">
              <a:spAutoFit/>
            </a:bodyPr>
            <a:lstStyle/>
            <a:p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fld id="{6A1E46DC-7EF6-4EA2-B285-14272867D133}" type="slidenum">
                <a:rPr lang="en-US" sz="600" smtClean="0">
                  <a:solidFill>
                    <a:srgbClr val="FFFFFF">
                      <a:alpha val="60000"/>
                    </a:srgbClr>
                  </a:solidFill>
                  <a:ea typeface="ＭＳ Ｐゴシック" pitchFamily="34" charset="-128"/>
                  <a:cs typeface="CiscoSans Thin"/>
                </a:rPr>
                <a:pPr algn="r" defTabSz="61072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t>13</a:t>
              </a:fld>
              <a:endParaRPr lang="en-US" sz="600" dirty="0">
                <a:solidFill>
                  <a:srgbClr val="FFFFFF">
                    <a:alpha val="60000"/>
                  </a:srgbClr>
                </a:solidFill>
                <a:ea typeface="ＭＳ Ｐゴシック" pitchFamily="34" charset="-128"/>
                <a:cs typeface="CiscoSans Thin"/>
              </a:endParaRPr>
            </a:p>
          </p:txBody>
        </p:sp>
        <p:sp>
          <p:nvSpPr>
            <p:cNvPr id="40" name="Rectangle 39"/>
            <p:cNvSpPr>
              <a:spLocks noChangeArrowheads="1"/>
            </p:cNvSpPr>
            <p:nvPr/>
          </p:nvSpPr>
          <p:spPr bwMode="ltGray">
            <a:xfrm>
              <a:off x="5867508" y="4741653"/>
              <a:ext cx="2658018" cy="1545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61585" tIns="30791" rIns="61585" bIns="30791" anchor="b">
              <a:spAutoFit/>
            </a:bodyPr>
            <a:lstStyle/>
            <a:p>
              <a:pPr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600" dirty="0">
                  <a:solidFill>
                    <a:prstClr val="white">
                      <a:alpha val="60000"/>
                    </a:prstClr>
                  </a:solidFill>
                  <a:latin typeface="Arial"/>
                  <a:ea typeface="ＭＳ Ｐゴシック" pitchFamily="34" charset="-128"/>
                  <a:cs typeface="CiscoSans Thin"/>
                </a:rPr>
                <a:t>© </a:t>
              </a:r>
              <a:r>
                <a:rPr lang="is-IS" sz="600" dirty="0" smtClean="0">
                  <a:solidFill>
                    <a:prstClr val="white">
                      <a:alpha val="60000"/>
                    </a:prstClr>
                  </a:solidFill>
                  <a:latin typeface="Arial"/>
                  <a:ea typeface="ＭＳ Ｐゴシック" pitchFamily="34" charset="-128"/>
                  <a:cs typeface="CiscoSans Thin"/>
                </a:rPr>
                <a:t>2016</a:t>
              </a:r>
              <a:r>
                <a:rPr lang="en-US" sz="600" dirty="0" smtClean="0">
                  <a:solidFill>
                    <a:prstClr val="white">
                      <a:alpha val="60000"/>
                    </a:prstClr>
                  </a:solidFill>
                  <a:latin typeface="Arial"/>
                  <a:ea typeface="ＭＳ Ｐゴシック" pitchFamily="34" charset="-128"/>
                  <a:cs typeface="CiscoSans Thin"/>
                </a:rPr>
                <a:t>  </a:t>
              </a:r>
              <a:r>
                <a:rPr lang="en-US" sz="600" dirty="0">
                  <a:solidFill>
                    <a:prstClr val="white">
                      <a:alpha val="60000"/>
                    </a:prstClr>
                  </a:solidFill>
                  <a:latin typeface="Arial"/>
                  <a:ea typeface="ＭＳ Ｐゴシック" pitchFamily="34" charset="-128"/>
                  <a:cs typeface="CiscoSans Thin"/>
                </a:rPr>
                <a:t>Cisco and/or its affiliates. All rights reserved.   Cisco Confidential</a:t>
              </a:r>
            </a:p>
          </p:txBody>
        </p:sp>
      </p:grpSp>
      <p:sp>
        <p:nvSpPr>
          <p:cNvPr id="2" name="Rectangle 1"/>
          <p:cNvSpPr/>
          <p:nvPr/>
        </p:nvSpPr>
        <p:spPr>
          <a:xfrm>
            <a:off x="721776" y="825801"/>
            <a:ext cx="34034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dirty="0">
                <a:solidFill>
                  <a:srgbClr val="58585B"/>
                </a:solidFill>
                <a:ea typeface="ＭＳ Ｐゴシック" pitchFamily="34" charset="-128"/>
                <a:cs typeface="+mn-cs"/>
              </a:rPr>
              <a:t>Optimized Wi-Fi Connectivity</a:t>
            </a:r>
          </a:p>
        </p:txBody>
      </p:sp>
      <p:sp>
        <p:nvSpPr>
          <p:cNvPr id="48" name="Rectangle 47"/>
          <p:cNvSpPr/>
          <p:nvPr/>
        </p:nvSpPr>
        <p:spPr>
          <a:xfrm>
            <a:off x="4823469" y="847326"/>
            <a:ext cx="38147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dirty="0" smtClean="0">
                <a:solidFill>
                  <a:srgbClr val="58585B"/>
                </a:solidFill>
                <a:ea typeface="ＭＳ Ｐゴシック" pitchFamily="34" charset="-128"/>
                <a:cs typeface="+mn-cs"/>
              </a:rPr>
              <a:t>Prioritized Business applications</a:t>
            </a:r>
            <a:endParaRPr lang="en-US" sz="1800" b="1" dirty="0">
              <a:solidFill>
                <a:srgbClr val="58585B"/>
              </a:solidFill>
              <a:ea typeface="ＭＳ Ｐゴシック" pitchFamily="34" charset="-128"/>
              <a:cs typeface="+mn-cs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1352930" y="2815054"/>
            <a:ext cx="260249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049FD9">
                    <a:lumMod val="75000"/>
                  </a:srgbClr>
                </a:solidFill>
                <a:ea typeface="ＭＳ Ｐゴシック" pitchFamily="34" charset="-128"/>
                <a:cs typeface="+mn-cs"/>
              </a:rPr>
              <a:t>Intelligent, and efficient roaming is </a:t>
            </a:r>
            <a:r>
              <a:rPr lang="en-US" sz="1600" dirty="0" smtClean="0">
                <a:solidFill>
                  <a:srgbClr val="049FD9">
                    <a:lumMod val="75000"/>
                  </a:srgbClr>
                </a:solidFill>
                <a:ea typeface="ＭＳ Ｐゴシック" pitchFamily="34" charset="-128"/>
                <a:cs typeface="+mn-cs"/>
              </a:rPr>
              <a:t>automatically </a:t>
            </a:r>
            <a:r>
              <a:rPr lang="en-US" sz="1600" dirty="0">
                <a:solidFill>
                  <a:srgbClr val="049FD9">
                    <a:lumMod val="75000"/>
                  </a:srgbClr>
                </a:solidFill>
                <a:ea typeface="ＭＳ Ｐゴシック" pitchFamily="34" charset="-128"/>
                <a:cs typeface="+mn-cs"/>
              </a:rPr>
              <a:t>configured</a:t>
            </a:r>
          </a:p>
        </p:txBody>
      </p:sp>
      <p:grpSp>
        <p:nvGrpSpPr>
          <p:cNvPr id="50" name="Group 49"/>
          <p:cNvGrpSpPr/>
          <p:nvPr/>
        </p:nvGrpSpPr>
        <p:grpSpPr>
          <a:xfrm rot="4500000">
            <a:off x="476976" y="2819033"/>
            <a:ext cx="520916" cy="607364"/>
            <a:chOff x="2511309" y="2382154"/>
            <a:chExt cx="723830" cy="1007957"/>
          </a:xfrm>
          <a:solidFill>
            <a:schemeClr val="bg2"/>
          </a:solidFill>
        </p:grpSpPr>
        <p:sp>
          <p:nvSpPr>
            <p:cNvPr id="54" name="Freeform 131"/>
            <p:cNvSpPr>
              <a:spLocks noEditPoints="1"/>
            </p:cNvSpPr>
            <p:nvPr/>
          </p:nvSpPr>
          <p:spPr bwMode="auto">
            <a:xfrm rot="20479378">
              <a:off x="2511309" y="2781481"/>
              <a:ext cx="615982" cy="608630"/>
            </a:xfrm>
            <a:custGeom>
              <a:avLst/>
              <a:gdLst/>
              <a:ahLst/>
              <a:cxnLst>
                <a:cxn ang="0">
                  <a:pos x="259" y="120"/>
                </a:cxn>
                <a:cxn ang="0">
                  <a:pos x="254" y="93"/>
                </a:cxn>
                <a:cxn ang="0">
                  <a:pos x="250" y="89"/>
                </a:cxn>
                <a:cxn ang="0">
                  <a:pos x="231" y="87"/>
                </a:cxn>
                <a:cxn ang="0">
                  <a:pos x="216" y="62"/>
                </a:cxn>
                <a:cxn ang="0">
                  <a:pos x="224" y="44"/>
                </a:cxn>
                <a:cxn ang="0">
                  <a:pos x="222" y="39"/>
                </a:cxn>
                <a:cxn ang="0">
                  <a:pos x="202" y="22"/>
                </a:cxn>
                <a:cxn ang="0">
                  <a:pos x="196" y="21"/>
                </a:cxn>
                <a:cxn ang="0">
                  <a:pos x="180" y="32"/>
                </a:cxn>
                <a:cxn ang="0">
                  <a:pos x="152" y="22"/>
                </a:cxn>
                <a:cxn ang="0">
                  <a:pos x="147" y="4"/>
                </a:cxn>
                <a:cxn ang="0">
                  <a:pos x="143" y="0"/>
                </a:cxn>
                <a:cxn ang="0">
                  <a:pos x="116" y="0"/>
                </a:cxn>
                <a:cxn ang="0">
                  <a:pos x="111" y="4"/>
                </a:cxn>
                <a:cxn ang="0">
                  <a:pos x="106" y="22"/>
                </a:cxn>
                <a:cxn ang="0">
                  <a:pos x="78" y="32"/>
                </a:cxn>
                <a:cxn ang="0">
                  <a:pos x="62" y="22"/>
                </a:cxn>
                <a:cxn ang="0">
                  <a:pos x="56" y="22"/>
                </a:cxn>
                <a:cxn ang="0">
                  <a:pos x="36" y="39"/>
                </a:cxn>
                <a:cxn ang="0">
                  <a:pos x="35" y="45"/>
                </a:cxn>
                <a:cxn ang="0">
                  <a:pos x="43" y="62"/>
                </a:cxn>
                <a:cxn ang="0">
                  <a:pos x="28" y="88"/>
                </a:cxn>
                <a:cxn ang="0">
                  <a:pos x="9" y="90"/>
                </a:cxn>
                <a:cxn ang="0">
                  <a:pos x="5" y="94"/>
                </a:cxn>
                <a:cxn ang="0">
                  <a:pos x="0" y="120"/>
                </a:cxn>
                <a:cxn ang="0">
                  <a:pos x="3" y="126"/>
                </a:cxn>
                <a:cxn ang="0">
                  <a:pos x="20" y="134"/>
                </a:cxn>
                <a:cxn ang="0">
                  <a:pos x="25" y="163"/>
                </a:cxn>
                <a:cxn ang="0">
                  <a:pos x="12" y="177"/>
                </a:cxn>
                <a:cxn ang="0">
                  <a:pos x="11" y="183"/>
                </a:cxn>
                <a:cxn ang="0">
                  <a:pos x="25" y="206"/>
                </a:cxn>
                <a:cxn ang="0">
                  <a:pos x="30" y="208"/>
                </a:cxn>
                <a:cxn ang="0">
                  <a:pos x="49" y="203"/>
                </a:cxn>
                <a:cxn ang="0">
                  <a:pos x="71" y="222"/>
                </a:cxn>
                <a:cxn ang="0">
                  <a:pos x="70" y="241"/>
                </a:cxn>
                <a:cxn ang="0">
                  <a:pos x="73" y="246"/>
                </a:cxn>
                <a:cxn ang="0">
                  <a:pos x="98" y="255"/>
                </a:cxn>
                <a:cxn ang="0">
                  <a:pos x="104" y="254"/>
                </a:cxn>
                <a:cxn ang="0">
                  <a:pos x="115" y="238"/>
                </a:cxn>
                <a:cxn ang="0">
                  <a:pos x="130" y="239"/>
                </a:cxn>
                <a:cxn ang="0">
                  <a:pos x="145" y="238"/>
                </a:cxn>
                <a:cxn ang="0">
                  <a:pos x="156" y="253"/>
                </a:cxn>
                <a:cxn ang="0">
                  <a:pos x="161" y="255"/>
                </a:cxn>
                <a:cxn ang="0">
                  <a:pos x="187" y="246"/>
                </a:cxn>
                <a:cxn ang="0">
                  <a:pos x="190" y="241"/>
                </a:cxn>
                <a:cxn ang="0">
                  <a:pos x="188" y="222"/>
                </a:cxn>
                <a:cxn ang="0">
                  <a:pos x="211" y="203"/>
                </a:cxn>
                <a:cxn ang="0">
                  <a:pos x="230" y="207"/>
                </a:cxn>
                <a:cxn ang="0">
                  <a:pos x="235" y="205"/>
                </a:cxn>
                <a:cxn ang="0">
                  <a:pos x="248" y="182"/>
                </a:cxn>
                <a:cxn ang="0">
                  <a:pos x="248" y="176"/>
                </a:cxn>
                <a:cxn ang="0">
                  <a:pos x="234" y="162"/>
                </a:cxn>
                <a:cxn ang="0">
                  <a:pos x="239" y="133"/>
                </a:cxn>
                <a:cxn ang="0">
                  <a:pos x="256" y="125"/>
                </a:cxn>
                <a:cxn ang="0">
                  <a:pos x="259" y="120"/>
                </a:cxn>
                <a:cxn ang="0">
                  <a:pos x="165" y="190"/>
                </a:cxn>
                <a:cxn ang="0">
                  <a:pos x="69" y="165"/>
                </a:cxn>
                <a:cxn ang="0">
                  <a:pos x="94" y="69"/>
                </a:cxn>
                <a:cxn ang="0">
                  <a:pos x="190" y="94"/>
                </a:cxn>
                <a:cxn ang="0">
                  <a:pos x="165" y="190"/>
                </a:cxn>
              </a:cxnLst>
              <a:rect l="0" t="0" r="r" b="b"/>
              <a:pathLst>
                <a:path w="259" h="256">
                  <a:moveTo>
                    <a:pt x="259" y="120"/>
                  </a:moveTo>
                  <a:cubicBezTo>
                    <a:pt x="259" y="118"/>
                    <a:pt x="254" y="94"/>
                    <a:pt x="254" y="93"/>
                  </a:cubicBezTo>
                  <a:cubicBezTo>
                    <a:pt x="254" y="91"/>
                    <a:pt x="252" y="89"/>
                    <a:pt x="250" y="89"/>
                  </a:cubicBezTo>
                  <a:cubicBezTo>
                    <a:pt x="247" y="89"/>
                    <a:pt x="233" y="88"/>
                    <a:pt x="231" y="87"/>
                  </a:cubicBezTo>
                  <a:cubicBezTo>
                    <a:pt x="227" y="78"/>
                    <a:pt x="222" y="70"/>
                    <a:pt x="216" y="62"/>
                  </a:cubicBezTo>
                  <a:cubicBezTo>
                    <a:pt x="217" y="60"/>
                    <a:pt x="223" y="47"/>
                    <a:pt x="224" y="44"/>
                  </a:cubicBezTo>
                  <a:cubicBezTo>
                    <a:pt x="225" y="42"/>
                    <a:pt x="224" y="40"/>
                    <a:pt x="222" y="39"/>
                  </a:cubicBezTo>
                  <a:cubicBezTo>
                    <a:pt x="222" y="38"/>
                    <a:pt x="203" y="22"/>
                    <a:pt x="202" y="22"/>
                  </a:cubicBezTo>
                  <a:cubicBezTo>
                    <a:pt x="200" y="20"/>
                    <a:pt x="198" y="20"/>
                    <a:pt x="196" y="21"/>
                  </a:cubicBezTo>
                  <a:cubicBezTo>
                    <a:pt x="194" y="23"/>
                    <a:pt x="182" y="31"/>
                    <a:pt x="180" y="32"/>
                  </a:cubicBezTo>
                  <a:cubicBezTo>
                    <a:pt x="172" y="27"/>
                    <a:pt x="162" y="24"/>
                    <a:pt x="152" y="22"/>
                  </a:cubicBezTo>
                  <a:cubicBezTo>
                    <a:pt x="152" y="20"/>
                    <a:pt x="148" y="6"/>
                    <a:pt x="147" y="4"/>
                  </a:cubicBezTo>
                  <a:cubicBezTo>
                    <a:pt x="147" y="2"/>
                    <a:pt x="145" y="0"/>
                    <a:pt x="143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13" y="0"/>
                    <a:pt x="112" y="2"/>
                    <a:pt x="111" y="4"/>
                  </a:cubicBezTo>
                  <a:cubicBezTo>
                    <a:pt x="110" y="7"/>
                    <a:pt x="107" y="20"/>
                    <a:pt x="106" y="22"/>
                  </a:cubicBezTo>
                  <a:cubicBezTo>
                    <a:pt x="96" y="24"/>
                    <a:pt x="87" y="28"/>
                    <a:pt x="78" y="32"/>
                  </a:cubicBezTo>
                  <a:cubicBezTo>
                    <a:pt x="76" y="31"/>
                    <a:pt x="65" y="23"/>
                    <a:pt x="62" y="22"/>
                  </a:cubicBezTo>
                  <a:cubicBezTo>
                    <a:pt x="61" y="21"/>
                    <a:pt x="58" y="20"/>
                    <a:pt x="56" y="22"/>
                  </a:cubicBezTo>
                  <a:cubicBezTo>
                    <a:pt x="56" y="23"/>
                    <a:pt x="37" y="38"/>
                    <a:pt x="36" y="39"/>
                  </a:cubicBezTo>
                  <a:cubicBezTo>
                    <a:pt x="34" y="41"/>
                    <a:pt x="34" y="43"/>
                    <a:pt x="35" y="45"/>
                  </a:cubicBezTo>
                  <a:cubicBezTo>
                    <a:pt x="36" y="48"/>
                    <a:pt x="42" y="60"/>
                    <a:pt x="43" y="62"/>
                  </a:cubicBezTo>
                  <a:cubicBezTo>
                    <a:pt x="37" y="70"/>
                    <a:pt x="32" y="79"/>
                    <a:pt x="28" y="88"/>
                  </a:cubicBezTo>
                  <a:cubicBezTo>
                    <a:pt x="25" y="88"/>
                    <a:pt x="12" y="90"/>
                    <a:pt x="9" y="90"/>
                  </a:cubicBezTo>
                  <a:cubicBezTo>
                    <a:pt x="7" y="90"/>
                    <a:pt x="5" y="91"/>
                    <a:pt x="5" y="94"/>
                  </a:cubicBezTo>
                  <a:cubicBezTo>
                    <a:pt x="4" y="95"/>
                    <a:pt x="0" y="119"/>
                    <a:pt x="0" y="120"/>
                  </a:cubicBezTo>
                  <a:cubicBezTo>
                    <a:pt x="0" y="123"/>
                    <a:pt x="1" y="125"/>
                    <a:pt x="3" y="126"/>
                  </a:cubicBezTo>
                  <a:cubicBezTo>
                    <a:pt x="6" y="127"/>
                    <a:pt x="18" y="133"/>
                    <a:pt x="20" y="134"/>
                  </a:cubicBezTo>
                  <a:cubicBezTo>
                    <a:pt x="20" y="144"/>
                    <a:pt x="22" y="154"/>
                    <a:pt x="25" y="163"/>
                  </a:cubicBezTo>
                  <a:cubicBezTo>
                    <a:pt x="24" y="165"/>
                    <a:pt x="14" y="175"/>
                    <a:pt x="12" y="177"/>
                  </a:cubicBezTo>
                  <a:cubicBezTo>
                    <a:pt x="10" y="178"/>
                    <a:pt x="10" y="180"/>
                    <a:pt x="11" y="183"/>
                  </a:cubicBezTo>
                  <a:cubicBezTo>
                    <a:pt x="12" y="184"/>
                    <a:pt x="24" y="205"/>
                    <a:pt x="25" y="206"/>
                  </a:cubicBezTo>
                  <a:cubicBezTo>
                    <a:pt x="26" y="208"/>
                    <a:pt x="28" y="208"/>
                    <a:pt x="30" y="208"/>
                  </a:cubicBezTo>
                  <a:cubicBezTo>
                    <a:pt x="33" y="207"/>
                    <a:pt x="46" y="204"/>
                    <a:pt x="49" y="203"/>
                  </a:cubicBezTo>
                  <a:cubicBezTo>
                    <a:pt x="55" y="210"/>
                    <a:pt x="63" y="217"/>
                    <a:pt x="71" y="222"/>
                  </a:cubicBezTo>
                  <a:cubicBezTo>
                    <a:pt x="71" y="224"/>
                    <a:pt x="70" y="238"/>
                    <a:pt x="70" y="241"/>
                  </a:cubicBezTo>
                  <a:cubicBezTo>
                    <a:pt x="70" y="243"/>
                    <a:pt x="71" y="245"/>
                    <a:pt x="73" y="246"/>
                  </a:cubicBezTo>
                  <a:cubicBezTo>
                    <a:pt x="74" y="247"/>
                    <a:pt x="97" y="255"/>
                    <a:pt x="98" y="255"/>
                  </a:cubicBezTo>
                  <a:cubicBezTo>
                    <a:pt x="101" y="256"/>
                    <a:pt x="103" y="255"/>
                    <a:pt x="104" y="254"/>
                  </a:cubicBezTo>
                  <a:cubicBezTo>
                    <a:pt x="106" y="251"/>
                    <a:pt x="114" y="240"/>
                    <a:pt x="115" y="238"/>
                  </a:cubicBezTo>
                  <a:cubicBezTo>
                    <a:pt x="120" y="239"/>
                    <a:pt x="125" y="239"/>
                    <a:pt x="130" y="239"/>
                  </a:cubicBezTo>
                  <a:cubicBezTo>
                    <a:pt x="135" y="239"/>
                    <a:pt x="140" y="239"/>
                    <a:pt x="145" y="238"/>
                  </a:cubicBezTo>
                  <a:cubicBezTo>
                    <a:pt x="146" y="240"/>
                    <a:pt x="154" y="251"/>
                    <a:pt x="156" y="253"/>
                  </a:cubicBezTo>
                  <a:cubicBezTo>
                    <a:pt x="157" y="255"/>
                    <a:pt x="159" y="256"/>
                    <a:pt x="161" y="255"/>
                  </a:cubicBezTo>
                  <a:cubicBezTo>
                    <a:pt x="163" y="255"/>
                    <a:pt x="186" y="246"/>
                    <a:pt x="187" y="246"/>
                  </a:cubicBezTo>
                  <a:cubicBezTo>
                    <a:pt x="189" y="245"/>
                    <a:pt x="190" y="243"/>
                    <a:pt x="190" y="241"/>
                  </a:cubicBezTo>
                  <a:cubicBezTo>
                    <a:pt x="190" y="238"/>
                    <a:pt x="188" y="224"/>
                    <a:pt x="188" y="222"/>
                  </a:cubicBezTo>
                  <a:cubicBezTo>
                    <a:pt x="197" y="216"/>
                    <a:pt x="204" y="210"/>
                    <a:pt x="211" y="203"/>
                  </a:cubicBezTo>
                  <a:cubicBezTo>
                    <a:pt x="213" y="203"/>
                    <a:pt x="227" y="207"/>
                    <a:pt x="230" y="207"/>
                  </a:cubicBezTo>
                  <a:cubicBezTo>
                    <a:pt x="231" y="208"/>
                    <a:pt x="234" y="207"/>
                    <a:pt x="235" y="205"/>
                  </a:cubicBezTo>
                  <a:cubicBezTo>
                    <a:pt x="235" y="204"/>
                    <a:pt x="248" y="183"/>
                    <a:pt x="248" y="182"/>
                  </a:cubicBezTo>
                  <a:cubicBezTo>
                    <a:pt x="249" y="180"/>
                    <a:pt x="249" y="178"/>
                    <a:pt x="248" y="176"/>
                  </a:cubicBezTo>
                  <a:cubicBezTo>
                    <a:pt x="245" y="174"/>
                    <a:pt x="236" y="164"/>
                    <a:pt x="234" y="162"/>
                  </a:cubicBezTo>
                  <a:cubicBezTo>
                    <a:pt x="237" y="153"/>
                    <a:pt x="239" y="143"/>
                    <a:pt x="239" y="133"/>
                  </a:cubicBezTo>
                  <a:cubicBezTo>
                    <a:pt x="241" y="132"/>
                    <a:pt x="254" y="126"/>
                    <a:pt x="256" y="125"/>
                  </a:cubicBezTo>
                  <a:cubicBezTo>
                    <a:pt x="258" y="124"/>
                    <a:pt x="259" y="122"/>
                    <a:pt x="259" y="120"/>
                  </a:cubicBezTo>
                  <a:close/>
                  <a:moveTo>
                    <a:pt x="165" y="190"/>
                  </a:moveTo>
                  <a:cubicBezTo>
                    <a:pt x="131" y="209"/>
                    <a:pt x="88" y="198"/>
                    <a:pt x="69" y="165"/>
                  </a:cubicBezTo>
                  <a:cubicBezTo>
                    <a:pt x="50" y="131"/>
                    <a:pt x="61" y="88"/>
                    <a:pt x="94" y="69"/>
                  </a:cubicBezTo>
                  <a:cubicBezTo>
                    <a:pt x="128" y="49"/>
                    <a:pt x="171" y="60"/>
                    <a:pt x="190" y="94"/>
                  </a:cubicBezTo>
                  <a:cubicBezTo>
                    <a:pt x="210" y="127"/>
                    <a:pt x="198" y="170"/>
                    <a:pt x="165" y="19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36" tIns="45718" rIns="91436" bIns="45718" rtlCol="0" anchor="ctr"/>
            <a:lstStyle/>
            <a:p>
              <a:pPr algn="ctr"/>
              <a:endParaRPr lang="en-US" sz="18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5" name="Freeform 131"/>
            <p:cNvSpPr>
              <a:spLocks noEditPoints="1"/>
            </p:cNvSpPr>
            <p:nvPr/>
          </p:nvSpPr>
          <p:spPr bwMode="auto">
            <a:xfrm rot="20479378">
              <a:off x="2816704" y="2382154"/>
              <a:ext cx="418435" cy="413441"/>
            </a:xfrm>
            <a:custGeom>
              <a:avLst/>
              <a:gdLst/>
              <a:ahLst/>
              <a:cxnLst>
                <a:cxn ang="0">
                  <a:pos x="259" y="120"/>
                </a:cxn>
                <a:cxn ang="0">
                  <a:pos x="254" y="93"/>
                </a:cxn>
                <a:cxn ang="0">
                  <a:pos x="250" y="89"/>
                </a:cxn>
                <a:cxn ang="0">
                  <a:pos x="231" y="87"/>
                </a:cxn>
                <a:cxn ang="0">
                  <a:pos x="216" y="62"/>
                </a:cxn>
                <a:cxn ang="0">
                  <a:pos x="224" y="44"/>
                </a:cxn>
                <a:cxn ang="0">
                  <a:pos x="222" y="39"/>
                </a:cxn>
                <a:cxn ang="0">
                  <a:pos x="202" y="22"/>
                </a:cxn>
                <a:cxn ang="0">
                  <a:pos x="196" y="21"/>
                </a:cxn>
                <a:cxn ang="0">
                  <a:pos x="180" y="32"/>
                </a:cxn>
                <a:cxn ang="0">
                  <a:pos x="152" y="22"/>
                </a:cxn>
                <a:cxn ang="0">
                  <a:pos x="147" y="4"/>
                </a:cxn>
                <a:cxn ang="0">
                  <a:pos x="143" y="0"/>
                </a:cxn>
                <a:cxn ang="0">
                  <a:pos x="116" y="0"/>
                </a:cxn>
                <a:cxn ang="0">
                  <a:pos x="111" y="4"/>
                </a:cxn>
                <a:cxn ang="0">
                  <a:pos x="106" y="22"/>
                </a:cxn>
                <a:cxn ang="0">
                  <a:pos x="78" y="32"/>
                </a:cxn>
                <a:cxn ang="0">
                  <a:pos x="62" y="22"/>
                </a:cxn>
                <a:cxn ang="0">
                  <a:pos x="56" y="22"/>
                </a:cxn>
                <a:cxn ang="0">
                  <a:pos x="36" y="39"/>
                </a:cxn>
                <a:cxn ang="0">
                  <a:pos x="35" y="45"/>
                </a:cxn>
                <a:cxn ang="0">
                  <a:pos x="43" y="62"/>
                </a:cxn>
                <a:cxn ang="0">
                  <a:pos x="28" y="88"/>
                </a:cxn>
                <a:cxn ang="0">
                  <a:pos x="9" y="90"/>
                </a:cxn>
                <a:cxn ang="0">
                  <a:pos x="5" y="94"/>
                </a:cxn>
                <a:cxn ang="0">
                  <a:pos x="0" y="120"/>
                </a:cxn>
                <a:cxn ang="0">
                  <a:pos x="3" y="126"/>
                </a:cxn>
                <a:cxn ang="0">
                  <a:pos x="20" y="134"/>
                </a:cxn>
                <a:cxn ang="0">
                  <a:pos x="25" y="163"/>
                </a:cxn>
                <a:cxn ang="0">
                  <a:pos x="12" y="177"/>
                </a:cxn>
                <a:cxn ang="0">
                  <a:pos x="11" y="183"/>
                </a:cxn>
                <a:cxn ang="0">
                  <a:pos x="25" y="206"/>
                </a:cxn>
                <a:cxn ang="0">
                  <a:pos x="30" y="208"/>
                </a:cxn>
                <a:cxn ang="0">
                  <a:pos x="49" y="203"/>
                </a:cxn>
                <a:cxn ang="0">
                  <a:pos x="71" y="222"/>
                </a:cxn>
                <a:cxn ang="0">
                  <a:pos x="70" y="241"/>
                </a:cxn>
                <a:cxn ang="0">
                  <a:pos x="73" y="246"/>
                </a:cxn>
                <a:cxn ang="0">
                  <a:pos x="98" y="255"/>
                </a:cxn>
                <a:cxn ang="0">
                  <a:pos x="104" y="254"/>
                </a:cxn>
                <a:cxn ang="0">
                  <a:pos x="115" y="238"/>
                </a:cxn>
                <a:cxn ang="0">
                  <a:pos x="130" y="239"/>
                </a:cxn>
                <a:cxn ang="0">
                  <a:pos x="145" y="238"/>
                </a:cxn>
                <a:cxn ang="0">
                  <a:pos x="156" y="253"/>
                </a:cxn>
                <a:cxn ang="0">
                  <a:pos x="161" y="255"/>
                </a:cxn>
                <a:cxn ang="0">
                  <a:pos x="187" y="246"/>
                </a:cxn>
                <a:cxn ang="0">
                  <a:pos x="190" y="241"/>
                </a:cxn>
                <a:cxn ang="0">
                  <a:pos x="188" y="222"/>
                </a:cxn>
                <a:cxn ang="0">
                  <a:pos x="211" y="203"/>
                </a:cxn>
                <a:cxn ang="0">
                  <a:pos x="230" y="207"/>
                </a:cxn>
                <a:cxn ang="0">
                  <a:pos x="235" y="205"/>
                </a:cxn>
                <a:cxn ang="0">
                  <a:pos x="248" y="182"/>
                </a:cxn>
                <a:cxn ang="0">
                  <a:pos x="248" y="176"/>
                </a:cxn>
                <a:cxn ang="0">
                  <a:pos x="234" y="162"/>
                </a:cxn>
                <a:cxn ang="0">
                  <a:pos x="239" y="133"/>
                </a:cxn>
                <a:cxn ang="0">
                  <a:pos x="256" y="125"/>
                </a:cxn>
                <a:cxn ang="0">
                  <a:pos x="259" y="120"/>
                </a:cxn>
                <a:cxn ang="0">
                  <a:pos x="165" y="190"/>
                </a:cxn>
                <a:cxn ang="0">
                  <a:pos x="69" y="165"/>
                </a:cxn>
                <a:cxn ang="0">
                  <a:pos x="94" y="69"/>
                </a:cxn>
                <a:cxn ang="0">
                  <a:pos x="190" y="94"/>
                </a:cxn>
                <a:cxn ang="0">
                  <a:pos x="165" y="190"/>
                </a:cxn>
              </a:cxnLst>
              <a:rect l="0" t="0" r="r" b="b"/>
              <a:pathLst>
                <a:path w="259" h="256">
                  <a:moveTo>
                    <a:pt x="259" y="120"/>
                  </a:moveTo>
                  <a:cubicBezTo>
                    <a:pt x="259" y="118"/>
                    <a:pt x="254" y="94"/>
                    <a:pt x="254" y="93"/>
                  </a:cubicBezTo>
                  <a:cubicBezTo>
                    <a:pt x="254" y="91"/>
                    <a:pt x="252" y="89"/>
                    <a:pt x="250" y="89"/>
                  </a:cubicBezTo>
                  <a:cubicBezTo>
                    <a:pt x="247" y="89"/>
                    <a:pt x="233" y="88"/>
                    <a:pt x="231" y="87"/>
                  </a:cubicBezTo>
                  <a:cubicBezTo>
                    <a:pt x="227" y="78"/>
                    <a:pt x="222" y="70"/>
                    <a:pt x="216" y="62"/>
                  </a:cubicBezTo>
                  <a:cubicBezTo>
                    <a:pt x="217" y="60"/>
                    <a:pt x="223" y="47"/>
                    <a:pt x="224" y="44"/>
                  </a:cubicBezTo>
                  <a:cubicBezTo>
                    <a:pt x="225" y="42"/>
                    <a:pt x="224" y="40"/>
                    <a:pt x="222" y="39"/>
                  </a:cubicBezTo>
                  <a:cubicBezTo>
                    <a:pt x="222" y="38"/>
                    <a:pt x="203" y="22"/>
                    <a:pt x="202" y="22"/>
                  </a:cubicBezTo>
                  <a:cubicBezTo>
                    <a:pt x="200" y="20"/>
                    <a:pt x="198" y="20"/>
                    <a:pt x="196" y="21"/>
                  </a:cubicBezTo>
                  <a:cubicBezTo>
                    <a:pt x="194" y="23"/>
                    <a:pt x="182" y="31"/>
                    <a:pt x="180" y="32"/>
                  </a:cubicBezTo>
                  <a:cubicBezTo>
                    <a:pt x="172" y="27"/>
                    <a:pt x="162" y="24"/>
                    <a:pt x="152" y="22"/>
                  </a:cubicBezTo>
                  <a:cubicBezTo>
                    <a:pt x="152" y="20"/>
                    <a:pt x="148" y="6"/>
                    <a:pt x="147" y="4"/>
                  </a:cubicBezTo>
                  <a:cubicBezTo>
                    <a:pt x="147" y="2"/>
                    <a:pt x="145" y="0"/>
                    <a:pt x="143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13" y="0"/>
                    <a:pt x="112" y="2"/>
                    <a:pt x="111" y="4"/>
                  </a:cubicBezTo>
                  <a:cubicBezTo>
                    <a:pt x="110" y="7"/>
                    <a:pt x="107" y="20"/>
                    <a:pt x="106" y="22"/>
                  </a:cubicBezTo>
                  <a:cubicBezTo>
                    <a:pt x="96" y="24"/>
                    <a:pt x="87" y="28"/>
                    <a:pt x="78" y="32"/>
                  </a:cubicBezTo>
                  <a:cubicBezTo>
                    <a:pt x="76" y="31"/>
                    <a:pt x="65" y="23"/>
                    <a:pt x="62" y="22"/>
                  </a:cubicBezTo>
                  <a:cubicBezTo>
                    <a:pt x="61" y="21"/>
                    <a:pt x="58" y="20"/>
                    <a:pt x="56" y="22"/>
                  </a:cubicBezTo>
                  <a:cubicBezTo>
                    <a:pt x="56" y="23"/>
                    <a:pt x="37" y="38"/>
                    <a:pt x="36" y="39"/>
                  </a:cubicBezTo>
                  <a:cubicBezTo>
                    <a:pt x="34" y="41"/>
                    <a:pt x="34" y="43"/>
                    <a:pt x="35" y="45"/>
                  </a:cubicBezTo>
                  <a:cubicBezTo>
                    <a:pt x="36" y="48"/>
                    <a:pt x="42" y="60"/>
                    <a:pt x="43" y="62"/>
                  </a:cubicBezTo>
                  <a:cubicBezTo>
                    <a:pt x="37" y="70"/>
                    <a:pt x="32" y="79"/>
                    <a:pt x="28" y="88"/>
                  </a:cubicBezTo>
                  <a:cubicBezTo>
                    <a:pt x="25" y="88"/>
                    <a:pt x="12" y="90"/>
                    <a:pt x="9" y="90"/>
                  </a:cubicBezTo>
                  <a:cubicBezTo>
                    <a:pt x="7" y="90"/>
                    <a:pt x="5" y="91"/>
                    <a:pt x="5" y="94"/>
                  </a:cubicBezTo>
                  <a:cubicBezTo>
                    <a:pt x="4" y="95"/>
                    <a:pt x="0" y="119"/>
                    <a:pt x="0" y="120"/>
                  </a:cubicBezTo>
                  <a:cubicBezTo>
                    <a:pt x="0" y="123"/>
                    <a:pt x="1" y="125"/>
                    <a:pt x="3" y="126"/>
                  </a:cubicBezTo>
                  <a:cubicBezTo>
                    <a:pt x="6" y="127"/>
                    <a:pt x="18" y="133"/>
                    <a:pt x="20" y="134"/>
                  </a:cubicBezTo>
                  <a:cubicBezTo>
                    <a:pt x="20" y="144"/>
                    <a:pt x="22" y="154"/>
                    <a:pt x="25" y="163"/>
                  </a:cubicBezTo>
                  <a:cubicBezTo>
                    <a:pt x="24" y="165"/>
                    <a:pt x="14" y="175"/>
                    <a:pt x="12" y="177"/>
                  </a:cubicBezTo>
                  <a:cubicBezTo>
                    <a:pt x="10" y="178"/>
                    <a:pt x="10" y="180"/>
                    <a:pt x="11" y="183"/>
                  </a:cubicBezTo>
                  <a:cubicBezTo>
                    <a:pt x="12" y="184"/>
                    <a:pt x="24" y="205"/>
                    <a:pt x="25" y="206"/>
                  </a:cubicBezTo>
                  <a:cubicBezTo>
                    <a:pt x="26" y="208"/>
                    <a:pt x="28" y="208"/>
                    <a:pt x="30" y="208"/>
                  </a:cubicBezTo>
                  <a:cubicBezTo>
                    <a:pt x="33" y="207"/>
                    <a:pt x="46" y="204"/>
                    <a:pt x="49" y="203"/>
                  </a:cubicBezTo>
                  <a:cubicBezTo>
                    <a:pt x="55" y="210"/>
                    <a:pt x="63" y="217"/>
                    <a:pt x="71" y="222"/>
                  </a:cubicBezTo>
                  <a:cubicBezTo>
                    <a:pt x="71" y="224"/>
                    <a:pt x="70" y="238"/>
                    <a:pt x="70" y="241"/>
                  </a:cubicBezTo>
                  <a:cubicBezTo>
                    <a:pt x="70" y="243"/>
                    <a:pt x="71" y="245"/>
                    <a:pt x="73" y="246"/>
                  </a:cubicBezTo>
                  <a:cubicBezTo>
                    <a:pt x="74" y="247"/>
                    <a:pt x="97" y="255"/>
                    <a:pt x="98" y="255"/>
                  </a:cubicBezTo>
                  <a:cubicBezTo>
                    <a:pt x="101" y="256"/>
                    <a:pt x="103" y="255"/>
                    <a:pt x="104" y="254"/>
                  </a:cubicBezTo>
                  <a:cubicBezTo>
                    <a:pt x="106" y="251"/>
                    <a:pt x="114" y="240"/>
                    <a:pt x="115" y="238"/>
                  </a:cubicBezTo>
                  <a:cubicBezTo>
                    <a:pt x="120" y="239"/>
                    <a:pt x="125" y="239"/>
                    <a:pt x="130" y="239"/>
                  </a:cubicBezTo>
                  <a:cubicBezTo>
                    <a:pt x="135" y="239"/>
                    <a:pt x="140" y="239"/>
                    <a:pt x="145" y="238"/>
                  </a:cubicBezTo>
                  <a:cubicBezTo>
                    <a:pt x="146" y="240"/>
                    <a:pt x="154" y="251"/>
                    <a:pt x="156" y="253"/>
                  </a:cubicBezTo>
                  <a:cubicBezTo>
                    <a:pt x="157" y="255"/>
                    <a:pt x="159" y="256"/>
                    <a:pt x="161" y="255"/>
                  </a:cubicBezTo>
                  <a:cubicBezTo>
                    <a:pt x="163" y="255"/>
                    <a:pt x="186" y="246"/>
                    <a:pt x="187" y="246"/>
                  </a:cubicBezTo>
                  <a:cubicBezTo>
                    <a:pt x="189" y="245"/>
                    <a:pt x="190" y="243"/>
                    <a:pt x="190" y="241"/>
                  </a:cubicBezTo>
                  <a:cubicBezTo>
                    <a:pt x="190" y="238"/>
                    <a:pt x="188" y="224"/>
                    <a:pt x="188" y="222"/>
                  </a:cubicBezTo>
                  <a:cubicBezTo>
                    <a:pt x="197" y="216"/>
                    <a:pt x="204" y="210"/>
                    <a:pt x="211" y="203"/>
                  </a:cubicBezTo>
                  <a:cubicBezTo>
                    <a:pt x="213" y="203"/>
                    <a:pt x="227" y="207"/>
                    <a:pt x="230" y="207"/>
                  </a:cubicBezTo>
                  <a:cubicBezTo>
                    <a:pt x="231" y="208"/>
                    <a:pt x="234" y="207"/>
                    <a:pt x="235" y="205"/>
                  </a:cubicBezTo>
                  <a:cubicBezTo>
                    <a:pt x="235" y="204"/>
                    <a:pt x="248" y="183"/>
                    <a:pt x="248" y="182"/>
                  </a:cubicBezTo>
                  <a:cubicBezTo>
                    <a:pt x="249" y="180"/>
                    <a:pt x="249" y="178"/>
                    <a:pt x="248" y="176"/>
                  </a:cubicBezTo>
                  <a:cubicBezTo>
                    <a:pt x="245" y="174"/>
                    <a:pt x="236" y="164"/>
                    <a:pt x="234" y="162"/>
                  </a:cubicBezTo>
                  <a:cubicBezTo>
                    <a:pt x="237" y="153"/>
                    <a:pt x="239" y="143"/>
                    <a:pt x="239" y="133"/>
                  </a:cubicBezTo>
                  <a:cubicBezTo>
                    <a:pt x="241" y="132"/>
                    <a:pt x="254" y="126"/>
                    <a:pt x="256" y="125"/>
                  </a:cubicBezTo>
                  <a:cubicBezTo>
                    <a:pt x="258" y="124"/>
                    <a:pt x="259" y="122"/>
                    <a:pt x="259" y="120"/>
                  </a:cubicBezTo>
                  <a:close/>
                  <a:moveTo>
                    <a:pt x="165" y="190"/>
                  </a:moveTo>
                  <a:cubicBezTo>
                    <a:pt x="131" y="209"/>
                    <a:pt x="88" y="198"/>
                    <a:pt x="69" y="165"/>
                  </a:cubicBezTo>
                  <a:cubicBezTo>
                    <a:pt x="50" y="131"/>
                    <a:pt x="61" y="88"/>
                    <a:pt x="94" y="69"/>
                  </a:cubicBezTo>
                  <a:cubicBezTo>
                    <a:pt x="128" y="49"/>
                    <a:pt x="171" y="60"/>
                    <a:pt x="190" y="94"/>
                  </a:cubicBezTo>
                  <a:cubicBezTo>
                    <a:pt x="210" y="127"/>
                    <a:pt x="198" y="170"/>
                    <a:pt x="165" y="19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36" tIns="45718" rIns="91436" bIns="45718" rtlCol="0" anchor="ctr"/>
            <a:lstStyle/>
            <a:p>
              <a:pPr algn="ctr"/>
              <a:endParaRPr lang="en-US" sz="1800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57" name="Rectangle 56"/>
          <p:cNvSpPr/>
          <p:nvPr/>
        </p:nvSpPr>
        <p:spPr>
          <a:xfrm>
            <a:off x="2673426" y="4588066"/>
            <a:ext cx="405224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049FD9">
                    <a:lumMod val="75000"/>
                  </a:srgbClr>
                </a:solidFill>
                <a:ea typeface="ＭＳ Ｐゴシック" pitchFamily="34" charset="-128"/>
                <a:cs typeface="+mn-cs"/>
              </a:rPr>
              <a:t>iOS and Cisco devices recognize </a:t>
            </a:r>
            <a:r>
              <a:rPr lang="en-US" sz="1100" dirty="0" smtClean="0">
                <a:solidFill>
                  <a:srgbClr val="049FD9">
                    <a:lumMod val="75000"/>
                  </a:srgbClr>
                </a:solidFill>
                <a:ea typeface="ＭＳ Ｐゴシック" pitchFamily="34" charset="-128"/>
                <a:cs typeface="+mn-cs"/>
              </a:rPr>
              <a:t>each </a:t>
            </a:r>
            <a:r>
              <a:rPr lang="en-US" sz="1100" dirty="0">
                <a:solidFill>
                  <a:srgbClr val="049FD9">
                    <a:lumMod val="75000"/>
                  </a:srgbClr>
                </a:solidFill>
                <a:ea typeface="ＭＳ Ｐゴシック" pitchFamily="34" charset="-128"/>
                <a:cs typeface="+mn-cs"/>
              </a:rPr>
              <a:t>other and enable special capabilities</a:t>
            </a:r>
          </a:p>
        </p:txBody>
      </p:sp>
      <p:sp>
        <p:nvSpPr>
          <p:cNvPr id="58" name="Freeform 57"/>
          <p:cNvSpPr>
            <a:spLocks noChangeArrowheads="1"/>
          </p:cNvSpPr>
          <p:nvPr/>
        </p:nvSpPr>
        <p:spPr bwMode="auto">
          <a:xfrm>
            <a:off x="1859734" y="4714991"/>
            <a:ext cx="696460" cy="377568"/>
          </a:xfrm>
          <a:custGeom>
            <a:avLst/>
            <a:gdLst>
              <a:gd name="connsiteX0" fmla="*/ 4243425 w 10078678"/>
              <a:gd name="connsiteY0" fmla="*/ 3905924 h 4574871"/>
              <a:gd name="connsiteX1" fmla="*/ 4384585 w 10078678"/>
              <a:gd name="connsiteY1" fmla="*/ 3941251 h 4574871"/>
              <a:gd name="connsiteX2" fmla="*/ 4481719 w 10078678"/>
              <a:gd name="connsiteY2" fmla="*/ 4304519 h 4574871"/>
              <a:gd name="connsiteX3" fmla="*/ 4393579 w 10078678"/>
              <a:gd name="connsiteY3" fmla="*/ 4446010 h 4574871"/>
              <a:gd name="connsiteX4" fmla="*/ 4048216 w 10078678"/>
              <a:gd name="connsiteY4" fmla="*/ 4534937 h 4574871"/>
              <a:gd name="connsiteX5" fmla="*/ 3950722 w 10078678"/>
              <a:gd name="connsiteY5" fmla="*/ 4180669 h 4574871"/>
              <a:gd name="connsiteX6" fmla="*/ 4039581 w 10078678"/>
              <a:gd name="connsiteY6" fmla="*/ 4038818 h 4574871"/>
              <a:gd name="connsiteX7" fmla="*/ 4243425 w 10078678"/>
              <a:gd name="connsiteY7" fmla="*/ 3905924 h 4574871"/>
              <a:gd name="connsiteX8" fmla="*/ 3594031 w 10078678"/>
              <a:gd name="connsiteY8" fmla="*/ 3485928 h 4574871"/>
              <a:gd name="connsiteX9" fmla="*/ 3774109 w 10078678"/>
              <a:gd name="connsiteY9" fmla="*/ 3534531 h 4574871"/>
              <a:gd name="connsiteX10" fmla="*/ 3889335 w 10078678"/>
              <a:gd name="connsiteY10" fmla="*/ 3986125 h 4574871"/>
              <a:gd name="connsiteX11" fmla="*/ 3712174 w 10078678"/>
              <a:gd name="connsiteY11" fmla="*/ 4305193 h 4574871"/>
              <a:gd name="connsiteX12" fmla="*/ 3269271 w 10078678"/>
              <a:gd name="connsiteY12" fmla="*/ 4420432 h 4574871"/>
              <a:gd name="connsiteX13" fmla="*/ 3154044 w 10078678"/>
              <a:gd name="connsiteY13" fmla="*/ 3968479 h 4574871"/>
              <a:gd name="connsiteX14" fmla="*/ 3340207 w 10078678"/>
              <a:gd name="connsiteY14" fmla="*/ 3649410 h 4574871"/>
              <a:gd name="connsiteX15" fmla="*/ 3594031 w 10078678"/>
              <a:gd name="connsiteY15" fmla="*/ 3485928 h 4574871"/>
              <a:gd name="connsiteX16" fmla="*/ 2987933 w 10078678"/>
              <a:gd name="connsiteY16" fmla="*/ 3039447 h 4574871"/>
              <a:gd name="connsiteX17" fmla="*/ 3170858 w 10078678"/>
              <a:gd name="connsiteY17" fmla="*/ 3081417 h 4574871"/>
              <a:gd name="connsiteX18" fmla="*/ 3286085 w 10078678"/>
              <a:gd name="connsiteY18" fmla="*/ 3533516 h 4574871"/>
              <a:gd name="connsiteX19" fmla="*/ 3108924 w 10078678"/>
              <a:gd name="connsiteY19" fmla="*/ 3852687 h 4574871"/>
              <a:gd name="connsiteX20" fmla="*/ 2666021 w 10078678"/>
              <a:gd name="connsiteY20" fmla="*/ 3976609 h 4574871"/>
              <a:gd name="connsiteX21" fmla="*/ 2550794 w 10078678"/>
              <a:gd name="connsiteY21" fmla="*/ 3515504 h 4574871"/>
              <a:gd name="connsiteX22" fmla="*/ 2727955 w 10078678"/>
              <a:gd name="connsiteY22" fmla="*/ 3205339 h 4574871"/>
              <a:gd name="connsiteX23" fmla="*/ 2987933 w 10078678"/>
              <a:gd name="connsiteY23" fmla="*/ 3039447 h 4574871"/>
              <a:gd name="connsiteX24" fmla="*/ 2399515 w 10078678"/>
              <a:gd name="connsiteY24" fmla="*/ 2506440 h 4574871"/>
              <a:gd name="connsiteX25" fmla="*/ 2576822 w 10078678"/>
              <a:gd name="connsiteY25" fmla="*/ 2551139 h 4574871"/>
              <a:gd name="connsiteX26" fmla="*/ 2691924 w 10078678"/>
              <a:gd name="connsiteY26" fmla="*/ 2984966 h 4574871"/>
              <a:gd name="connsiteX27" fmla="*/ 2638690 w 10078678"/>
              <a:gd name="connsiteY27" fmla="*/ 3064531 h 4574871"/>
              <a:gd name="connsiteX28" fmla="*/ 2222886 w 10078678"/>
              <a:gd name="connsiteY28" fmla="*/ 3180098 h 4574871"/>
              <a:gd name="connsiteX29" fmla="*/ 2107425 w 10078678"/>
              <a:gd name="connsiteY29" fmla="*/ 2736910 h 4574871"/>
              <a:gd name="connsiteX30" fmla="*/ 2152027 w 10078678"/>
              <a:gd name="connsiteY30" fmla="*/ 2665986 h 4574871"/>
              <a:gd name="connsiteX31" fmla="*/ 2399515 w 10078678"/>
              <a:gd name="connsiteY31" fmla="*/ 2506440 h 4574871"/>
              <a:gd name="connsiteX32" fmla="*/ 805968 w 10078678"/>
              <a:gd name="connsiteY32" fmla="*/ 2346618 h 4574871"/>
              <a:gd name="connsiteX33" fmla="*/ 602226 w 10078678"/>
              <a:gd name="connsiteY33" fmla="*/ 2550360 h 4574871"/>
              <a:gd name="connsiteX34" fmla="*/ 805968 w 10078678"/>
              <a:gd name="connsiteY34" fmla="*/ 2754100 h 4574871"/>
              <a:gd name="connsiteX35" fmla="*/ 1009349 w 10078678"/>
              <a:gd name="connsiteY35" fmla="*/ 2550360 h 4574871"/>
              <a:gd name="connsiteX36" fmla="*/ 805968 w 10078678"/>
              <a:gd name="connsiteY36" fmla="*/ 2346618 h 4574871"/>
              <a:gd name="connsiteX37" fmla="*/ 4092114 w 10078678"/>
              <a:gd name="connsiteY37" fmla="*/ 346075 h 4574871"/>
              <a:gd name="connsiteX38" fmla="*/ 3614002 w 10078678"/>
              <a:gd name="connsiteY38" fmla="*/ 948446 h 4574871"/>
              <a:gd name="connsiteX39" fmla="*/ 3702208 w 10078678"/>
              <a:gd name="connsiteY39" fmla="*/ 1595103 h 4574871"/>
              <a:gd name="connsiteX40" fmla="*/ 3976906 w 10078678"/>
              <a:gd name="connsiteY40" fmla="*/ 1692318 h 4574871"/>
              <a:gd name="connsiteX41" fmla="*/ 4331170 w 10078678"/>
              <a:gd name="connsiteY41" fmla="*/ 1515171 h 4574871"/>
              <a:gd name="connsiteX42" fmla="*/ 4499661 w 10078678"/>
              <a:gd name="connsiteY42" fmla="*/ 1267094 h 4574871"/>
              <a:gd name="connsiteX43" fmla="*/ 4765359 w 10078678"/>
              <a:gd name="connsiteY43" fmla="*/ 1125593 h 4574871"/>
              <a:gd name="connsiteX44" fmla="*/ 5287753 w 10078678"/>
              <a:gd name="connsiteY44" fmla="*/ 1373670 h 4574871"/>
              <a:gd name="connsiteX45" fmla="*/ 5766225 w 10078678"/>
              <a:gd name="connsiteY45" fmla="*/ 1736605 h 4574871"/>
              <a:gd name="connsiteX46" fmla="*/ 6474753 w 10078678"/>
              <a:gd name="connsiteY46" fmla="*/ 2347617 h 4574871"/>
              <a:gd name="connsiteX47" fmla="*/ 6899941 w 10078678"/>
              <a:gd name="connsiteY47" fmla="*/ 2710552 h 4574871"/>
              <a:gd name="connsiteX48" fmla="*/ 6952864 w 10078678"/>
              <a:gd name="connsiteY48" fmla="*/ 2763840 h 4574871"/>
              <a:gd name="connsiteX49" fmla="*/ 6944224 w 10078678"/>
              <a:gd name="connsiteY49" fmla="*/ 3171422 h 4574871"/>
              <a:gd name="connsiteX50" fmla="*/ 6492394 w 10078678"/>
              <a:gd name="connsiteY50" fmla="*/ 3224710 h 4574871"/>
              <a:gd name="connsiteX51" fmla="*/ 5624016 w 10078678"/>
              <a:gd name="connsiteY51" fmla="*/ 2480477 h 4574871"/>
              <a:gd name="connsiteX52" fmla="*/ 5535450 w 10078678"/>
              <a:gd name="connsiteY52" fmla="*/ 2639621 h 4574871"/>
              <a:gd name="connsiteX53" fmla="*/ 6200054 w 10078678"/>
              <a:gd name="connsiteY53" fmla="*/ 3198066 h 4574871"/>
              <a:gd name="connsiteX54" fmla="*/ 6244337 w 10078678"/>
              <a:gd name="connsiteY54" fmla="*/ 3667217 h 4574871"/>
              <a:gd name="connsiteX55" fmla="*/ 5792507 w 10078678"/>
              <a:gd name="connsiteY55" fmla="*/ 3711863 h 4574871"/>
              <a:gd name="connsiteX56" fmla="*/ 5154545 w 10078678"/>
              <a:gd name="connsiteY56" fmla="*/ 3171422 h 4574871"/>
              <a:gd name="connsiteX57" fmla="*/ 5048338 w 10078678"/>
              <a:gd name="connsiteY57" fmla="*/ 3277638 h 4574871"/>
              <a:gd name="connsiteX58" fmla="*/ 5438243 w 10078678"/>
              <a:gd name="connsiteY58" fmla="*/ 3614289 h 4574871"/>
              <a:gd name="connsiteX59" fmla="*/ 5482526 w 10078678"/>
              <a:gd name="connsiteY59" fmla="*/ 4048154 h 4574871"/>
              <a:gd name="connsiteX60" fmla="*/ 5066339 w 10078678"/>
              <a:gd name="connsiteY60" fmla="*/ 4083800 h 4574871"/>
              <a:gd name="connsiteX61" fmla="*/ 4543944 w 10078678"/>
              <a:gd name="connsiteY61" fmla="*/ 3640933 h 4574871"/>
              <a:gd name="connsiteX62" fmla="*/ 4384453 w 10078678"/>
              <a:gd name="connsiteY62" fmla="*/ 3693861 h 4574871"/>
              <a:gd name="connsiteX63" fmla="*/ 4783000 w 10078678"/>
              <a:gd name="connsiteY63" fmla="*/ 4030872 h 4574871"/>
              <a:gd name="connsiteX64" fmla="*/ 4818642 w 10078678"/>
              <a:gd name="connsiteY64" fmla="*/ 4402808 h 4574871"/>
              <a:gd name="connsiteX65" fmla="*/ 4543944 w 10078678"/>
              <a:gd name="connsiteY65" fmla="*/ 4482380 h 4574871"/>
              <a:gd name="connsiteX66" fmla="*/ 4579226 w 10078678"/>
              <a:gd name="connsiteY66" fmla="*/ 4420450 h 4574871"/>
              <a:gd name="connsiteX67" fmla="*/ 4437737 w 10078678"/>
              <a:gd name="connsiteY67" fmla="*/ 3835722 h 4574871"/>
              <a:gd name="connsiteX68" fmla="*/ 4224963 w 10078678"/>
              <a:gd name="connsiteY68" fmla="*/ 3773793 h 4574871"/>
              <a:gd name="connsiteX69" fmla="*/ 4065832 w 10078678"/>
              <a:gd name="connsiteY69" fmla="*/ 3809078 h 4574871"/>
              <a:gd name="connsiteX70" fmla="*/ 4047831 w 10078678"/>
              <a:gd name="connsiteY70" fmla="*/ 3702862 h 4574871"/>
              <a:gd name="connsiteX71" fmla="*/ 3844058 w 10078678"/>
              <a:gd name="connsiteY71" fmla="*/ 3419139 h 4574871"/>
              <a:gd name="connsiteX72" fmla="*/ 3614002 w 10078678"/>
              <a:gd name="connsiteY72" fmla="*/ 3357570 h 4574871"/>
              <a:gd name="connsiteX73" fmla="*/ 3454152 w 10078678"/>
              <a:gd name="connsiteY73" fmla="*/ 3383854 h 4574871"/>
              <a:gd name="connsiteX74" fmla="*/ 3232737 w 10078678"/>
              <a:gd name="connsiteY74" fmla="*/ 2967631 h 4574871"/>
              <a:gd name="connsiteX75" fmla="*/ 3011322 w 10078678"/>
              <a:gd name="connsiteY75" fmla="*/ 2905702 h 4574871"/>
              <a:gd name="connsiteX76" fmla="*/ 2825550 w 10078678"/>
              <a:gd name="connsiteY76" fmla="*/ 2949988 h 4574871"/>
              <a:gd name="connsiteX77" fmla="*/ 2648418 w 10078678"/>
              <a:gd name="connsiteY77" fmla="*/ 2444832 h 4574871"/>
              <a:gd name="connsiteX78" fmla="*/ 2444644 w 10078678"/>
              <a:gd name="connsiteY78" fmla="*/ 2382902 h 4574871"/>
              <a:gd name="connsiteX79" fmla="*/ 2125663 w 10078678"/>
              <a:gd name="connsiteY79" fmla="*/ 2533405 h 4574871"/>
              <a:gd name="connsiteX80" fmla="*/ 2993681 w 10078678"/>
              <a:gd name="connsiteY80" fmla="*/ 868514 h 4574871"/>
              <a:gd name="connsiteX81" fmla="*/ 4092114 w 10078678"/>
              <a:gd name="connsiteY81" fmla="*/ 346075 h 4574871"/>
              <a:gd name="connsiteX82" fmla="*/ 5081805 w 10078678"/>
              <a:gd name="connsiteY82" fmla="*/ 212132 h 4574871"/>
              <a:gd name="connsiteX83" fmla="*/ 5394318 w 10078678"/>
              <a:gd name="connsiteY83" fmla="*/ 274645 h 4574871"/>
              <a:gd name="connsiteX84" fmla="*/ 5544776 w 10078678"/>
              <a:gd name="connsiteY84" fmla="*/ 327557 h 4574871"/>
              <a:gd name="connsiteX85" fmla="*/ 6191602 w 10078678"/>
              <a:gd name="connsiteY85" fmla="*/ 566921 h 4574871"/>
              <a:gd name="connsiteX86" fmla="*/ 6456883 w 10078678"/>
              <a:gd name="connsiteY86" fmla="*/ 646469 h 4574871"/>
              <a:gd name="connsiteX87" fmla="*/ 7015162 w 10078678"/>
              <a:gd name="connsiteY87" fmla="*/ 681744 h 4574871"/>
              <a:gd name="connsiteX88" fmla="*/ 8086365 w 10078678"/>
              <a:gd name="connsiteY88" fmla="*/ 2753953 h 4574871"/>
              <a:gd name="connsiteX89" fmla="*/ 7129985 w 10078678"/>
              <a:gd name="connsiteY89" fmla="*/ 2727317 h 4574871"/>
              <a:gd name="connsiteX90" fmla="*/ 7077073 w 10078678"/>
              <a:gd name="connsiteY90" fmla="*/ 2585498 h 4574871"/>
              <a:gd name="connsiteX91" fmla="*/ 7023800 w 10078678"/>
              <a:gd name="connsiteY91" fmla="*/ 2532226 h 4574871"/>
              <a:gd name="connsiteX92" fmla="*/ 4881033 w 10078678"/>
              <a:gd name="connsiteY92" fmla="*/ 965381 h 4574871"/>
              <a:gd name="connsiteX93" fmla="*/ 4473573 w 10078678"/>
              <a:gd name="connsiteY93" fmla="*/ 1106840 h 4574871"/>
              <a:gd name="connsiteX94" fmla="*/ 4225569 w 10078678"/>
              <a:gd name="connsiteY94" fmla="*/ 1434391 h 4574871"/>
              <a:gd name="connsiteX95" fmla="*/ 3773836 w 10078678"/>
              <a:gd name="connsiteY95" fmla="*/ 1496661 h 4574871"/>
              <a:gd name="connsiteX96" fmla="*/ 3720923 w 10078678"/>
              <a:gd name="connsiteY96" fmla="*/ 1027292 h 4574871"/>
              <a:gd name="connsiteX97" fmla="*/ 4234208 w 10078678"/>
              <a:gd name="connsiteY97" fmla="*/ 469376 h 4574871"/>
              <a:gd name="connsiteX98" fmla="*/ 4987218 w 10078678"/>
              <a:gd name="connsiteY98" fmla="*/ 221373 h 4574871"/>
              <a:gd name="connsiteX99" fmla="*/ 5081805 w 10078678"/>
              <a:gd name="connsiteY99" fmla="*/ 212132 h 4574871"/>
              <a:gd name="connsiteX100" fmla="*/ 8139173 w 10078678"/>
              <a:gd name="connsiteY100" fmla="*/ 0 h 4574871"/>
              <a:gd name="connsiteX101" fmla="*/ 10078678 w 10078678"/>
              <a:gd name="connsiteY101" fmla="*/ 2745101 h 4574871"/>
              <a:gd name="connsiteX102" fmla="*/ 8971777 w 10078678"/>
              <a:gd name="connsiteY102" fmla="*/ 3347324 h 4574871"/>
              <a:gd name="connsiteX103" fmla="*/ 8502380 w 10078678"/>
              <a:gd name="connsiteY103" fmla="*/ 3205498 h 4574871"/>
              <a:gd name="connsiteX104" fmla="*/ 8263361 w 10078678"/>
              <a:gd name="connsiteY104" fmla="*/ 2754100 h 4574871"/>
              <a:gd name="connsiteX105" fmla="*/ 7191738 w 10078678"/>
              <a:gd name="connsiteY105" fmla="*/ 681776 h 4574871"/>
              <a:gd name="connsiteX106" fmla="*/ 7129463 w 10078678"/>
              <a:gd name="connsiteY106" fmla="*/ 548948 h 4574871"/>
              <a:gd name="connsiteX107" fmla="*/ 1939866 w 10078678"/>
              <a:gd name="connsiteY107" fmla="*/ 0 h 4574871"/>
              <a:gd name="connsiteX108" fmla="*/ 2949216 w 10078678"/>
              <a:gd name="connsiteY108" fmla="*/ 548948 h 4574871"/>
              <a:gd name="connsiteX109" fmla="*/ 2843025 w 10078678"/>
              <a:gd name="connsiteY109" fmla="*/ 761328 h 4574871"/>
              <a:gd name="connsiteX110" fmla="*/ 1815677 w 10078678"/>
              <a:gd name="connsiteY110" fmla="*/ 2736102 h 4574871"/>
              <a:gd name="connsiteX111" fmla="*/ 1576299 w 10078678"/>
              <a:gd name="connsiteY111" fmla="*/ 3205498 h 4574871"/>
              <a:gd name="connsiteX112" fmla="*/ 1106901 w 10078678"/>
              <a:gd name="connsiteY112" fmla="*/ 3347324 h 4574871"/>
              <a:gd name="connsiteX113" fmla="*/ 0 w 10078678"/>
              <a:gd name="connsiteY113" fmla="*/ 2745101 h 4574871"/>
              <a:gd name="connsiteX114" fmla="*/ 1939866 w 10078678"/>
              <a:gd name="connsiteY114" fmla="*/ 0 h 45748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</a:cxnLst>
            <a:rect l="l" t="t" r="r" b="b"/>
            <a:pathLst>
              <a:path w="10078678" h="4574871">
                <a:moveTo>
                  <a:pt x="4243425" y="3905924"/>
                </a:moveTo>
                <a:cubicBezTo>
                  <a:pt x="4292022" y="3903043"/>
                  <a:pt x="4341415" y="3914654"/>
                  <a:pt x="4384585" y="3941251"/>
                </a:cubicBezTo>
                <a:cubicBezTo>
                  <a:pt x="4508341" y="4012176"/>
                  <a:pt x="4552590" y="4171669"/>
                  <a:pt x="4481719" y="4304519"/>
                </a:cubicBezTo>
                <a:cubicBezTo>
                  <a:pt x="4481719" y="4304519"/>
                  <a:pt x="4481719" y="4304519"/>
                  <a:pt x="4393579" y="4446010"/>
                </a:cubicBezTo>
                <a:cubicBezTo>
                  <a:pt x="4322708" y="4570220"/>
                  <a:pt x="4163336" y="4614503"/>
                  <a:pt x="4048216" y="4534937"/>
                </a:cubicBezTo>
                <a:cubicBezTo>
                  <a:pt x="3924100" y="4464011"/>
                  <a:pt x="3879851" y="4304519"/>
                  <a:pt x="3950722" y="4180669"/>
                </a:cubicBezTo>
                <a:cubicBezTo>
                  <a:pt x="3950722" y="4180669"/>
                  <a:pt x="3950722" y="4180669"/>
                  <a:pt x="4039581" y="4038818"/>
                </a:cubicBezTo>
                <a:cubicBezTo>
                  <a:pt x="4083651" y="3955787"/>
                  <a:pt x="4162432" y="3910727"/>
                  <a:pt x="4243425" y="3905924"/>
                </a:cubicBezTo>
                <a:close/>
                <a:moveTo>
                  <a:pt x="3594031" y="3485928"/>
                </a:moveTo>
                <a:cubicBezTo>
                  <a:pt x="3654994" y="3482505"/>
                  <a:pt x="3717665" y="3497934"/>
                  <a:pt x="3774109" y="3534531"/>
                </a:cubicBezTo>
                <a:cubicBezTo>
                  <a:pt x="3933625" y="3622761"/>
                  <a:pt x="3977916" y="3826951"/>
                  <a:pt x="3889335" y="3986125"/>
                </a:cubicBezTo>
                <a:cubicBezTo>
                  <a:pt x="3889335" y="3986125"/>
                  <a:pt x="3889335" y="3986125"/>
                  <a:pt x="3712174" y="4305193"/>
                </a:cubicBezTo>
                <a:cubicBezTo>
                  <a:pt x="3623593" y="4464727"/>
                  <a:pt x="3428788" y="4517665"/>
                  <a:pt x="3269271" y="4420432"/>
                </a:cubicBezTo>
                <a:cubicBezTo>
                  <a:pt x="3118756" y="4331842"/>
                  <a:pt x="3065464" y="4128013"/>
                  <a:pt x="3154044" y="3968479"/>
                </a:cubicBezTo>
                <a:cubicBezTo>
                  <a:pt x="3154044" y="3968479"/>
                  <a:pt x="3154044" y="3968479"/>
                  <a:pt x="3340207" y="3649410"/>
                </a:cubicBezTo>
                <a:cubicBezTo>
                  <a:pt x="3395571" y="3549702"/>
                  <a:pt x="3492427" y="3491632"/>
                  <a:pt x="3594031" y="3485928"/>
                </a:cubicBezTo>
                <a:close/>
                <a:moveTo>
                  <a:pt x="2987933" y="3039447"/>
                </a:moveTo>
                <a:cubicBezTo>
                  <a:pt x="3050478" y="3034693"/>
                  <a:pt x="3114415" y="3048050"/>
                  <a:pt x="3170858" y="3081417"/>
                </a:cubicBezTo>
                <a:cubicBezTo>
                  <a:pt x="3321733" y="3179042"/>
                  <a:pt x="3374666" y="3373931"/>
                  <a:pt x="3286085" y="3533516"/>
                </a:cubicBezTo>
                <a:cubicBezTo>
                  <a:pt x="3286085" y="3533516"/>
                  <a:pt x="3286085" y="3533516"/>
                  <a:pt x="3108924" y="3852687"/>
                </a:cubicBezTo>
                <a:cubicBezTo>
                  <a:pt x="3011341" y="4011913"/>
                  <a:pt x="2816536" y="4065228"/>
                  <a:pt x="2666021" y="3976609"/>
                </a:cubicBezTo>
                <a:cubicBezTo>
                  <a:pt x="2506504" y="3878985"/>
                  <a:pt x="2462214" y="3675090"/>
                  <a:pt x="2550794" y="3515504"/>
                </a:cubicBezTo>
                <a:cubicBezTo>
                  <a:pt x="2550794" y="3515504"/>
                  <a:pt x="2550794" y="3515504"/>
                  <a:pt x="2727955" y="3205339"/>
                </a:cubicBezTo>
                <a:cubicBezTo>
                  <a:pt x="2783318" y="3105598"/>
                  <a:pt x="2883691" y="3047369"/>
                  <a:pt x="2987933" y="3039447"/>
                </a:cubicBezTo>
                <a:close/>
                <a:moveTo>
                  <a:pt x="2399515" y="2506440"/>
                </a:moveTo>
                <a:cubicBezTo>
                  <a:pt x="2458883" y="2503228"/>
                  <a:pt x="2520306" y="2517792"/>
                  <a:pt x="2576822" y="2551139"/>
                </a:cubicBezTo>
                <a:cubicBezTo>
                  <a:pt x="2727174" y="2639344"/>
                  <a:pt x="2771416" y="2834476"/>
                  <a:pt x="2691924" y="2984966"/>
                </a:cubicBezTo>
                <a:cubicBezTo>
                  <a:pt x="2691924" y="2984966"/>
                  <a:pt x="2691924" y="2984966"/>
                  <a:pt x="2638690" y="3064531"/>
                </a:cubicBezTo>
                <a:cubicBezTo>
                  <a:pt x="2558839" y="3215380"/>
                  <a:pt x="2364605" y="3268303"/>
                  <a:pt x="2222886" y="3180098"/>
                </a:cubicBezTo>
                <a:cubicBezTo>
                  <a:pt x="2072175" y="3091172"/>
                  <a:pt x="2019301" y="2896400"/>
                  <a:pt x="2107425" y="2736910"/>
                </a:cubicBezTo>
                <a:cubicBezTo>
                  <a:pt x="2107425" y="2736910"/>
                  <a:pt x="2107425" y="2736910"/>
                  <a:pt x="2152027" y="2665986"/>
                </a:cubicBezTo>
                <a:cubicBezTo>
                  <a:pt x="2207330" y="2566530"/>
                  <a:pt x="2300568" y="2511795"/>
                  <a:pt x="2399515" y="2506440"/>
                </a:cubicBezTo>
                <a:close/>
                <a:moveTo>
                  <a:pt x="805968" y="2346618"/>
                </a:moveTo>
                <a:cubicBezTo>
                  <a:pt x="699777" y="2346618"/>
                  <a:pt x="602226" y="2443809"/>
                  <a:pt x="602226" y="2550360"/>
                </a:cubicBezTo>
                <a:cubicBezTo>
                  <a:pt x="602226" y="2665189"/>
                  <a:pt x="699777" y="2754100"/>
                  <a:pt x="805968" y="2754100"/>
                </a:cubicBezTo>
                <a:cubicBezTo>
                  <a:pt x="921157" y="2754100"/>
                  <a:pt x="1009349" y="2665189"/>
                  <a:pt x="1009349" y="2550360"/>
                </a:cubicBezTo>
                <a:cubicBezTo>
                  <a:pt x="1009349" y="2443809"/>
                  <a:pt x="921157" y="2346618"/>
                  <a:pt x="805968" y="2346618"/>
                </a:cubicBezTo>
                <a:close/>
                <a:moveTo>
                  <a:pt x="4092114" y="346075"/>
                </a:moveTo>
                <a:cubicBezTo>
                  <a:pt x="4092114" y="346075"/>
                  <a:pt x="4092114" y="346075"/>
                  <a:pt x="3614002" y="948446"/>
                </a:cubicBezTo>
                <a:cubicBezTo>
                  <a:pt x="3463152" y="1151877"/>
                  <a:pt x="3507435" y="1444601"/>
                  <a:pt x="3702208" y="1595103"/>
                </a:cubicBezTo>
                <a:cubicBezTo>
                  <a:pt x="3782133" y="1665674"/>
                  <a:pt x="3870699" y="1692318"/>
                  <a:pt x="3976906" y="1692318"/>
                </a:cubicBezTo>
                <a:cubicBezTo>
                  <a:pt x="4109755" y="1692318"/>
                  <a:pt x="4242964" y="1630389"/>
                  <a:pt x="4331170" y="1515171"/>
                </a:cubicBezTo>
                <a:cubicBezTo>
                  <a:pt x="4393454" y="1435239"/>
                  <a:pt x="4437737" y="1338025"/>
                  <a:pt x="4499661" y="1267094"/>
                </a:cubicBezTo>
                <a:cubicBezTo>
                  <a:pt x="4570586" y="1187162"/>
                  <a:pt x="4668152" y="1143235"/>
                  <a:pt x="4765359" y="1125593"/>
                </a:cubicBezTo>
                <a:cubicBezTo>
                  <a:pt x="4969132" y="1089947"/>
                  <a:pt x="5136903" y="1267094"/>
                  <a:pt x="5287753" y="1373670"/>
                </a:cubicBezTo>
                <a:cubicBezTo>
                  <a:pt x="5455885" y="1488527"/>
                  <a:pt x="5615375" y="1603745"/>
                  <a:pt x="5766225" y="1736605"/>
                </a:cubicBezTo>
                <a:cubicBezTo>
                  <a:pt x="6004921" y="1940396"/>
                  <a:pt x="6244337" y="2144186"/>
                  <a:pt x="6474753" y="2347617"/>
                </a:cubicBezTo>
                <a:cubicBezTo>
                  <a:pt x="6616602" y="2471476"/>
                  <a:pt x="6758091" y="2586693"/>
                  <a:pt x="6899941" y="2710552"/>
                </a:cubicBezTo>
                <a:cubicBezTo>
                  <a:pt x="6917582" y="2728555"/>
                  <a:pt x="6935223" y="2746198"/>
                  <a:pt x="6952864" y="2763840"/>
                </a:cubicBezTo>
                <a:cubicBezTo>
                  <a:pt x="7041790" y="2887699"/>
                  <a:pt x="7041790" y="3056204"/>
                  <a:pt x="6944224" y="3171422"/>
                </a:cubicBezTo>
                <a:cubicBezTo>
                  <a:pt x="6829016" y="3312923"/>
                  <a:pt x="6625243" y="3339567"/>
                  <a:pt x="6492394" y="3224710"/>
                </a:cubicBezTo>
                <a:cubicBezTo>
                  <a:pt x="6492394" y="3224710"/>
                  <a:pt x="6492394" y="3224710"/>
                  <a:pt x="5624016" y="2480477"/>
                </a:cubicBezTo>
                <a:cubicBezTo>
                  <a:pt x="5606375" y="2515763"/>
                  <a:pt x="5579733" y="2569051"/>
                  <a:pt x="5535450" y="2639621"/>
                </a:cubicBezTo>
                <a:cubicBezTo>
                  <a:pt x="5535450" y="2639621"/>
                  <a:pt x="5535450" y="2639621"/>
                  <a:pt x="6200054" y="3198066"/>
                </a:cubicBezTo>
                <a:cubicBezTo>
                  <a:pt x="6332903" y="3312923"/>
                  <a:pt x="6350544" y="3525715"/>
                  <a:pt x="6244337" y="3667217"/>
                </a:cubicBezTo>
                <a:cubicBezTo>
                  <a:pt x="6129129" y="3809078"/>
                  <a:pt x="5925356" y="3827081"/>
                  <a:pt x="5792507" y="3711863"/>
                </a:cubicBezTo>
                <a:cubicBezTo>
                  <a:pt x="5792507" y="3711863"/>
                  <a:pt x="5792507" y="3711863"/>
                  <a:pt x="5154545" y="3171422"/>
                </a:cubicBezTo>
                <a:cubicBezTo>
                  <a:pt x="5119262" y="3206707"/>
                  <a:pt x="5083620" y="3241992"/>
                  <a:pt x="5048338" y="3277638"/>
                </a:cubicBezTo>
                <a:cubicBezTo>
                  <a:pt x="5048338" y="3277638"/>
                  <a:pt x="5048338" y="3277638"/>
                  <a:pt x="5438243" y="3614289"/>
                </a:cubicBezTo>
                <a:cubicBezTo>
                  <a:pt x="5571092" y="3720505"/>
                  <a:pt x="5588733" y="3915294"/>
                  <a:pt x="5482526" y="4048154"/>
                </a:cubicBezTo>
                <a:cubicBezTo>
                  <a:pt x="5376319" y="4172373"/>
                  <a:pt x="5190187" y="4190016"/>
                  <a:pt x="5066339" y="4083800"/>
                </a:cubicBezTo>
                <a:cubicBezTo>
                  <a:pt x="5066339" y="4083800"/>
                  <a:pt x="5066339" y="4083800"/>
                  <a:pt x="4543944" y="3640933"/>
                </a:cubicBezTo>
                <a:cubicBezTo>
                  <a:pt x="4491020" y="3658575"/>
                  <a:pt x="4437737" y="3685219"/>
                  <a:pt x="4384453" y="3693861"/>
                </a:cubicBezTo>
                <a:cubicBezTo>
                  <a:pt x="4384453" y="3693861"/>
                  <a:pt x="4384453" y="3693861"/>
                  <a:pt x="4783000" y="4030872"/>
                </a:cubicBezTo>
                <a:cubicBezTo>
                  <a:pt x="4889567" y="4128086"/>
                  <a:pt x="4906848" y="4287590"/>
                  <a:pt x="4818642" y="4402808"/>
                </a:cubicBezTo>
                <a:cubicBezTo>
                  <a:pt x="4756358" y="4482380"/>
                  <a:pt x="4641510" y="4517665"/>
                  <a:pt x="4543944" y="4482380"/>
                </a:cubicBezTo>
                <a:cubicBezTo>
                  <a:pt x="4543944" y="4482380"/>
                  <a:pt x="4543944" y="4482380"/>
                  <a:pt x="4579226" y="4420450"/>
                </a:cubicBezTo>
                <a:cubicBezTo>
                  <a:pt x="4703435" y="4216660"/>
                  <a:pt x="4632510" y="3950939"/>
                  <a:pt x="4437737" y="3835722"/>
                </a:cubicBezTo>
                <a:cubicBezTo>
                  <a:pt x="4366812" y="3791435"/>
                  <a:pt x="4295887" y="3773793"/>
                  <a:pt x="4224963" y="3773793"/>
                </a:cubicBezTo>
                <a:cubicBezTo>
                  <a:pt x="4172039" y="3773793"/>
                  <a:pt x="4109755" y="3782794"/>
                  <a:pt x="4065832" y="3809078"/>
                </a:cubicBezTo>
                <a:cubicBezTo>
                  <a:pt x="4065832" y="3773793"/>
                  <a:pt x="4056472" y="3738147"/>
                  <a:pt x="4047831" y="3702862"/>
                </a:cubicBezTo>
                <a:cubicBezTo>
                  <a:pt x="4021189" y="3579003"/>
                  <a:pt x="3941624" y="3481429"/>
                  <a:pt x="3844058" y="3419139"/>
                </a:cubicBezTo>
                <a:cubicBezTo>
                  <a:pt x="3773133" y="3375213"/>
                  <a:pt x="3693568" y="3357570"/>
                  <a:pt x="3614002" y="3357570"/>
                </a:cubicBezTo>
                <a:cubicBezTo>
                  <a:pt x="3560719" y="3357570"/>
                  <a:pt x="3507435" y="3366211"/>
                  <a:pt x="3454152" y="3383854"/>
                </a:cubicBezTo>
                <a:cubicBezTo>
                  <a:pt x="3463152" y="3224710"/>
                  <a:pt x="3383227" y="3056204"/>
                  <a:pt x="3232737" y="2967631"/>
                </a:cubicBezTo>
                <a:cubicBezTo>
                  <a:pt x="3162172" y="2932346"/>
                  <a:pt x="3091248" y="2905702"/>
                  <a:pt x="3011322" y="2905702"/>
                </a:cubicBezTo>
                <a:cubicBezTo>
                  <a:pt x="2949398" y="2905702"/>
                  <a:pt x="2887474" y="2923344"/>
                  <a:pt x="2825550" y="2949988"/>
                </a:cubicBezTo>
                <a:cubicBezTo>
                  <a:pt x="2896475" y="2763840"/>
                  <a:pt x="2825550" y="2542407"/>
                  <a:pt x="2648418" y="2444832"/>
                </a:cubicBezTo>
                <a:cubicBezTo>
                  <a:pt x="2586134" y="2409546"/>
                  <a:pt x="2515569" y="2382902"/>
                  <a:pt x="2444644" y="2382902"/>
                </a:cubicBezTo>
                <a:cubicBezTo>
                  <a:pt x="2320436" y="2382902"/>
                  <a:pt x="2205228" y="2444832"/>
                  <a:pt x="2125663" y="2533405"/>
                </a:cubicBezTo>
                <a:cubicBezTo>
                  <a:pt x="2125663" y="2533405"/>
                  <a:pt x="2125663" y="2533405"/>
                  <a:pt x="2993681" y="868514"/>
                </a:cubicBezTo>
                <a:cubicBezTo>
                  <a:pt x="3224096" y="682366"/>
                  <a:pt x="3463152" y="460932"/>
                  <a:pt x="4092114" y="346075"/>
                </a:cubicBezTo>
                <a:close/>
                <a:moveTo>
                  <a:pt x="5081805" y="212132"/>
                </a:moveTo>
                <a:cubicBezTo>
                  <a:pt x="5198327" y="217886"/>
                  <a:pt x="5361113" y="261147"/>
                  <a:pt x="5394318" y="274645"/>
                </a:cubicBezTo>
                <a:cubicBezTo>
                  <a:pt x="5447591" y="292282"/>
                  <a:pt x="5491864" y="309919"/>
                  <a:pt x="5544776" y="327557"/>
                </a:cubicBezTo>
                <a:cubicBezTo>
                  <a:pt x="5757145" y="407105"/>
                  <a:pt x="5969874" y="487013"/>
                  <a:pt x="6191602" y="566921"/>
                </a:cubicBezTo>
                <a:cubicBezTo>
                  <a:pt x="6279789" y="602195"/>
                  <a:pt x="6368696" y="628831"/>
                  <a:pt x="6456883" y="646469"/>
                </a:cubicBezTo>
                <a:cubicBezTo>
                  <a:pt x="6633977" y="681744"/>
                  <a:pt x="6811071" y="690742"/>
                  <a:pt x="7015162" y="681744"/>
                </a:cubicBezTo>
                <a:lnTo>
                  <a:pt x="8086365" y="2753953"/>
                </a:lnTo>
                <a:cubicBezTo>
                  <a:pt x="7891994" y="2718319"/>
                  <a:pt x="7369350" y="2665047"/>
                  <a:pt x="7129985" y="2727317"/>
                </a:cubicBezTo>
                <a:cubicBezTo>
                  <a:pt x="7121346" y="2674045"/>
                  <a:pt x="7103349" y="2629772"/>
                  <a:pt x="7077073" y="2585498"/>
                </a:cubicBezTo>
                <a:cubicBezTo>
                  <a:pt x="7059075" y="2567861"/>
                  <a:pt x="7041798" y="2550224"/>
                  <a:pt x="7023800" y="2532226"/>
                </a:cubicBezTo>
                <a:cubicBezTo>
                  <a:pt x="6881981" y="2408405"/>
                  <a:pt x="5110680" y="947744"/>
                  <a:pt x="4881033" y="965381"/>
                </a:cubicBezTo>
                <a:cubicBezTo>
                  <a:pt x="4810124" y="965381"/>
                  <a:pt x="4642028" y="965381"/>
                  <a:pt x="4473573" y="1106840"/>
                </a:cubicBezTo>
                <a:cubicBezTo>
                  <a:pt x="4394024" y="1169110"/>
                  <a:pt x="4225569" y="1434391"/>
                  <a:pt x="4225569" y="1434391"/>
                </a:cubicBezTo>
                <a:cubicBezTo>
                  <a:pt x="4119385" y="1576209"/>
                  <a:pt x="3915654" y="1602845"/>
                  <a:pt x="3773836" y="1496661"/>
                </a:cubicBezTo>
                <a:cubicBezTo>
                  <a:pt x="3641374" y="1381479"/>
                  <a:pt x="3614739" y="1177749"/>
                  <a:pt x="3720923" y="1027292"/>
                </a:cubicBezTo>
                <a:cubicBezTo>
                  <a:pt x="3720923" y="1027292"/>
                  <a:pt x="4172657" y="496012"/>
                  <a:pt x="4234208" y="469376"/>
                </a:cubicBezTo>
                <a:cubicBezTo>
                  <a:pt x="4446937" y="354193"/>
                  <a:pt x="4987218" y="221373"/>
                  <a:pt x="4987218" y="221373"/>
                </a:cubicBezTo>
                <a:cubicBezTo>
                  <a:pt x="5009265" y="212464"/>
                  <a:pt x="5042965" y="210214"/>
                  <a:pt x="5081805" y="212132"/>
                </a:cubicBezTo>
                <a:close/>
                <a:moveTo>
                  <a:pt x="8139173" y="0"/>
                </a:moveTo>
                <a:cubicBezTo>
                  <a:pt x="8139173" y="0"/>
                  <a:pt x="8139173" y="0"/>
                  <a:pt x="10078678" y="2745101"/>
                </a:cubicBezTo>
                <a:cubicBezTo>
                  <a:pt x="10078678" y="2745101"/>
                  <a:pt x="10078678" y="2745101"/>
                  <a:pt x="8971777" y="3347324"/>
                </a:cubicBezTo>
                <a:cubicBezTo>
                  <a:pt x="8803313" y="3444515"/>
                  <a:pt x="8590932" y="3382601"/>
                  <a:pt x="8502380" y="3205498"/>
                </a:cubicBezTo>
                <a:cubicBezTo>
                  <a:pt x="8502380" y="3205498"/>
                  <a:pt x="8502380" y="3205498"/>
                  <a:pt x="8263361" y="2754100"/>
                </a:cubicBezTo>
                <a:cubicBezTo>
                  <a:pt x="8263361" y="2754100"/>
                  <a:pt x="8263361" y="2754100"/>
                  <a:pt x="7191738" y="681776"/>
                </a:cubicBezTo>
                <a:cubicBezTo>
                  <a:pt x="7191738" y="681776"/>
                  <a:pt x="7191738" y="681776"/>
                  <a:pt x="7129463" y="548948"/>
                </a:cubicBezTo>
                <a:close/>
                <a:moveTo>
                  <a:pt x="1939866" y="0"/>
                </a:moveTo>
                <a:lnTo>
                  <a:pt x="2949216" y="548948"/>
                </a:lnTo>
                <a:cubicBezTo>
                  <a:pt x="2949216" y="548948"/>
                  <a:pt x="2949216" y="548948"/>
                  <a:pt x="2843025" y="761328"/>
                </a:cubicBezTo>
                <a:cubicBezTo>
                  <a:pt x="2843025" y="761328"/>
                  <a:pt x="2843025" y="761328"/>
                  <a:pt x="1815677" y="2736102"/>
                </a:cubicBezTo>
                <a:cubicBezTo>
                  <a:pt x="1815677" y="2736102"/>
                  <a:pt x="1815677" y="2736102"/>
                  <a:pt x="1576299" y="3205498"/>
                </a:cubicBezTo>
                <a:cubicBezTo>
                  <a:pt x="1488106" y="3382601"/>
                  <a:pt x="1275366" y="3444515"/>
                  <a:pt x="1106901" y="3347324"/>
                </a:cubicBezTo>
                <a:cubicBezTo>
                  <a:pt x="1106901" y="3347324"/>
                  <a:pt x="1106901" y="3347324"/>
                  <a:pt x="0" y="2745101"/>
                </a:cubicBezTo>
                <a:cubicBezTo>
                  <a:pt x="0" y="2745101"/>
                  <a:pt x="0" y="2745101"/>
                  <a:pt x="1939866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endParaRPr lang="en-US" sz="1800" dirty="0">
              <a:solidFill>
                <a:srgbClr val="58585B"/>
              </a:solidFill>
              <a:ea typeface="ＭＳ Ｐゴシック" pitchFamily="34" charset="-128"/>
              <a:cs typeface="+mn-cs"/>
            </a:endParaRPr>
          </a:p>
        </p:txBody>
      </p:sp>
      <p:sp>
        <p:nvSpPr>
          <p:cNvPr id="59" name="Pentagon 58"/>
          <p:cNvSpPr/>
          <p:nvPr/>
        </p:nvSpPr>
        <p:spPr>
          <a:xfrm>
            <a:off x="4467958" y="2768362"/>
            <a:ext cx="3996498" cy="1079992"/>
          </a:xfrm>
          <a:prstGeom prst="homePlate">
            <a:avLst>
              <a:gd name="adj" fmla="val 0"/>
            </a:avLst>
          </a:prstGeom>
          <a:solidFill>
            <a:schemeClr val="bg1">
              <a:alpha val="83000"/>
            </a:schemeClr>
          </a:solidFill>
          <a:ln w="22225">
            <a:solidFill>
              <a:schemeClr val="bg1"/>
            </a:solidFill>
          </a:ln>
          <a:effec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6789"/>
            <a:endParaRPr lang="en-US" sz="1800" dirty="0">
              <a:solidFill>
                <a:srgbClr val="58585B">
                  <a:lumMod val="75000"/>
                </a:srgbClr>
              </a:solidFill>
              <a:latin typeface="Arial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5554188" y="3015971"/>
            <a:ext cx="295877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>
                <a:solidFill>
                  <a:srgbClr val="049FD9">
                    <a:lumMod val="75000"/>
                  </a:srgbClr>
                </a:solidFill>
                <a:ea typeface="ＭＳ Ｐゴシック" pitchFamily="34" charset="-128"/>
                <a:cs typeface="+mn-cs"/>
              </a:rPr>
              <a:t>Business data gets priority </a:t>
            </a:r>
            <a:r>
              <a:rPr lang="en-US" sz="1600" dirty="0">
                <a:solidFill>
                  <a:srgbClr val="049FD9">
                    <a:lumMod val="75000"/>
                  </a:srgbClr>
                </a:solidFill>
                <a:ea typeface="ＭＳ Ｐゴシック" pitchFamily="34" charset="-128"/>
                <a:cs typeface="+mn-cs"/>
              </a:rPr>
              <a:t>and speed even if network is congested</a:t>
            </a:r>
          </a:p>
        </p:txBody>
      </p:sp>
      <p:sp>
        <p:nvSpPr>
          <p:cNvPr id="61" name="12-Point Star 109"/>
          <p:cNvSpPr/>
          <p:nvPr/>
        </p:nvSpPr>
        <p:spPr>
          <a:xfrm>
            <a:off x="4687792" y="2968965"/>
            <a:ext cx="600309" cy="677086"/>
          </a:xfrm>
          <a:custGeom>
            <a:avLst/>
            <a:gdLst/>
            <a:ahLst/>
            <a:cxnLst/>
            <a:rect l="l" t="t" r="r" b="b"/>
            <a:pathLst>
              <a:path w="862246" h="862246">
                <a:moveTo>
                  <a:pt x="564243" y="293535"/>
                </a:moveTo>
                <a:cubicBezTo>
                  <a:pt x="574886" y="293535"/>
                  <a:pt x="585529" y="297596"/>
                  <a:pt x="593650" y="305716"/>
                </a:cubicBezTo>
                <a:cubicBezTo>
                  <a:pt x="609891" y="321958"/>
                  <a:pt x="609891" y="348290"/>
                  <a:pt x="593650" y="364532"/>
                </a:cubicBezTo>
                <a:lnTo>
                  <a:pt x="400540" y="557641"/>
                </a:lnTo>
                <a:lnTo>
                  <a:pt x="396068" y="564376"/>
                </a:lnTo>
                <a:lnTo>
                  <a:pt x="396068" y="564375"/>
                </a:lnTo>
                <a:cubicBezTo>
                  <a:pt x="383887" y="576556"/>
                  <a:pt x="366029" y="579602"/>
                  <a:pt x="351010" y="573511"/>
                </a:cubicBezTo>
                <a:lnTo>
                  <a:pt x="349910" y="572781"/>
                </a:lnTo>
                <a:lnTo>
                  <a:pt x="349549" y="572710"/>
                </a:lnTo>
                <a:cubicBezTo>
                  <a:pt x="344543" y="570680"/>
                  <a:pt x="339851" y="567635"/>
                  <a:pt x="335791" y="563575"/>
                </a:cubicBezTo>
                <a:lnTo>
                  <a:pt x="335792" y="563574"/>
                </a:lnTo>
                <a:lnTo>
                  <a:pt x="334488" y="561610"/>
                </a:lnTo>
                <a:lnTo>
                  <a:pt x="244829" y="471951"/>
                </a:lnTo>
                <a:cubicBezTo>
                  <a:pt x="228587" y="455710"/>
                  <a:pt x="228587" y="429377"/>
                  <a:pt x="244829" y="413136"/>
                </a:cubicBezTo>
                <a:cubicBezTo>
                  <a:pt x="261070" y="396895"/>
                  <a:pt x="287403" y="396895"/>
                  <a:pt x="303644" y="413136"/>
                </a:cubicBezTo>
                <a:lnTo>
                  <a:pt x="365529" y="475022"/>
                </a:lnTo>
                <a:lnTo>
                  <a:pt x="534835" y="305716"/>
                </a:lnTo>
                <a:cubicBezTo>
                  <a:pt x="542956" y="297596"/>
                  <a:pt x="553599" y="293535"/>
                  <a:pt x="564243" y="293535"/>
                </a:cubicBezTo>
                <a:close/>
                <a:moveTo>
                  <a:pt x="431123" y="186736"/>
                </a:moveTo>
                <a:cubicBezTo>
                  <a:pt x="296152" y="186736"/>
                  <a:pt x="186736" y="296152"/>
                  <a:pt x="186736" y="431123"/>
                </a:cubicBezTo>
                <a:cubicBezTo>
                  <a:pt x="186736" y="566095"/>
                  <a:pt x="296152" y="675511"/>
                  <a:pt x="431123" y="675511"/>
                </a:cubicBezTo>
                <a:cubicBezTo>
                  <a:pt x="566095" y="675511"/>
                  <a:pt x="675511" y="566095"/>
                  <a:pt x="675511" y="431123"/>
                </a:cubicBezTo>
                <a:cubicBezTo>
                  <a:pt x="675511" y="296152"/>
                  <a:pt x="566095" y="186736"/>
                  <a:pt x="431123" y="186736"/>
                </a:cubicBezTo>
                <a:close/>
                <a:moveTo>
                  <a:pt x="431123" y="0"/>
                </a:moveTo>
                <a:lnTo>
                  <a:pt x="514810" y="118798"/>
                </a:lnTo>
                <a:lnTo>
                  <a:pt x="646685" y="57760"/>
                </a:lnTo>
                <a:lnTo>
                  <a:pt x="659761" y="202485"/>
                </a:lnTo>
                <a:lnTo>
                  <a:pt x="804486" y="215561"/>
                </a:lnTo>
                <a:lnTo>
                  <a:pt x="743448" y="347436"/>
                </a:lnTo>
                <a:lnTo>
                  <a:pt x="862246" y="431123"/>
                </a:lnTo>
                <a:lnTo>
                  <a:pt x="743448" y="514810"/>
                </a:lnTo>
                <a:lnTo>
                  <a:pt x="804486" y="646685"/>
                </a:lnTo>
                <a:lnTo>
                  <a:pt x="659761" y="659761"/>
                </a:lnTo>
                <a:lnTo>
                  <a:pt x="646685" y="804487"/>
                </a:lnTo>
                <a:lnTo>
                  <a:pt x="514810" y="743448"/>
                </a:lnTo>
                <a:lnTo>
                  <a:pt x="431123" y="862246"/>
                </a:lnTo>
                <a:lnTo>
                  <a:pt x="347436" y="743448"/>
                </a:lnTo>
                <a:lnTo>
                  <a:pt x="215561" y="804487"/>
                </a:lnTo>
                <a:lnTo>
                  <a:pt x="202485" y="659761"/>
                </a:lnTo>
                <a:lnTo>
                  <a:pt x="57760" y="646685"/>
                </a:lnTo>
                <a:lnTo>
                  <a:pt x="118798" y="514810"/>
                </a:lnTo>
                <a:lnTo>
                  <a:pt x="0" y="431123"/>
                </a:lnTo>
                <a:lnTo>
                  <a:pt x="118798" y="347436"/>
                </a:lnTo>
                <a:lnTo>
                  <a:pt x="57760" y="215561"/>
                </a:lnTo>
                <a:lnTo>
                  <a:pt x="202485" y="202485"/>
                </a:lnTo>
                <a:lnTo>
                  <a:pt x="215561" y="57760"/>
                </a:lnTo>
                <a:lnTo>
                  <a:pt x="347436" y="118798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68586" tIns="34294" rIns="68586" bIns="34294" numCol="1" anchor="t" anchorCtr="0" compatLnSpc="1">
            <a:prstTxWarp prst="textNoShape">
              <a:avLst/>
            </a:prstTxWarp>
          </a:bodyPr>
          <a:lstStyle/>
          <a:p>
            <a:endParaRPr lang="en-US" sz="1800" dirty="0">
              <a:solidFill>
                <a:srgbClr val="58585B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2668898" y="4034454"/>
            <a:ext cx="458015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049FD9">
                    <a:lumMod val="75000"/>
                  </a:srgbClr>
                </a:solidFill>
                <a:ea typeface="ＭＳ Ｐゴシック" pitchFamily="34" charset="-128"/>
                <a:cs typeface="+mn-cs"/>
              </a:rPr>
              <a:t>Reduces complexity - IT can focus on the business– the network does the heavy lifting</a:t>
            </a:r>
          </a:p>
        </p:txBody>
      </p:sp>
      <p:sp>
        <p:nvSpPr>
          <p:cNvPr id="66" name="Freeform 11"/>
          <p:cNvSpPr>
            <a:spLocks noChangeAspect="1" noEditPoints="1"/>
          </p:cNvSpPr>
          <p:nvPr/>
        </p:nvSpPr>
        <p:spPr bwMode="auto">
          <a:xfrm>
            <a:off x="1915163" y="3974878"/>
            <a:ext cx="641031" cy="613188"/>
          </a:xfrm>
          <a:custGeom>
            <a:avLst/>
            <a:gdLst/>
            <a:ahLst/>
            <a:cxnLst>
              <a:cxn ang="0">
                <a:pos x="495" y="3"/>
              </a:cxn>
              <a:cxn ang="0">
                <a:pos x="327" y="146"/>
              </a:cxn>
              <a:cxn ang="0">
                <a:pos x="425" y="182"/>
              </a:cxn>
              <a:cxn ang="0">
                <a:pos x="746" y="183"/>
              </a:cxn>
              <a:cxn ang="0">
                <a:pos x="558" y="0"/>
              </a:cxn>
              <a:cxn ang="0">
                <a:pos x="1036" y="320"/>
              </a:cxn>
              <a:cxn ang="0">
                <a:pos x="1011" y="232"/>
              </a:cxn>
              <a:cxn ang="0">
                <a:pos x="985" y="371"/>
              </a:cxn>
              <a:cxn ang="0">
                <a:pos x="564" y="805"/>
              </a:cxn>
              <a:cxn ang="0">
                <a:pos x="857" y="835"/>
              </a:cxn>
              <a:cxn ang="0">
                <a:pos x="1093" y="401"/>
              </a:cxn>
              <a:cxn ang="0">
                <a:pos x="985" y="371"/>
              </a:cxn>
              <a:cxn ang="0">
                <a:pos x="958" y="364"/>
              </a:cxn>
              <a:cxn ang="0">
                <a:pos x="796" y="259"/>
              </a:cxn>
              <a:cxn ang="0">
                <a:pos x="553" y="783"/>
              </a:cxn>
              <a:cxn ang="0">
                <a:pos x="515" y="768"/>
              </a:cxn>
              <a:cxn ang="0">
                <a:pos x="731" y="281"/>
              </a:cxn>
              <a:cxn ang="0">
                <a:pos x="425" y="206"/>
              </a:cxn>
              <a:cxn ang="0">
                <a:pos x="327" y="249"/>
              </a:cxn>
              <a:cxn ang="0">
                <a:pos x="148" y="602"/>
              </a:cxn>
              <a:cxn ang="0">
                <a:pos x="225" y="701"/>
              </a:cxn>
              <a:cxn ang="0">
                <a:pos x="945" y="288"/>
              </a:cxn>
              <a:cxn ang="0">
                <a:pos x="986" y="200"/>
              </a:cxn>
              <a:cxn ang="0">
                <a:pos x="769" y="186"/>
              </a:cxn>
              <a:cxn ang="0">
                <a:pos x="883" y="890"/>
              </a:cxn>
              <a:cxn ang="0">
                <a:pos x="1037" y="841"/>
              </a:cxn>
              <a:cxn ang="0">
                <a:pos x="865" y="873"/>
              </a:cxn>
              <a:cxn ang="0">
                <a:pos x="561" y="840"/>
              </a:cxn>
              <a:cxn ang="0">
                <a:pos x="369" y="1005"/>
              </a:cxn>
              <a:cxn ang="0">
                <a:pos x="807" y="931"/>
              </a:cxn>
              <a:cxn ang="0">
                <a:pos x="948" y="813"/>
              </a:cxn>
              <a:cxn ang="0">
                <a:pos x="1115" y="557"/>
              </a:cxn>
              <a:cxn ang="0">
                <a:pos x="463" y="819"/>
              </a:cxn>
              <a:cxn ang="0">
                <a:pos x="127" y="698"/>
              </a:cxn>
              <a:cxn ang="0">
                <a:pos x="142" y="929"/>
              </a:cxn>
              <a:cxn ang="0">
                <a:pos x="74" y="647"/>
              </a:cxn>
              <a:cxn ang="0">
                <a:pos x="0" y="557"/>
              </a:cxn>
              <a:cxn ang="0">
                <a:pos x="74" y="647"/>
              </a:cxn>
              <a:cxn ang="0">
                <a:pos x="182" y="430"/>
              </a:cxn>
              <a:cxn ang="0">
                <a:pos x="93" y="250"/>
              </a:cxn>
              <a:cxn ang="0">
                <a:pos x="125" y="596"/>
              </a:cxn>
              <a:cxn ang="0">
                <a:pos x="462" y="856"/>
              </a:cxn>
              <a:cxn ang="0">
                <a:pos x="353" y="987"/>
              </a:cxn>
            </a:cxnLst>
            <a:rect l="0" t="0" r="r" b="b"/>
            <a:pathLst>
              <a:path w="1115" h="1114">
                <a:moveTo>
                  <a:pt x="327" y="146"/>
                </a:moveTo>
                <a:cubicBezTo>
                  <a:pt x="335" y="146"/>
                  <a:pt x="342" y="148"/>
                  <a:pt x="348" y="151"/>
                </a:cubicBezTo>
                <a:cubicBezTo>
                  <a:pt x="394" y="94"/>
                  <a:pt x="443" y="44"/>
                  <a:pt x="495" y="3"/>
                </a:cubicBezTo>
                <a:cubicBezTo>
                  <a:pt x="340" y="21"/>
                  <a:pt x="204" y="101"/>
                  <a:pt x="114" y="219"/>
                </a:cubicBezTo>
                <a:cubicBezTo>
                  <a:pt x="166" y="206"/>
                  <a:pt x="221" y="197"/>
                  <a:pt x="277" y="190"/>
                </a:cubicBezTo>
                <a:cubicBezTo>
                  <a:pt x="280" y="165"/>
                  <a:pt x="301" y="146"/>
                  <a:pt x="327" y="146"/>
                </a:cubicBezTo>
                <a:close/>
                <a:moveTo>
                  <a:pt x="367" y="165"/>
                </a:moveTo>
                <a:cubicBezTo>
                  <a:pt x="371" y="170"/>
                  <a:pt x="374" y="176"/>
                  <a:pt x="376" y="183"/>
                </a:cubicBezTo>
                <a:cubicBezTo>
                  <a:pt x="392" y="182"/>
                  <a:pt x="409" y="182"/>
                  <a:pt x="425" y="182"/>
                </a:cubicBezTo>
                <a:cubicBezTo>
                  <a:pt x="445" y="182"/>
                  <a:pt x="464" y="182"/>
                  <a:pt x="484" y="183"/>
                </a:cubicBezTo>
                <a:cubicBezTo>
                  <a:pt x="560" y="186"/>
                  <a:pt x="635" y="196"/>
                  <a:pt x="705" y="211"/>
                </a:cubicBezTo>
                <a:cubicBezTo>
                  <a:pt x="713" y="196"/>
                  <a:pt x="728" y="185"/>
                  <a:pt x="746" y="183"/>
                </a:cubicBezTo>
                <a:cubicBezTo>
                  <a:pt x="750" y="145"/>
                  <a:pt x="752" y="108"/>
                  <a:pt x="752" y="72"/>
                </a:cubicBezTo>
                <a:cubicBezTo>
                  <a:pt x="752" y="59"/>
                  <a:pt x="751" y="47"/>
                  <a:pt x="751" y="34"/>
                </a:cubicBezTo>
                <a:cubicBezTo>
                  <a:pt x="691" y="12"/>
                  <a:pt x="626" y="0"/>
                  <a:pt x="558" y="0"/>
                </a:cubicBezTo>
                <a:cubicBezTo>
                  <a:pt x="551" y="0"/>
                  <a:pt x="545" y="0"/>
                  <a:pt x="539" y="0"/>
                </a:cubicBezTo>
                <a:cubicBezTo>
                  <a:pt x="478" y="44"/>
                  <a:pt x="420" y="99"/>
                  <a:pt x="367" y="165"/>
                </a:cubicBezTo>
                <a:close/>
                <a:moveTo>
                  <a:pt x="1036" y="320"/>
                </a:moveTo>
                <a:cubicBezTo>
                  <a:pt x="1036" y="325"/>
                  <a:pt x="1035" y="329"/>
                  <a:pt x="1034" y="333"/>
                </a:cubicBezTo>
                <a:cubicBezTo>
                  <a:pt x="1050" y="341"/>
                  <a:pt x="1064" y="350"/>
                  <a:pt x="1079" y="359"/>
                </a:cubicBezTo>
                <a:cubicBezTo>
                  <a:pt x="1062" y="314"/>
                  <a:pt x="1038" y="271"/>
                  <a:pt x="1011" y="232"/>
                </a:cubicBezTo>
                <a:cubicBezTo>
                  <a:pt x="1010" y="246"/>
                  <a:pt x="1009" y="260"/>
                  <a:pt x="1007" y="274"/>
                </a:cubicBezTo>
                <a:cubicBezTo>
                  <a:pt x="1024" y="282"/>
                  <a:pt x="1036" y="300"/>
                  <a:pt x="1036" y="320"/>
                </a:cubicBezTo>
                <a:close/>
                <a:moveTo>
                  <a:pt x="985" y="371"/>
                </a:moveTo>
                <a:cubicBezTo>
                  <a:pt x="983" y="371"/>
                  <a:pt x="982" y="371"/>
                  <a:pt x="981" y="371"/>
                </a:cubicBezTo>
                <a:cubicBezTo>
                  <a:pt x="955" y="437"/>
                  <a:pt x="914" y="504"/>
                  <a:pt x="860" y="567"/>
                </a:cubicBezTo>
                <a:cubicBezTo>
                  <a:pt x="784" y="655"/>
                  <a:pt x="683" y="737"/>
                  <a:pt x="564" y="805"/>
                </a:cubicBezTo>
                <a:cubicBezTo>
                  <a:pt x="565" y="808"/>
                  <a:pt x="566" y="812"/>
                  <a:pt x="566" y="817"/>
                </a:cubicBezTo>
                <a:cubicBezTo>
                  <a:pt x="641" y="829"/>
                  <a:pt x="720" y="836"/>
                  <a:pt x="802" y="836"/>
                </a:cubicBezTo>
                <a:cubicBezTo>
                  <a:pt x="821" y="836"/>
                  <a:pt x="839" y="836"/>
                  <a:pt x="857" y="835"/>
                </a:cubicBezTo>
                <a:cubicBezTo>
                  <a:pt x="862" y="811"/>
                  <a:pt x="883" y="793"/>
                  <a:pt x="908" y="793"/>
                </a:cubicBezTo>
                <a:cubicBezTo>
                  <a:pt x="915" y="793"/>
                  <a:pt x="923" y="795"/>
                  <a:pt x="930" y="798"/>
                </a:cubicBezTo>
                <a:cubicBezTo>
                  <a:pt x="1025" y="673"/>
                  <a:pt x="1081" y="533"/>
                  <a:pt x="1093" y="401"/>
                </a:cubicBezTo>
                <a:cubicBezTo>
                  <a:pt x="1092" y="399"/>
                  <a:pt x="1092" y="398"/>
                  <a:pt x="1091" y="396"/>
                </a:cubicBezTo>
                <a:cubicBezTo>
                  <a:pt x="1070" y="381"/>
                  <a:pt x="1047" y="367"/>
                  <a:pt x="1023" y="354"/>
                </a:cubicBezTo>
                <a:cubicBezTo>
                  <a:pt x="1014" y="365"/>
                  <a:pt x="1000" y="371"/>
                  <a:pt x="985" y="371"/>
                </a:cubicBezTo>
                <a:close/>
                <a:moveTo>
                  <a:pt x="553" y="783"/>
                </a:moveTo>
                <a:cubicBezTo>
                  <a:pt x="670" y="717"/>
                  <a:pt x="768" y="637"/>
                  <a:pt x="841" y="552"/>
                </a:cubicBezTo>
                <a:cubicBezTo>
                  <a:pt x="894" y="490"/>
                  <a:pt x="933" y="426"/>
                  <a:pt x="958" y="364"/>
                </a:cubicBezTo>
                <a:cubicBezTo>
                  <a:pt x="943" y="355"/>
                  <a:pt x="934" y="339"/>
                  <a:pt x="934" y="320"/>
                </a:cubicBezTo>
                <a:cubicBezTo>
                  <a:pt x="934" y="317"/>
                  <a:pt x="934" y="313"/>
                  <a:pt x="935" y="310"/>
                </a:cubicBezTo>
                <a:cubicBezTo>
                  <a:pt x="891" y="290"/>
                  <a:pt x="844" y="273"/>
                  <a:pt x="796" y="259"/>
                </a:cubicBezTo>
                <a:cubicBezTo>
                  <a:pt x="788" y="274"/>
                  <a:pt x="772" y="284"/>
                  <a:pt x="754" y="285"/>
                </a:cubicBezTo>
                <a:cubicBezTo>
                  <a:pt x="737" y="377"/>
                  <a:pt x="708" y="473"/>
                  <a:pt x="667" y="569"/>
                </a:cubicBezTo>
                <a:cubicBezTo>
                  <a:pt x="634" y="646"/>
                  <a:pt x="596" y="718"/>
                  <a:pt x="553" y="783"/>
                </a:cubicBezTo>
                <a:close/>
                <a:moveTo>
                  <a:pt x="225" y="701"/>
                </a:moveTo>
                <a:cubicBezTo>
                  <a:pt x="295" y="740"/>
                  <a:pt x="377" y="773"/>
                  <a:pt x="469" y="796"/>
                </a:cubicBezTo>
                <a:cubicBezTo>
                  <a:pt x="477" y="779"/>
                  <a:pt x="495" y="768"/>
                  <a:pt x="515" y="768"/>
                </a:cubicBezTo>
                <a:cubicBezTo>
                  <a:pt x="521" y="768"/>
                  <a:pt x="527" y="769"/>
                  <a:pt x="532" y="771"/>
                </a:cubicBezTo>
                <a:cubicBezTo>
                  <a:pt x="574" y="707"/>
                  <a:pt x="612" y="636"/>
                  <a:pt x="645" y="559"/>
                </a:cubicBezTo>
                <a:cubicBezTo>
                  <a:pt x="685" y="465"/>
                  <a:pt x="713" y="371"/>
                  <a:pt x="731" y="281"/>
                </a:cubicBezTo>
                <a:cubicBezTo>
                  <a:pt x="713" y="273"/>
                  <a:pt x="700" y="255"/>
                  <a:pt x="700" y="234"/>
                </a:cubicBezTo>
                <a:cubicBezTo>
                  <a:pt x="631" y="220"/>
                  <a:pt x="558" y="210"/>
                  <a:pt x="483" y="207"/>
                </a:cubicBezTo>
                <a:cubicBezTo>
                  <a:pt x="464" y="206"/>
                  <a:pt x="444" y="206"/>
                  <a:pt x="425" y="206"/>
                </a:cubicBezTo>
                <a:cubicBezTo>
                  <a:pt x="425" y="206"/>
                  <a:pt x="425" y="206"/>
                  <a:pt x="425" y="206"/>
                </a:cubicBezTo>
                <a:cubicBezTo>
                  <a:pt x="409" y="206"/>
                  <a:pt x="393" y="206"/>
                  <a:pt x="378" y="207"/>
                </a:cubicBezTo>
                <a:cubicBezTo>
                  <a:pt x="373" y="231"/>
                  <a:pt x="352" y="249"/>
                  <a:pt x="327" y="249"/>
                </a:cubicBezTo>
                <a:cubicBezTo>
                  <a:pt x="321" y="249"/>
                  <a:pt x="314" y="247"/>
                  <a:pt x="309" y="245"/>
                </a:cubicBezTo>
                <a:cubicBezTo>
                  <a:pt x="270" y="304"/>
                  <a:pt x="234" y="369"/>
                  <a:pt x="204" y="439"/>
                </a:cubicBezTo>
                <a:cubicBezTo>
                  <a:pt x="181" y="493"/>
                  <a:pt x="163" y="548"/>
                  <a:pt x="148" y="602"/>
                </a:cubicBezTo>
                <a:cubicBezTo>
                  <a:pt x="165" y="610"/>
                  <a:pt x="176" y="627"/>
                  <a:pt x="176" y="647"/>
                </a:cubicBezTo>
                <a:cubicBezTo>
                  <a:pt x="176" y="654"/>
                  <a:pt x="174" y="661"/>
                  <a:pt x="172" y="667"/>
                </a:cubicBezTo>
                <a:cubicBezTo>
                  <a:pt x="189" y="679"/>
                  <a:pt x="206" y="690"/>
                  <a:pt x="225" y="701"/>
                </a:cubicBezTo>
                <a:close/>
                <a:moveTo>
                  <a:pt x="802" y="234"/>
                </a:moveTo>
                <a:cubicBezTo>
                  <a:pt x="802" y="235"/>
                  <a:pt x="802" y="235"/>
                  <a:pt x="802" y="236"/>
                </a:cubicBezTo>
                <a:cubicBezTo>
                  <a:pt x="852" y="250"/>
                  <a:pt x="900" y="268"/>
                  <a:pt x="945" y="288"/>
                </a:cubicBezTo>
                <a:cubicBezTo>
                  <a:pt x="954" y="277"/>
                  <a:pt x="968" y="270"/>
                  <a:pt x="983" y="269"/>
                </a:cubicBezTo>
                <a:cubicBezTo>
                  <a:pt x="986" y="253"/>
                  <a:pt x="987" y="237"/>
                  <a:pt x="987" y="221"/>
                </a:cubicBezTo>
                <a:cubicBezTo>
                  <a:pt x="987" y="214"/>
                  <a:pt x="986" y="207"/>
                  <a:pt x="986" y="200"/>
                </a:cubicBezTo>
                <a:cubicBezTo>
                  <a:pt x="930" y="133"/>
                  <a:pt x="857" y="79"/>
                  <a:pt x="775" y="44"/>
                </a:cubicBezTo>
                <a:cubicBezTo>
                  <a:pt x="776" y="53"/>
                  <a:pt x="776" y="63"/>
                  <a:pt x="776" y="72"/>
                </a:cubicBezTo>
                <a:cubicBezTo>
                  <a:pt x="776" y="109"/>
                  <a:pt x="774" y="147"/>
                  <a:pt x="769" y="186"/>
                </a:cubicBezTo>
                <a:cubicBezTo>
                  <a:pt x="789" y="194"/>
                  <a:pt x="802" y="212"/>
                  <a:pt x="802" y="234"/>
                </a:cubicBezTo>
                <a:close/>
                <a:moveTo>
                  <a:pt x="908" y="896"/>
                </a:moveTo>
                <a:cubicBezTo>
                  <a:pt x="899" y="896"/>
                  <a:pt x="890" y="894"/>
                  <a:pt x="883" y="890"/>
                </a:cubicBezTo>
                <a:cubicBezTo>
                  <a:pt x="864" y="910"/>
                  <a:pt x="844" y="929"/>
                  <a:pt x="822" y="948"/>
                </a:cubicBezTo>
                <a:cubicBezTo>
                  <a:pt x="741" y="1021"/>
                  <a:pt x="652" y="1076"/>
                  <a:pt x="560" y="1114"/>
                </a:cubicBezTo>
                <a:cubicBezTo>
                  <a:pt x="763" y="1113"/>
                  <a:pt x="940" y="1004"/>
                  <a:pt x="1037" y="841"/>
                </a:cubicBezTo>
                <a:cubicBezTo>
                  <a:pt x="1011" y="846"/>
                  <a:pt x="985" y="849"/>
                  <a:pt x="958" y="852"/>
                </a:cubicBezTo>
                <a:cubicBezTo>
                  <a:pt x="955" y="877"/>
                  <a:pt x="933" y="896"/>
                  <a:pt x="908" y="896"/>
                </a:cubicBezTo>
                <a:close/>
                <a:moveTo>
                  <a:pt x="865" y="873"/>
                </a:moveTo>
                <a:cubicBezTo>
                  <a:pt x="862" y="869"/>
                  <a:pt x="860" y="864"/>
                  <a:pt x="859" y="859"/>
                </a:cubicBezTo>
                <a:cubicBezTo>
                  <a:pt x="840" y="860"/>
                  <a:pt x="821" y="860"/>
                  <a:pt x="802" y="860"/>
                </a:cubicBezTo>
                <a:cubicBezTo>
                  <a:pt x="718" y="860"/>
                  <a:pt x="638" y="853"/>
                  <a:pt x="561" y="840"/>
                </a:cubicBezTo>
                <a:cubicBezTo>
                  <a:pt x="553" y="858"/>
                  <a:pt x="535" y="870"/>
                  <a:pt x="515" y="870"/>
                </a:cubicBezTo>
                <a:cubicBezTo>
                  <a:pt x="508" y="870"/>
                  <a:pt x="501" y="869"/>
                  <a:pt x="495" y="866"/>
                </a:cubicBezTo>
                <a:cubicBezTo>
                  <a:pt x="455" y="918"/>
                  <a:pt x="413" y="965"/>
                  <a:pt x="369" y="1005"/>
                </a:cubicBezTo>
                <a:cubicBezTo>
                  <a:pt x="349" y="1023"/>
                  <a:pt x="329" y="1040"/>
                  <a:pt x="309" y="1056"/>
                </a:cubicBezTo>
                <a:cubicBezTo>
                  <a:pt x="367" y="1085"/>
                  <a:pt x="432" y="1104"/>
                  <a:pt x="500" y="1111"/>
                </a:cubicBezTo>
                <a:cubicBezTo>
                  <a:pt x="607" y="1075"/>
                  <a:pt x="712" y="1015"/>
                  <a:pt x="807" y="931"/>
                </a:cubicBezTo>
                <a:cubicBezTo>
                  <a:pt x="827" y="912"/>
                  <a:pt x="847" y="893"/>
                  <a:pt x="865" y="873"/>
                </a:cubicBezTo>
                <a:close/>
                <a:moveTo>
                  <a:pt x="1108" y="467"/>
                </a:moveTo>
                <a:cubicBezTo>
                  <a:pt x="1085" y="585"/>
                  <a:pt x="1031" y="705"/>
                  <a:pt x="948" y="813"/>
                </a:cubicBezTo>
                <a:cubicBezTo>
                  <a:pt x="952" y="818"/>
                  <a:pt x="954" y="823"/>
                  <a:pt x="956" y="828"/>
                </a:cubicBezTo>
                <a:cubicBezTo>
                  <a:pt x="989" y="824"/>
                  <a:pt x="1021" y="820"/>
                  <a:pt x="1052" y="814"/>
                </a:cubicBezTo>
                <a:cubicBezTo>
                  <a:pt x="1092" y="737"/>
                  <a:pt x="1115" y="650"/>
                  <a:pt x="1115" y="557"/>
                </a:cubicBezTo>
                <a:cubicBezTo>
                  <a:pt x="1115" y="526"/>
                  <a:pt x="1112" y="496"/>
                  <a:pt x="1108" y="467"/>
                </a:cubicBezTo>
                <a:close/>
                <a:moveTo>
                  <a:pt x="464" y="829"/>
                </a:moveTo>
                <a:cubicBezTo>
                  <a:pt x="464" y="826"/>
                  <a:pt x="464" y="823"/>
                  <a:pt x="463" y="819"/>
                </a:cubicBezTo>
                <a:cubicBezTo>
                  <a:pt x="370" y="796"/>
                  <a:pt x="285" y="762"/>
                  <a:pt x="213" y="722"/>
                </a:cubicBezTo>
                <a:cubicBezTo>
                  <a:pt x="194" y="711"/>
                  <a:pt x="175" y="699"/>
                  <a:pt x="157" y="687"/>
                </a:cubicBezTo>
                <a:cubicBezTo>
                  <a:pt x="149" y="693"/>
                  <a:pt x="138" y="698"/>
                  <a:pt x="127" y="698"/>
                </a:cubicBezTo>
                <a:cubicBezTo>
                  <a:pt x="117" y="757"/>
                  <a:pt x="111" y="815"/>
                  <a:pt x="111" y="871"/>
                </a:cubicBezTo>
                <a:cubicBezTo>
                  <a:pt x="111" y="878"/>
                  <a:pt x="111" y="884"/>
                  <a:pt x="112" y="891"/>
                </a:cubicBezTo>
                <a:cubicBezTo>
                  <a:pt x="121" y="904"/>
                  <a:pt x="132" y="917"/>
                  <a:pt x="142" y="929"/>
                </a:cubicBezTo>
                <a:cubicBezTo>
                  <a:pt x="242" y="913"/>
                  <a:pt x="348" y="882"/>
                  <a:pt x="452" y="834"/>
                </a:cubicBezTo>
                <a:cubicBezTo>
                  <a:pt x="456" y="832"/>
                  <a:pt x="460" y="831"/>
                  <a:pt x="464" y="829"/>
                </a:cubicBezTo>
                <a:close/>
                <a:moveTo>
                  <a:pt x="74" y="647"/>
                </a:moveTo>
                <a:cubicBezTo>
                  <a:pt x="74" y="638"/>
                  <a:pt x="76" y="630"/>
                  <a:pt x="80" y="623"/>
                </a:cubicBezTo>
                <a:cubicBezTo>
                  <a:pt x="47" y="591"/>
                  <a:pt x="21" y="556"/>
                  <a:pt x="1" y="520"/>
                </a:cubicBezTo>
                <a:cubicBezTo>
                  <a:pt x="1" y="532"/>
                  <a:pt x="0" y="544"/>
                  <a:pt x="0" y="557"/>
                </a:cubicBezTo>
                <a:cubicBezTo>
                  <a:pt x="0" y="667"/>
                  <a:pt x="32" y="770"/>
                  <a:pt x="88" y="857"/>
                </a:cubicBezTo>
                <a:cubicBezTo>
                  <a:pt x="88" y="804"/>
                  <a:pt x="94" y="749"/>
                  <a:pt x="103" y="694"/>
                </a:cubicBezTo>
                <a:cubicBezTo>
                  <a:pt x="86" y="685"/>
                  <a:pt x="74" y="668"/>
                  <a:pt x="74" y="647"/>
                </a:cubicBezTo>
                <a:close/>
                <a:moveTo>
                  <a:pt x="125" y="596"/>
                </a:moveTo>
                <a:cubicBezTo>
                  <a:pt x="125" y="596"/>
                  <a:pt x="125" y="596"/>
                  <a:pt x="125" y="596"/>
                </a:cubicBezTo>
                <a:cubicBezTo>
                  <a:pt x="140" y="541"/>
                  <a:pt x="159" y="485"/>
                  <a:pt x="182" y="430"/>
                </a:cubicBezTo>
                <a:cubicBezTo>
                  <a:pt x="213" y="358"/>
                  <a:pt x="249" y="292"/>
                  <a:pt x="289" y="232"/>
                </a:cubicBezTo>
                <a:cubicBezTo>
                  <a:pt x="285" y="227"/>
                  <a:pt x="281" y="221"/>
                  <a:pt x="279" y="214"/>
                </a:cubicBezTo>
                <a:cubicBezTo>
                  <a:pt x="214" y="221"/>
                  <a:pt x="152" y="233"/>
                  <a:pt x="93" y="250"/>
                </a:cubicBezTo>
                <a:cubicBezTo>
                  <a:pt x="49" y="315"/>
                  <a:pt x="19" y="391"/>
                  <a:pt x="7" y="472"/>
                </a:cubicBezTo>
                <a:cubicBezTo>
                  <a:pt x="24" y="519"/>
                  <a:pt x="54" y="564"/>
                  <a:pt x="96" y="605"/>
                </a:cubicBezTo>
                <a:cubicBezTo>
                  <a:pt x="104" y="599"/>
                  <a:pt x="114" y="596"/>
                  <a:pt x="125" y="596"/>
                </a:cubicBezTo>
                <a:close/>
                <a:moveTo>
                  <a:pt x="476" y="852"/>
                </a:moveTo>
                <a:cubicBezTo>
                  <a:pt x="475" y="852"/>
                  <a:pt x="475" y="851"/>
                  <a:pt x="474" y="851"/>
                </a:cubicBezTo>
                <a:cubicBezTo>
                  <a:pt x="470" y="852"/>
                  <a:pt x="466" y="854"/>
                  <a:pt x="462" y="856"/>
                </a:cubicBezTo>
                <a:cubicBezTo>
                  <a:pt x="361" y="902"/>
                  <a:pt x="260" y="933"/>
                  <a:pt x="162" y="950"/>
                </a:cubicBezTo>
                <a:cubicBezTo>
                  <a:pt x="198" y="986"/>
                  <a:pt x="240" y="1018"/>
                  <a:pt x="285" y="1043"/>
                </a:cubicBezTo>
                <a:cubicBezTo>
                  <a:pt x="308" y="1027"/>
                  <a:pt x="331" y="1008"/>
                  <a:pt x="353" y="987"/>
                </a:cubicBezTo>
                <a:cubicBezTo>
                  <a:pt x="395" y="948"/>
                  <a:pt x="437" y="903"/>
                  <a:pt x="476" y="852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68583" tIns="34292" rIns="68583" bIns="34292" numCol="1" anchor="t" anchorCtr="0" compatLnSpc="1">
            <a:prstTxWarp prst="textNoShape">
              <a:avLst/>
            </a:prstTxWarp>
          </a:bodyPr>
          <a:lstStyle/>
          <a:p>
            <a:pPr defTabSz="609254"/>
            <a:endParaRPr lang="en-US" sz="1800" dirty="0">
              <a:solidFill>
                <a:srgbClr val="FFFFFF"/>
              </a:solidFill>
              <a:latin typeface="Arial"/>
              <a:ea typeface="ＭＳ Ｐゴシック" pitchFamily="34" charset="-128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66700" y="850953"/>
            <a:ext cx="4201258" cy="3021167"/>
          </a:xfrm>
          <a:prstGeom prst="rect">
            <a:avLst/>
          </a:prstGeom>
          <a:noFill/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4578506" y="847326"/>
            <a:ext cx="4201258" cy="3021167"/>
          </a:xfrm>
          <a:prstGeom prst="rect">
            <a:avLst/>
          </a:prstGeom>
          <a:noFill/>
          <a:ln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3660299" y="621410"/>
            <a:ext cx="18466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5429677" y="1194752"/>
            <a:ext cx="2851276" cy="2061946"/>
            <a:chOff x="5429677" y="1194752"/>
            <a:chExt cx="2851276" cy="2061946"/>
          </a:xfrm>
        </p:grpSpPr>
        <p:sp>
          <p:nvSpPr>
            <p:cNvPr id="46" name="Rectangle 45"/>
            <p:cNvSpPr/>
            <p:nvPr/>
          </p:nvSpPr>
          <p:spPr>
            <a:xfrm>
              <a:off x="6740051" y="1194752"/>
              <a:ext cx="86318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400" dirty="0" smtClean="0">
                  <a:solidFill>
                    <a:schemeClr val="accent6">
                      <a:lumMod val="75000"/>
                    </a:schemeClr>
                  </a:solidFill>
                </a:rPr>
                <a:t>8.3 MR1</a:t>
              </a:r>
              <a:endParaRPr lang="en-US" sz="1400" dirty="0">
                <a:solidFill>
                  <a:schemeClr val="accent6">
                    <a:lumMod val="75000"/>
                  </a:schemeClr>
                </a:solidFill>
              </a:endParaRPr>
            </a:p>
          </p:txBody>
        </p:sp>
        <p:sp>
          <p:nvSpPr>
            <p:cNvPr id="52" name="Rectangle 3" descr="Paper bag"/>
            <p:cNvSpPr>
              <a:spLocks noChangeArrowheads="1"/>
            </p:cNvSpPr>
            <p:nvPr/>
          </p:nvSpPr>
          <p:spPr bwMode="auto">
            <a:xfrm>
              <a:off x="5429677" y="1459414"/>
              <a:ext cx="2851276" cy="17972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73023" tIns="36511" rIns="73023" bIns="36511">
              <a:spAutoFit/>
            </a:bodyPr>
            <a:lstStyle/>
            <a:p>
              <a:pPr marL="114300" indent="-114300" defTabSz="814368" eaLnBrk="0" hangingPunct="0">
                <a:spcBef>
                  <a:spcPts val="300"/>
                </a:spcBef>
                <a:buSzPct val="100000"/>
                <a:defRPr/>
              </a:pPr>
              <a:r>
                <a:rPr lang="en-US" sz="1600" b="1" dirty="0">
                  <a:solidFill>
                    <a:schemeClr val="accent6"/>
                  </a:solidFill>
                </a:rPr>
                <a:t>Aironet Wave 2 AP’s:</a:t>
              </a:r>
            </a:p>
            <a:p>
              <a:pPr marL="171450" lvl="1" indent="-171450">
                <a:buFont typeface="Wingdings" charset="2"/>
                <a:buChar char="ü"/>
              </a:pPr>
              <a:r>
                <a:rPr lang="en-US" sz="1200" dirty="0" smtClean="0">
                  <a:solidFill>
                    <a:srgbClr val="FFFFFF"/>
                  </a:solidFill>
                </a:rPr>
                <a:t>AP1810</a:t>
              </a:r>
            </a:p>
            <a:p>
              <a:pPr marL="171450" lvl="1" indent="-171450">
                <a:buFont typeface="Wingdings" charset="2"/>
                <a:buChar char="ü"/>
              </a:pPr>
              <a:r>
                <a:rPr lang="en-US" sz="1200" dirty="0" smtClean="0">
                  <a:solidFill>
                    <a:srgbClr val="FFFFFF"/>
                  </a:solidFill>
                </a:rPr>
                <a:t>AP1815</a:t>
              </a:r>
              <a:endParaRPr lang="en-US" sz="1200" dirty="0">
                <a:solidFill>
                  <a:srgbClr val="FFFFFF"/>
                </a:solidFill>
              </a:endParaRPr>
            </a:p>
            <a:p>
              <a:pPr marL="171450" lvl="1" indent="-171450">
                <a:buFont typeface="Wingdings" charset="2"/>
                <a:buChar char="ü"/>
              </a:pPr>
              <a:r>
                <a:rPr lang="en-US" sz="1200" dirty="0" smtClean="0">
                  <a:solidFill>
                    <a:srgbClr val="FFFFFF"/>
                  </a:solidFill>
                </a:rPr>
                <a:t>AP1850</a:t>
              </a:r>
              <a:endParaRPr lang="en-US" sz="1200" dirty="0">
                <a:solidFill>
                  <a:srgbClr val="FFFFFF"/>
                </a:solidFill>
              </a:endParaRPr>
            </a:p>
            <a:p>
              <a:pPr marL="171450" lvl="1" indent="-171450">
                <a:buFont typeface="Wingdings" charset="2"/>
                <a:buChar char="ü"/>
              </a:pPr>
              <a:r>
                <a:rPr lang="en-US" sz="1200" dirty="0" smtClean="0">
                  <a:solidFill>
                    <a:srgbClr val="FFFFFF"/>
                  </a:solidFill>
                </a:rPr>
                <a:t>AP1830</a:t>
              </a:r>
              <a:endParaRPr lang="en-US" sz="1200" dirty="0">
                <a:solidFill>
                  <a:srgbClr val="FFFFFF"/>
                </a:solidFill>
              </a:endParaRPr>
            </a:p>
            <a:p>
              <a:pPr marL="171450" lvl="1" indent="-171450">
                <a:buFont typeface="Wingdings" charset="2"/>
                <a:buChar char="ü"/>
              </a:pPr>
              <a:r>
                <a:rPr lang="en-US" sz="1200" dirty="0" smtClean="0">
                  <a:solidFill>
                    <a:srgbClr val="FFFFFF"/>
                  </a:solidFill>
                </a:rPr>
                <a:t>AP3800</a:t>
              </a:r>
              <a:endParaRPr lang="en-US" sz="1200" dirty="0">
                <a:solidFill>
                  <a:srgbClr val="FFFFFF"/>
                </a:solidFill>
              </a:endParaRPr>
            </a:p>
            <a:p>
              <a:pPr marL="171450" lvl="1" indent="-171450">
                <a:buFont typeface="Wingdings" charset="2"/>
                <a:buChar char="ü"/>
              </a:pPr>
              <a:r>
                <a:rPr lang="en-US" sz="1200" dirty="0" smtClean="0">
                  <a:solidFill>
                    <a:srgbClr val="FFFFFF"/>
                  </a:solidFill>
                </a:rPr>
                <a:t>AP2800</a:t>
              </a:r>
            </a:p>
            <a:p>
              <a:pPr marL="171450" lvl="1" indent="-171450">
                <a:buFont typeface="Wingdings" charset="2"/>
                <a:buChar char="ü"/>
              </a:pPr>
              <a:r>
                <a:rPr lang="en-US" sz="1200" dirty="0" smtClean="0">
                  <a:solidFill>
                    <a:srgbClr val="FFFFFF"/>
                  </a:solidFill>
                </a:rPr>
                <a:t>AP1560</a:t>
              </a:r>
              <a:endParaRPr lang="en-US" sz="1200" dirty="0">
                <a:solidFill>
                  <a:srgbClr val="FFFFFF"/>
                </a:solidFill>
              </a:endParaRPr>
            </a:p>
            <a:p>
              <a:pPr marL="628502" lvl="1" indent="-171446">
                <a:buFont typeface="Arial" panose="020B0604020202020204" pitchFamily="34" charset="0"/>
                <a:buChar char="•"/>
              </a:pPr>
              <a:endParaRPr lang="en-US" sz="12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46202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/>
          <p:cNvSpPr/>
          <p:nvPr/>
        </p:nvSpPr>
        <p:spPr>
          <a:xfrm>
            <a:off x="0" y="6001"/>
            <a:ext cx="9149979" cy="890124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53000">
                <a:srgbClr val="FFFFFF">
                  <a:alpha val="63000"/>
                </a:srgbClr>
              </a:gs>
            </a:gsLst>
            <a:lin ang="162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310" y="164288"/>
            <a:ext cx="8859357" cy="731837"/>
          </a:xfrm>
          <a:noFill/>
          <a:ln>
            <a:noFill/>
          </a:ln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/>
          <a:p>
            <a:r>
              <a:rPr lang="en-US" sz="2800" dirty="0" err="1" smtClean="0">
                <a:solidFill>
                  <a:schemeClr val="tx1">
                    <a:lumMod val="75000"/>
                  </a:schemeClr>
                </a:solidFill>
              </a:rPr>
              <a:t>Locaton</a:t>
            </a:r>
            <a:r>
              <a:rPr lang="en-US" sz="2800" dirty="0" smtClean="0">
                <a:solidFill>
                  <a:schemeClr val="tx1">
                    <a:lumMod val="75000"/>
                  </a:schemeClr>
                </a:solidFill>
              </a:rPr>
              <a:t> Base Services. No </a:t>
            </a:r>
            <a:r>
              <a:rPr lang="en-US" sz="2800" dirty="0" smtClean="0">
                <a:solidFill>
                  <a:schemeClr val="tx1">
                    <a:lumMod val="75000"/>
                  </a:schemeClr>
                </a:solidFill>
              </a:rPr>
              <a:t>Single Technology Delivers for All Use Cases</a:t>
            </a:r>
            <a:endParaRPr lang="en-US" sz="2800" dirty="0">
              <a:solidFill>
                <a:schemeClr val="tx1">
                  <a:lumMod val="75000"/>
                </a:schemeClr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3189286" y="2735727"/>
            <a:ext cx="2804897" cy="1015663"/>
            <a:chOff x="3182216" y="2734426"/>
            <a:chExt cx="2804897" cy="1015663"/>
          </a:xfrm>
        </p:grpSpPr>
        <p:sp>
          <p:nvSpPr>
            <p:cNvPr id="11" name="Rectangle 10"/>
            <p:cNvSpPr/>
            <p:nvPr/>
          </p:nvSpPr>
          <p:spPr>
            <a:xfrm>
              <a:off x="3190059" y="2734426"/>
              <a:ext cx="2763898" cy="101566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000" dirty="0" smtClean="0">
                  <a:solidFill>
                    <a:schemeClr val="tx2">
                      <a:lumMod val="50000"/>
                    </a:schemeClr>
                  </a:solidFill>
                </a:rPr>
                <a:t>Aligned with </a:t>
              </a:r>
              <a:br>
                <a:rPr lang="en-US" sz="2000" dirty="0" smtClean="0">
                  <a:solidFill>
                    <a:schemeClr val="tx2">
                      <a:lumMod val="50000"/>
                    </a:schemeClr>
                  </a:solidFill>
                </a:rPr>
              </a:br>
              <a:r>
                <a:rPr lang="en-US" sz="2000" dirty="0" smtClean="0">
                  <a:solidFill>
                    <a:schemeClr val="tx2">
                      <a:lumMod val="50000"/>
                    </a:schemeClr>
                  </a:solidFill>
                </a:rPr>
                <a:t>Customer Need &amp;</a:t>
              </a:r>
              <a:br>
                <a:rPr lang="en-US" sz="2000" dirty="0" smtClean="0">
                  <a:solidFill>
                    <a:schemeClr val="tx2">
                      <a:lumMod val="50000"/>
                    </a:schemeClr>
                  </a:solidFill>
                </a:rPr>
              </a:br>
              <a:r>
                <a:rPr lang="en-US" sz="2000" dirty="0" smtClean="0">
                  <a:solidFill>
                    <a:schemeClr val="tx2">
                      <a:lumMod val="50000"/>
                    </a:schemeClr>
                  </a:solidFill>
                </a:rPr>
                <a:t>Use Case Preferences</a:t>
              </a:r>
              <a:endParaRPr lang="en-US" sz="2000" dirty="0">
                <a:solidFill>
                  <a:schemeClr val="tx2">
                    <a:lumMod val="50000"/>
                  </a:schemeClr>
                </a:solidFill>
              </a:endParaRP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3182216" y="2796929"/>
              <a:ext cx="423164" cy="303852"/>
              <a:chOff x="2629991" y="1288957"/>
              <a:chExt cx="423164" cy="303852"/>
            </a:xfrm>
          </p:grpSpPr>
          <p:sp>
            <p:nvSpPr>
              <p:cNvPr id="13" name="Isosceles Triangle 12"/>
              <p:cNvSpPr/>
              <p:nvPr/>
            </p:nvSpPr>
            <p:spPr>
              <a:xfrm rot="5400000">
                <a:off x="2820055" y="1359708"/>
                <a:ext cx="303852" cy="162349"/>
              </a:xfrm>
              <a:prstGeom prst="triangle">
                <a:avLst/>
              </a:pr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>
                      <a:alpha val="59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32" tIns="45716" rIns="91432" bIns="45716" rtlCol="0" anchor="ctr"/>
              <a:lstStyle/>
              <a:p>
                <a:pPr algn="ctr" defTabSz="457048"/>
                <a:endParaRPr lang="en-US" sz="1300" dirty="0">
                  <a:solidFill>
                    <a:srgbClr val="FFFF99"/>
                  </a:solidFill>
                </a:endParaRPr>
              </a:p>
            </p:txBody>
          </p:sp>
          <p:sp>
            <p:nvSpPr>
              <p:cNvPr id="15" name="Isosceles Triangle 14"/>
              <p:cNvSpPr/>
              <p:nvPr/>
            </p:nvSpPr>
            <p:spPr>
              <a:xfrm rot="5400000">
                <a:off x="2559240" y="1359708"/>
                <a:ext cx="303852" cy="162349"/>
              </a:xfrm>
              <a:prstGeom prst="triangle">
                <a:avLst/>
              </a:pr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>
                      <a:alpha val="59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32" tIns="45716" rIns="91432" bIns="45716" rtlCol="0" anchor="ctr"/>
              <a:lstStyle/>
              <a:p>
                <a:pPr algn="ctr" defTabSz="457048"/>
                <a:endParaRPr lang="en-US" sz="1300" dirty="0">
                  <a:solidFill>
                    <a:srgbClr val="FFFF99"/>
                  </a:solidFill>
                </a:endParaRPr>
              </a:p>
            </p:txBody>
          </p:sp>
        </p:grpSp>
        <p:grpSp>
          <p:nvGrpSpPr>
            <p:cNvPr id="3" name="Group 2"/>
            <p:cNvGrpSpPr/>
            <p:nvPr/>
          </p:nvGrpSpPr>
          <p:grpSpPr>
            <a:xfrm>
              <a:off x="5563949" y="2796929"/>
              <a:ext cx="423164" cy="303852"/>
              <a:chOff x="5303134" y="1288958"/>
              <a:chExt cx="423164" cy="303852"/>
            </a:xfrm>
          </p:grpSpPr>
          <p:sp>
            <p:nvSpPr>
              <p:cNvPr id="18" name="Isosceles Triangle 17"/>
              <p:cNvSpPr/>
              <p:nvPr/>
            </p:nvSpPr>
            <p:spPr>
              <a:xfrm rot="16200000">
                <a:off x="5493198" y="1359709"/>
                <a:ext cx="303852" cy="162349"/>
              </a:xfrm>
              <a:prstGeom prst="triangle">
                <a:avLst/>
              </a:pr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>
                      <a:alpha val="59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32" tIns="45716" rIns="91432" bIns="45716" rtlCol="0" anchor="ctr"/>
              <a:lstStyle/>
              <a:p>
                <a:pPr algn="ctr" defTabSz="457048"/>
                <a:endParaRPr lang="en-US" sz="1300" dirty="0">
                  <a:solidFill>
                    <a:srgbClr val="FFFF99"/>
                  </a:solidFill>
                </a:endParaRPr>
              </a:p>
            </p:txBody>
          </p:sp>
          <p:sp>
            <p:nvSpPr>
              <p:cNvPr id="19" name="Isosceles Triangle 18"/>
              <p:cNvSpPr/>
              <p:nvPr/>
            </p:nvSpPr>
            <p:spPr>
              <a:xfrm rot="16200000">
                <a:off x="5232383" y="1359709"/>
                <a:ext cx="303852" cy="162349"/>
              </a:xfrm>
              <a:prstGeom prst="triangle">
                <a:avLst/>
              </a:pr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chemeClr val="bg1">
                      <a:alpha val="59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32" tIns="45716" rIns="91432" bIns="45716" rtlCol="0" anchor="ctr"/>
              <a:lstStyle/>
              <a:p>
                <a:pPr algn="ctr" defTabSz="457048"/>
                <a:endParaRPr lang="en-US" sz="1300" dirty="0">
                  <a:solidFill>
                    <a:srgbClr val="FFFF99"/>
                  </a:solidFill>
                </a:endParaRPr>
              </a:p>
            </p:txBody>
          </p:sp>
        </p:grpSp>
      </p:grpSp>
      <p:sp>
        <p:nvSpPr>
          <p:cNvPr id="21" name="Rectangle 20"/>
          <p:cNvSpPr/>
          <p:nvPr/>
        </p:nvSpPr>
        <p:spPr>
          <a:xfrm>
            <a:off x="3729038" y="3751390"/>
            <a:ext cx="2245412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noAutofit/>
          </a:bodyPr>
          <a:lstStyle/>
          <a:p>
            <a:pPr marL="114300" indent="-1143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Navigation / Wayfinding</a:t>
            </a: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114300" indent="-1143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Proximity Marketing</a:t>
            </a:r>
          </a:p>
          <a:p>
            <a:pPr marL="114300" indent="-1143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Analytics / Insights</a:t>
            </a: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  <a:p>
            <a:pPr marL="114300" indent="-1143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2">
                    <a:lumMod val="50000"/>
                  </a:schemeClr>
                </a:solidFill>
              </a:rPr>
              <a:t>Space </a:t>
            </a: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Utilization</a:t>
            </a:r>
          </a:p>
          <a:p>
            <a:pPr marL="114300" indent="-1143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Asset Tracking</a:t>
            </a:r>
          </a:p>
          <a:p>
            <a:pPr marL="114300" indent="-1143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>
                    <a:lumMod val="50000"/>
                  </a:schemeClr>
                </a:solidFill>
              </a:rPr>
              <a:t>Etc.</a:t>
            </a:r>
            <a:endParaRPr lang="en-US" sz="1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1" name="Rectangle 7"/>
          <p:cNvSpPr>
            <a:spLocks noChangeArrowheads="1"/>
          </p:cNvSpPr>
          <p:nvPr/>
        </p:nvSpPr>
        <p:spPr bwMode="ltGray">
          <a:xfrm>
            <a:off x="8566466" y="4742907"/>
            <a:ext cx="167655" cy="15451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61586" tIns="30792" rIns="61586" bIns="30792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6A1E46DC-7EF6-4EA2-B285-14272867D133}" type="slidenum">
              <a:rPr lang="en-US" sz="600">
                <a:solidFill>
                  <a:schemeClr val="bg1">
                    <a:alpha val="25000"/>
                  </a:schemeClr>
                </a:solidFill>
                <a:cs typeface="CiscoSans Thin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14</a:t>
            </a:fld>
            <a:endParaRPr lang="en-US" sz="600" dirty="0">
              <a:solidFill>
                <a:schemeClr val="bg1">
                  <a:alpha val="25000"/>
                </a:schemeClr>
              </a:solidFill>
              <a:cs typeface="CiscoSans Thin"/>
            </a:endParaRPr>
          </a:p>
        </p:txBody>
      </p:sp>
      <p:sp>
        <p:nvSpPr>
          <p:cNvPr id="47" name="Rectangle 4"/>
          <p:cNvSpPr>
            <a:spLocks noChangeArrowheads="1"/>
          </p:cNvSpPr>
          <p:nvPr/>
        </p:nvSpPr>
        <p:spPr bwMode="ltGray">
          <a:xfrm>
            <a:off x="5867508" y="4741653"/>
            <a:ext cx="265801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© 2016</a:t>
            </a:r>
            <a:r>
              <a:rPr lang="en-US" sz="600" baseline="0" dirty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 </a:t>
            </a:r>
            <a:r>
              <a:rPr lang="en-US" sz="600" dirty="0">
                <a:solidFill>
                  <a:schemeClr val="bg1">
                    <a:alpha val="60000"/>
                  </a:schemeClr>
                </a:solidFill>
                <a:latin typeface="+mn-lt"/>
                <a:ea typeface="+mn-ea"/>
                <a:cs typeface="CiscoSans Thin"/>
              </a:rPr>
              <a:t> Cisco and/or its affiliates. All rights reserved.   Cisco Confidential</a:t>
            </a:r>
          </a:p>
        </p:txBody>
      </p:sp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3" cstate="screen">
            <a:alphaModFix amt="60000"/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7679" y="4625975"/>
            <a:ext cx="424180" cy="265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ounded Rectangle 8"/>
          <p:cNvSpPr/>
          <p:nvPr/>
        </p:nvSpPr>
        <p:spPr>
          <a:xfrm>
            <a:off x="237111" y="2204452"/>
            <a:ext cx="2948391" cy="2310398"/>
          </a:xfrm>
          <a:prstGeom prst="roundRect">
            <a:avLst>
              <a:gd name="adj" fmla="val 10660"/>
            </a:avLst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97089" name="Text Box 33"/>
          <p:cNvSpPr txBox="1">
            <a:spLocks noChangeArrowheads="1"/>
          </p:cNvSpPr>
          <p:nvPr/>
        </p:nvSpPr>
        <p:spPr bwMode="auto">
          <a:xfrm>
            <a:off x="392797" y="2317520"/>
            <a:ext cx="2740445" cy="20696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noAutofit/>
          </a:bodyPr>
          <a:lstStyle/>
          <a:p>
            <a:pPr marL="1028700">
              <a:spcAft>
                <a:spcPts val="0"/>
              </a:spcAft>
            </a:pPr>
            <a:r>
              <a:rPr lang="en-US" sz="1600" b="1" dirty="0" smtClean="0">
                <a:solidFill>
                  <a:schemeClr val="accent1"/>
                </a:solidFill>
                <a:latin typeface="+mj-lt"/>
              </a:rPr>
              <a:t>Wi-Fi</a:t>
            </a:r>
          </a:p>
          <a:p>
            <a:pPr marL="114300" indent="-11430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US" sz="1600" dirty="0" smtClean="0">
                <a:solidFill>
                  <a:schemeClr val="accent1"/>
                </a:solidFill>
                <a:latin typeface="+mj-lt"/>
              </a:rPr>
              <a:t>HW: </a:t>
            </a:r>
            <a:r>
              <a:rPr lang="en-US" sz="1200" dirty="0" smtClean="0">
                <a:solidFill>
                  <a:schemeClr val="accent1"/>
                </a:solidFill>
                <a:latin typeface="+mj-lt"/>
              </a:rPr>
              <a:t>AP37/3800, module, ant, …</a:t>
            </a:r>
          </a:p>
          <a:p>
            <a:pPr marL="114300" indent="-1143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US" sz="1600" dirty="0" smtClean="0">
                <a:solidFill>
                  <a:schemeClr val="accent1"/>
                </a:solidFill>
                <a:latin typeface="+mj-lt"/>
              </a:rPr>
              <a:t>SW: </a:t>
            </a:r>
            <a:r>
              <a:rPr lang="en-US" sz="1200" dirty="0" smtClean="0">
                <a:solidFill>
                  <a:schemeClr val="accent1"/>
                </a:solidFill>
                <a:latin typeface="+mj-lt"/>
              </a:rPr>
              <a:t>CMX</a:t>
            </a:r>
          </a:p>
          <a:p>
            <a:pPr marL="114300" indent="-1143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685800" algn="l"/>
              </a:tabLst>
            </a:pPr>
            <a:r>
              <a:rPr lang="en-US" sz="1600" dirty="0" smtClean="0">
                <a:solidFill>
                  <a:schemeClr val="accent1"/>
                </a:solidFill>
                <a:latin typeface="+mj-lt"/>
              </a:rPr>
              <a:t>Apps: </a:t>
            </a:r>
            <a:r>
              <a:rPr lang="en-US" sz="1200" dirty="0" smtClean="0">
                <a:solidFill>
                  <a:schemeClr val="accent1"/>
                </a:solidFill>
                <a:latin typeface="+mj-lt"/>
              </a:rPr>
              <a:t>navigation &amp; wayfinding,</a:t>
            </a:r>
            <a:br>
              <a:rPr lang="en-US" sz="1200" dirty="0" smtClean="0">
                <a:solidFill>
                  <a:schemeClr val="accent1"/>
                </a:solidFill>
                <a:latin typeface="+mj-lt"/>
              </a:rPr>
            </a:br>
            <a:r>
              <a:rPr lang="en-US" sz="1200" dirty="0" smtClean="0">
                <a:solidFill>
                  <a:schemeClr val="accent1"/>
                </a:solidFill>
                <a:latin typeface="+mj-lt"/>
              </a:rPr>
              <a:t>	analytics., ...</a:t>
            </a:r>
            <a:endParaRPr lang="en-US" sz="1200" dirty="0">
              <a:solidFill>
                <a:schemeClr val="accent1"/>
              </a:solidFill>
              <a:latin typeface="+mj-lt"/>
            </a:endParaRPr>
          </a:p>
          <a:p>
            <a:pPr marL="114300" indent="-1143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US" sz="1600" dirty="0" smtClean="0">
                <a:solidFill>
                  <a:schemeClr val="accent1"/>
                </a:solidFill>
                <a:latin typeface="+mj-lt"/>
              </a:rPr>
              <a:t>Partnerships: </a:t>
            </a:r>
            <a:r>
              <a:rPr lang="en-US" sz="1200" dirty="0" smtClean="0">
                <a:solidFill>
                  <a:schemeClr val="accent1"/>
                </a:solidFill>
                <a:latin typeface="+mj-lt"/>
              </a:rPr>
              <a:t>Phunware, Rifinity, tags vendors (w/CCX), others</a:t>
            </a:r>
            <a:endParaRPr lang="en-US" sz="1200" dirty="0">
              <a:solidFill>
                <a:schemeClr val="accent1"/>
              </a:solidFill>
              <a:latin typeface="+mj-lt"/>
            </a:endParaRPr>
          </a:p>
          <a:p>
            <a:pPr marL="114300" indent="-1143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US" sz="1600" dirty="0" smtClean="0">
                <a:solidFill>
                  <a:schemeClr val="accent1"/>
                </a:solidFill>
                <a:latin typeface="+mj-lt"/>
              </a:rPr>
              <a:t>Services: </a:t>
            </a:r>
            <a:r>
              <a:rPr lang="en-US" sz="1200" dirty="0">
                <a:solidFill>
                  <a:schemeClr val="accent1"/>
                </a:solidFill>
                <a:latin typeface="+mj-lt"/>
              </a:rPr>
              <a:t>TAC, </a:t>
            </a:r>
            <a:r>
              <a:rPr lang="en-US" sz="1200" dirty="0" smtClean="0">
                <a:solidFill>
                  <a:schemeClr val="accent1"/>
                </a:solidFill>
                <a:latin typeface="+mj-lt"/>
              </a:rPr>
              <a:t>Advanced Services</a:t>
            </a:r>
            <a:endParaRPr lang="en-US" sz="1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61" name="Rounded Rectangle 60"/>
          <p:cNvSpPr/>
          <p:nvPr/>
        </p:nvSpPr>
        <p:spPr>
          <a:xfrm>
            <a:off x="5977603" y="2243784"/>
            <a:ext cx="2948391" cy="2271066"/>
          </a:xfrm>
          <a:prstGeom prst="roundRect">
            <a:avLst>
              <a:gd name="adj" fmla="val 10196"/>
            </a:avLst>
          </a:prstGeom>
          <a:solidFill>
            <a:schemeClr val="bg1">
              <a:alpha val="8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Text Box 33"/>
          <p:cNvSpPr txBox="1">
            <a:spLocks noChangeArrowheads="1"/>
          </p:cNvSpPr>
          <p:nvPr/>
        </p:nvSpPr>
        <p:spPr bwMode="auto">
          <a:xfrm>
            <a:off x="6133289" y="2356852"/>
            <a:ext cx="2739249" cy="20696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noAutofit/>
          </a:bodyPr>
          <a:lstStyle/>
          <a:p>
            <a:pPr marL="1028700">
              <a:spcAft>
                <a:spcPts val="0"/>
              </a:spcAft>
            </a:pPr>
            <a:r>
              <a:rPr lang="en-US" sz="1600" b="1" dirty="0" smtClean="0">
                <a:solidFill>
                  <a:schemeClr val="accent1"/>
                </a:solidFill>
                <a:latin typeface="+mj-lt"/>
              </a:rPr>
              <a:t>BLE</a:t>
            </a:r>
          </a:p>
          <a:p>
            <a:pPr marL="114300" indent="-11430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US" sz="1600" dirty="0" smtClean="0">
                <a:solidFill>
                  <a:schemeClr val="accent1"/>
                </a:solidFill>
                <a:latin typeface="+mj-lt"/>
              </a:rPr>
              <a:t>HW: </a:t>
            </a:r>
            <a:r>
              <a:rPr lang="en-US" sz="1200" dirty="0" smtClean="0">
                <a:solidFill>
                  <a:schemeClr val="accent1"/>
                </a:solidFill>
                <a:latin typeface="+mj-lt"/>
              </a:rPr>
              <a:t>Beacon Point</a:t>
            </a:r>
          </a:p>
          <a:p>
            <a:pPr marL="114300" indent="-1143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US" sz="1600" dirty="0" smtClean="0">
                <a:solidFill>
                  <a:schemeClr val="accent1"/>
                </a:solidFill>
                <a:latin typeface="+mj-lt"/>
              </a:rPr>
              <a:t>SW: </a:t>
            </a:r>
            <a:r>
              <a:rPr lang="en-US" sz="1200" dirty="0" smtClean="0">
                <a:solidFill>
                  <a:schemeClr val="accent1"/>
                </a:solidFill>
                <a:latin typeface="+mj-lt"/>
              </a:rPr>
              <a:t>CMX Beacon Center</a:t>
            </a:r>
          </a:p>
          <a:p>
            <a:pPr marL="114300" indent="-1143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685800" algn="l"/>
              </a:tabLst>
            </a:pPr>
            <a:r>
              <a:rPr lang="en-US" sz="1600" dirty="0" smtClean="0">
                <a:solidFill>
                  <a:schemeClr val="accent1"/>
                </a:solidFill>
                <a:latin typeface="+mj-lt"/>
              </a:rPr>
              <a:t>Apps:	</a:t>
            </a:r>
            <a:r>
              <a:rPr lang="en-US" sz="1200" dirty="0" smtClean="0">
                <a:solidFill>
                  <a:schemeClr val="accent1"/>
                </a:solidFill>
                <a:latin typeface="+mj-lt"/>
              </a:rPr>
              <a:t>navigation &amp; wayfinding</a:t>
            </a:r>
            <a:r>
              <a:rPr lang="en-US" sz="1200" dirty="0">
                <a:solidFill>
                  <a:schemeClr val="accent1"/>
                </a:solidFill>
                <a:latin typeface="+mj-lt"/>
              </a:rPr>
              <a:t>, </a:t>
            </a:r>
            <a:r>
              <a:rPr lang="en-US" sz="1200" dirty="0" smtClean="0">
                <a:solidFill>
                  <a:schemeClr val="accent1"/>
                </a:solidFill>
                <a:latin typeface="+mj-lt"/>
              </a:rPr>
              <a:t>etc.</a:t>
            </a:r>
            <a:br>
              <a:rPr lang="en-US" sz="1200" dirty="0" smtClean="0">
                <a:solidFill>
                  <a:schemeClr val="accent1"/>
                </a:solidFill>
                <a:latin typeface="+mj-lt"/>
              </a:rPr>
            </a:br>
            <a:r>
              <a:rPr lang="en-US" sz="1600" dirty="0" smtClean="0">
                <a:solidFill>
                  <a:schemeClr val="accent1"/>
                </a:solidFill>
                <a:latin typeface="+mj-lt"/>
              </a:rPr>
              <a:t>Partnerships: </a:t>
            </a:r>
            <a:r>
              <a:rPr lang="en-US" sz="1200" dirty="0" smtClean="0">
                <a:solidFill>
                  <a:schemeClr val="accent1"/>
                </a:solidFill>
                <a:latin typeface="+mj-lt"/>
              </a:rPr>
              <a:t>Phunware, others</a:t>
            </a:r>
            <a:endParaRPr lang="en-US" sz="1200" dirty="0">
              <a:solidFill>
                <a:schemeClr val="accent1"/>
              </a:solidFill>
              <a:latin typeface="+mj-lt"/>
            </a:endParaRPr>
          </a:p>
          <a:p>
            <a:pPr marL="114300" indent="-114300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US" sz="1600" dirty="0" smtClean="0">
                <a:solidFill>
                  <a:schemeClr val="accent1"/>
                </a:solidFill>
                <a:latin typeface="+mj-lt"/>
              </a:rPr>
              <a:t>Services: </a:t>
            </a:r>
            <a:r>
              <a:rPr lang="en-US" sz="1200" dirty="0" smtClean="0">
                <a:solidFill>
                  <a:schemeClr val="accent1"/>
                </a:solidFill>
                <a:latin typeface="+mj-lt"/>
              </a:rPr>
              <a:t>TAC, Advanced Services</a:t>
            </a:r>
            <a:endParaRPr lang="en-US" sz="1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48" name="Teardrop 47"/>
          <p:cNvSpPr/>
          <p:nvPr/>
        </p:nvSpPr>
        <p:spPr>
          <a:xfrm rot="8100000">
            <a:off x="1233877" y="1100542"/>
            <a:ext cx="987012" cy="987012"/>
          </a:xfrm>
          <a:prstGeom prst="teardrop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Freeform 5"/>
          <p:cNvSpPr>
            <a:spLocks noChangeAspect="1" noEditPoints="1"/>
          </p:cNvSpPr>
          <p:nvPr/>
        </p:nvSpPr>
        <p:spPr bwMode="auto">
          <a:xfrm>
            <a:off x="1371783" y="1358010"/>
            <a:ext cx="711200" cy="451600"/>
          </a:xfrm>
          <a:custGeom>
            <a:avLst/>
            <a:gdLst>
              <a:gd name="T0" fmla="*/ 2785 w 2785"/>
              <a:gd name="T1" fmla="*/ 679 h 1767"/>
              <a:gd name="T2" fmla="*/ 2691 w 2785"/>
              <a:gd name="T3" fmla="*/ 753 h 1767"/>
              <a:gd name="T4" fmla="*/ 2596 w 2785"/>
              <a:gd name="T5" fmla="*/ 827 h 1767"/>
              <a:gd name="T6" fmla="*/ 1393 w 2785"/>
              <a:gd name="T7" fmla="*/ 240 h 1767"/>
              <a:gd name="T8" fmla="*/ 189 w 2785"/>
              <a:gd name="T9" fmla="*/ 827 h 1767"/>
              <a:gd name="T10" fmla="*/ 94 w 2785"/>
              <a:gd name="T11" fmla="*/ 753 h 1767"/>
              <a:gd name="T12" fmla="*/ 0 w 2785"/>
              <a:gd name="T13" fmla="*/ 679 h 1767"/>
              <a:gd name="T14" fmla="*/ 143 w 2785"/>
              <a:gd name="T15" fmla="*/ 517 h 1767"/>
              <a:gd name="T16" fmla="*/ 704 w 2785"/>
              <a:gd name="T17" fmla="*/ 139 h 1767"/>
              <a:gd name="T18" fmla="*/ 1393 w 2785"/>
              <a:gd name="T19" fmla="*/ 0 h 1767"/>
              <a:gd name="T20" fmla="*/ 2081 w 2785"/>
              <a:gd name="T21" fmla="*/ 139 h 1767"/>
              <a:gd name="T22" fmla="*/ 2642 w 2785"/>
              <a:gd name="T23" fmla="*/ 517 h 1767"/>
              <a:gd name="T24" fmla="*/ 2785 w 2785"/>
              <a:gd name="T25" fmla="*/ 679 h 1767"/>
              <a:gd name="T26" fmla="*/ 2314 w 2785"/>
              <a:gd name="T27" fmla="*/ 846 h 1767"/>
              <a:gd name="T28" fmla="*/ 1900 w 2785"/>
              <a:gd name="T29" fmla="*/ 567 h 1767"/>
              <a:gd name="T30" fmla="*/ 1393 w 2785"/>
              <a:gd name="T31" fmla="*/ 465 h 1767"/>
              <a:gd name="T32" fmla="*/ 885 w 2785"/>
              <a:gd name="T33" fmla="*/ 567 h 1767"/>
              <a:gd name="T34" fmla="*/ 471 w 2785"/>
              <a:gd name="T35" fmla="*/ 846 h 1767"/>
              <a:gd name="T36" fmla="*/ 366 w 2785"/>
              <a:gd name="T37" fmla="*/ 965 h 1767"/>
              <a:gd name="T38" fmla="*/ 461 w 2785"/>
              <a:gd name="T39" fmla="*/ 1039 h 1767"/>
              <a:gd name="T40" fmla="*/ 556 w 2785"/>
              <a:gd name="T41" fmla="*/ 1113 h 1767"/>
              <a:gd name="T42" fmla="*/ 1393 w 2785"/>
              <a:gd name="T43" fmla="*/ 705 h 1767"/>
              <a:gd name="T44" fmla="*/ 2229 w 2785"/>
              <a:gd name="T45" fmla="*/ 1113 h 1767"/>
              <a:gd name="T46" fmla="*/ 2324 w 2785"/>
              <a:gd name="T47" fmla="*/ 1039 h 1767"/>
              <a:gd name="T48" fmla="*/ 2419 w 2785"/>
              <a:gd name="T49" fmla="*/ 965 h 1767"/>
              <a:gd name="T50" fmla="*/ 2314 w 2785"/>
              <a:gd name="T51" fmla="*/ 846 h 1767"/>
              <a:gd name="T52" fmla="*/ 2017 w 2785"/>
              <a:gd name="T53" fmla="*/ 1143 h 1767"/>
              <a:gd name="T54" fmla="*/ 1393 w 2785"/>
              <a:gd name="T55" fmla="*/ 885 h 1767"/>
              <a:gd name="T56" fmla="*/ 768 w 2785"/>
              <a:gd name="T57" fmla="*/ 1143 h 1767"/>
              <a:gd name="T58" fmla="*/ 697 w 2785"/>
              <a:gd name="T59" fmla="*/ 1224 h 1767"/>
              <a:gd name="T60" fmla="*/ 792 w 2785"/>
              <a:gd name="T61" fmla="*/ 1298 h 1767"/>
              <a:gd name="T62" fmla="*/ 886 w 2785"/>
              <a:gd name="T63" fmla="*/ 1372 h 1767"/>
              <a:gd name="T64" fmla="*/ 1393 w 2785"/>
              <a:gd name="T65" fmla="*/ 1125 h 1767"/>
              <a:gd name="T66" fmla="*/ 1899 w 2785"/>
              <a:gd name="T67" fmla="*/ 1372 h 1767"/>
              <a:gd name="T68" fmla="*/ 1993 w 2785"/>
              <a:gd name="T69" fmla="*/ 1298 h 1767"/>
              <a:gd name="T70" fmla="*/ 2088 w 2785"/>
              <a:gd name="T71" fmla="*/ 1224 h 1767"/>
              <a:gd name="T72" fmla="*/ 2017 w 2785"/>
              <a:gd name="T73" fmla="*/ 1143 h 1767"/>
              <a:gd name="T74" fmla="*/ 1392 w 2785"/>
              <a:gd name="T75" fmla="*/ 1290 h 1767"/>
              <a:gd name="T76" fmla="*/ 1016 w 2785"/>
              <a:gd name="T77" fmla="*/ 1473 h 1767"/>
              <a:gd name="T78" fmla="*/ 1393 w 2785"/>
              <a:gd name="T79" fmla="*/ 1767 h 1767"/>
              <a:gd name="T80" fmla="*/ 1769 w 2785"/>
              <a:gd name="T81" fmla="*/ 1473 h 1767"/>
              <a:gd name="T82" fmla="*/ 1392 w 2785"/>
              <a:gd name="T83" fmla="*/ 1290 h 17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785" h="1767">
                <a:moveTo>
                  <a:pt x="2785" y="679"/>
                </a:moveTo>
                <a:cubicBezTo>
                  <a:pt x="2691" y="753"/>
                  <a:pt x="2691" y="753"/>
                  <a:pt x="2691" y="753"/>
                </a:cubicBezTo>
                <a:cubicBezTo>
                  <a:pt x="2596" y="827"/>
                  <a:pt x="2596" y="827"/>
                  <a:pt x="2596" y="827"/>
                </a:cubicBezTo>
                <a:cubicBezTo>
                  <a:pt x="2316" y="470"/>
                  <a:pt x="1881" y="240"/>
                  <a:pt x="1393" y="240"/>
                </a:cubicBezTo>
                <a:cubicBezTo>
                  <a:pt x="904" y="240"/>
                  <a:pt x="469" y="470"/>
                  <a:pt x="189" y="827"/>
                </a:cubicBezTo>
                <a:cubicBezTo>
                  <a:pt x="94" y="753"/>
                  <a:pt x="94" y="753"/>
                  <a:pt x="94" y="753"/>
                </a:cubicBezTo>
                <a:cubicBezTo>
                  <a:pt x="0" y="679"/>
                  <a:pt x="0" y="679"/>
                  <a:pt x="0" y="679"/>
                </a:cubicBezTo>
                <a:cubicBezTo>
                  <a:pt x="44" y="622"/>
                  <a:pt x="91" y="569"/>
                  <a:pt x="143" y="517"/>
                </a:cubicBezTo>
                <a:cubicBezTo>
                  <a:pt x="305" y="355"/>
                  <a:pt x="494" y="228"/>
                  <a:pt x="704" y="139"/>
                </a:cubicBezTo>
                <a:cubicBezTo>
                  <a:pt x="922" y="46"/>
                  <a:pt x="1154" y="0"/>
                  <a:pt x="1393" y="0"/>
                </a:cubicBezTo>
                <a:cubicBezTo>
                  <a:pt x="1631" y="0"/>
                  <a:pt x="1863" y="46"/>
                  <a:pt x="2081" y="139"/>
                </a:cubicBezTo>
                <a:cubicBezTo>
                  <a:pt x="2291" y="228"/>
                  <a:pt x="2480" y="355"/>
                  <a:pt x="2642" y="517"/>
                </a:cubicBezTo>
                <a:cubicBezTo>
                  <a:pt x="2694" y="569"/>
                  <a:pt x="2741" y="622"/>
                  <a:pt x="2785" y="679"/>
                </a:cubicBezTo>
                <a:close/>
                <a:moveTo>
                  <a:pt x="2314" y="846"/>
                </a:moveTo>
                <a:cubicBezTo>
                  <a:pt x="2194" y="727"/>
                  <a:pt x="2055" y="633"/>
                  <a:pt x="1900" y="567"/>
                </a:cubicBezTo>
                <a:cubicBezTo>
                  <a:pt x="1739" y="499"/>
                  <a:pt x="1568" y="465"/>
                  <a:pt x="1393" y="465"/>
                </a:cubicBezTo>
                <a:cubicBezTo>
                  <a:pt x="1217" y="465"/>
                  <a:pt x="1046" y="499"/>
                  <a:pt x="885" y="567"/>
                </a:cubicBezTo>
                <a:cubicBezTo>
                  <a:pt x="730" y="633"/>
                  <a:pt x="591" y="727"/>
                  <a:pt x="471" y="846"/>
                </a:cubicBezTo>
                <a:cubicBezTo>
                  <a:pt x="434" y="884"/>
                  <a:pt x="399" y="924"/>
                  <a:pt x="366" y="965"/>
                </a:cubicBezTo>
                <a:cubicBezTo>
                  <a:pt x="461" y="1039"/>
                  <a:pt x="461" y="1039"/>
                  <a:pt x="461" y="1039"/>
                </a:cubicBezTo>
                <a:cubicBezTo>
                  <a:pt x="556" y="1113"/>
                  <a:pt x="556" y="1113"/>
                  <a:pt x="556" y="1113"/>
                </a:cubicBezTo>
                <a:cubicBezTo>
                  <a:pt x="750" y="865"/>
                  <a:pt x="1053" y="705"/>
                  <a:pt x="1393" y="705"/>
                </a:cubicBezTo>
                <a:cubicBezTo>
                  <a:pt x="1732" y="705"/>
                  <a:pt x="2035" y="865"/>
                  <a:pt x="2229" y="1113"/>
                </a:cubicBezTo>
                <a:cubicBezTo>
                  <a:pt x="2324" y="1039"/>
                  <a:pt x="2324" y="1039"/>
                  <a:pt x="2324" y="1039"/>
                </a:cubicBezTo>
                <a:cubicBezTo>
                  <a:pt x="2419" y="965"/>
                  <a:pt x="2419" y="965"/>
                  <a:pt x="2419" y="965"/>
                </a:cubicBezTo>
                <a:cubicBezTo>
                  <a:pt x="2386" y="924"/>
                  <a:pt x="2351" y="884"/>
                  <a:pt x="2314" y="846"/>
                </a:cubicBezTo>
                <a:close/>
                <a:moveTo>
                  <a:pt x="2017" y="1143"/>
                </a:moveTo>
                <a:cubicBezTo>
                  <a:pt x="1850" y="976"/>
                  <a:pt x="1628" y="885"/>
                  <a:pt x="1393" y="885"/>
                </a:cubicBezTo>
                <a:cubicBezTo>
                  <a:pt x="1157" y="885"/>
                  <a:pt x="935" y="976"/>
                  <a:pt x="768" y="1143"/>
                </a:cubicBezTo>
                <a:cubicBezTo>
                  <a:pt x="743" y="1169"/>
                  <a:pt x="719" y="1196"/>
                  <a:pt x="697" y="1224"/>
                </a:cubicBezTo>
                <a:cubicBezTo>
                  <a:pt x="792" y="1298"/>
                  <a:pt x="792" y="1298"/>
                  <a:pt x="792" y="1298"/>
                </a:cubicBezTo>
                <a:cubicBezTo>
                  <a:pt x="886" y="1372"/>
                  <a:pt x="886" y="1372"/>
                  <a:pt x="886" y="1372"/>
                </a:cubicBezTo>
                <a:cubicBezTo>
                  <a:pt x="1004" y="1221"/>
                  <a:pt x="1187" y="1125"/>
                  <a:pt x="1393" y="1125"/>
                </a:cubicBezTo>
                <a:cubicBezTo>
                  <a:pt x="1598" y="1125"/>
                  <a:pt x="1781" y="1221"/>
                  <a:pt x="1899" y="1372"/>
                </a:cubicBezTo>
                <a:cubicBezTo>
                  <a:pt x="1993" y="1298"/>
                  <a:pt x="1993" y="1298"/>
                  <a:pt x="1993" y="1298"/>
                </a:cubicBezTo>
                <a:cubicBezTo>
                  <a:pt x="2088" y="1224"/>
                  <a:pt x="2088" y="1224"/>
                  <a:pt x="2088" y="1224"/>
                </a:cubicBezTo>
                <a:cubicBezTo>
                  <a:pt x="2066" y="1196"/>
                  <a:pt x="2042" y="1169"/>
                  <a:pt x="2017" y="1143"/>
                </a:cubicBezTo>
                <a:close/>
                <a:moveTo>
                  <a:pt x="1392" y="1290"/>
                </a:moveTo>
                <a:cubicBezTo>
                  <a:pt x="1240" y="1290"/>
                  <a:pt x="1104" y="1361"/>
                  <a:pt x="1016" y="1473"/>
                </a:cubicBezTo>
                <a:cubicBezTo>
                  <a:pt x="1393" y="1767"/>
                  <a:pt x="1393" y="1767"/>
                  <a:pt x="1393" y="1767"/>
                </a:cubicBezTo>
                <a:cubicBezTo>
                  <a:pt x="1769" y="1473"/>
                  <a:pt x="1769" y="1473"/>
                  <a:pt x="1769" y="1473"/>
                </a:cubicBezTo>
                <a:cubicBezTo>
                  <a:pt x="1681" y="1361"/>
                  <a:pt x="1545" y="1290"/>
                  <a:pt x="1392" y="129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Teardrop 44"/>
          <p:cNvSpPr/>
          <p:nvPr/>
        </p:nvSpPr>
        <p:spPr>
          <a:xfrm rot="8100000">
            <a:off x="6861665" y="1100543"/>
            <a:ext cx="987011" cy="987013"/>
          </a:xfrm>
          <a:prstGeom prst="teardrop">
            <a:avLst/>
          </a:prstGeom>
          <a:solidFill>
            <a:schemeClr val="accent1"/>
          </a:solidFill>
          <a:ln w="254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" name="Rounded Rectangle 37"/>
          <p:cNvSpPr/>
          <p:nvPr/>
        </p:nvSpPr>
        <p:spPr>
          <a:xfrm>
            <a:off x="7181529" y="1331404"/>
            <a:ext cx="347283" cy="525291"/>
          </a:xfrm>
          <a:custGeom>
            <a:avLst/>
            <a:gdLst/>
            <a:ahLst/>
            <a:cxnLst/>
            <a:rect l="l" t="t" r="r" b="b"/>
            <a:pathLst>
              <a:path w="2069260" h="3212259">
                <a:moveTo>
                  <a:pt x="1099537" y="1834749"/>
                </a:moveTo>
                <a:lnTo>
                  <a:pt x="1389236" y="2126059"/>
                </a:lnTo>
                <a:lnTo>
                  <a:pt x="1099537" y="2443566"/>
                </a:lnTo>
                <a:close/>
                <a:moveTo>
                  <a:pt x="1099537" y="887313"/>
                </a:moveTo>
                <a:lnTo>
                  <a:pt x="1361062" y="1173941"/>
                </a:lnTo>
                <a:lnTo>
                  <a:pt x="1099537" y="1436920"/>
                </a:lnTo>
                <a:close/>
                <a:moveTo>
                  <a:pt x="934459" y="447790"/>
                </a:moveTo>
                <a:lnTo>
                  <a:pt x="925801" y="1412863"/>
                </a:lnTo>
                <a:lnTo>
                  <a:pt x="568003" y="1053076"/>
                </a:lnTo>
                <a:lnTo>
                  <a:pt x="444413" y="1175982"/>
                </a:lnTo>
                <a:lnTo>
                  <a:pt x="901722" y="1635834"/>
                </a:lnTo>
                <a:lnTo>
                  <a:pt x="442273" y="2097839"/>
                </a:lnTo>
                <a:lnTo>
                  <a:pt x="565864" y="2220745"/>
                </a:lnTo>
                <a:lnTo>
                  <a:pt x="925801" y="1858806"/>
                </a:lnTo>
                <a:lnTo>
                  <a:pt x="925801" y="2333555"/>
                </a:lnTo>
                <a:lnTo>
                  <a:pt x="925818" y="2333555"/>
                </a:lnTo>
                <a:lnTo>
                  <a:pt x="925818" y="2892557"/>
                </a:lnTo>
                <a:lnTo>
                  <a:pt x="1626870" y="2124213"/>
                </a:lnTo>
                <a:lnTo>
                  <a:pt x="1594981" y="2095116"/>
                </a:lnTo>
                <a:lnTo>
                  <a:pt x="1599657" y="2090467"/>
                </a:lnTo>
                <a:lnTo>
                  <a:pt x="1147539" y="1635835"/>
                </a:lnTo>
                <a:lnTo>
                  <a:pt x="1597517" y="1183355"/>
                </a:lnTo>
                <a:lnTo>
                  <a:pt x="1592870" y="1178733"/>
                </a:lnTo>
                <a:lnTo>
                  <a:pt x="1597517" y="1174493"/>
                </a:lnTo>
                <a:close/>
                <a:moveTo>
                  <a:pt x="1034630" y="0"/>
                </a:moveTo>
                <a:cubicBezTo>
                  <a:pt x="1606040" y="0"/>
                  <a:pt x="2069260" y="463220"/>
                  <a:pt x="2069260" y="1034630"/>
                </a:cubicBezTo>
                <a:cubicBezTo>
                  <a:pt x="2069260" y="1415630"/>
                  <a:pt x="2069259" y="1796629"/>
                  <a:pt x="2069259" y="2177629"/>
                </a:cubicBezTo>
                <a:cubicBezTo>
                  <a:pt x="2069259" y="2749039"/>
                  <a:pt x="1606039" y="3212259"/>
                  <a:pt x="1034629" y="3212259"/>
                </a:cubicBezTo>
                <a:lnTo>
                  <a:pt x="1034630" y="3212258"/>
                </a:lnTo>
                <a:cubicBezTo>
                  <a:pt x="463220" y="3212258"/>
                  <a:pt x="0" y="2749038"/>
                  <a:pt x="0" y="2177628"/>
                </a:cubicBezTo>
                <a:lnTo>
                  <a:pt x="0" y="1034630"/>
                </a:lnTo>
                <a:cubicBezTo>
                  <a:pt x="0" y="463220"/>
                  <a:pt x="463220" y="0"/>
                  <a:pt x="103463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schemeClr val="tx1"/>
              </a:solidFill>
              <a:latin typeface="Arial" charset="0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4517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Rectangle 97"/>
          <p:cNvSpPr/>
          <p:nvPr/>
        </p:nvSpPr>
        <p:spPr>
          <a:xfrm>
            <a:off x="1191" y="1073155"/>
            <a:ext cx="9141619" cy="40696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/>
            <a:endParaRPr lang="en-US" dirty="0"/>
          </a:p>
        </p:txBody>
      </p:sp>
      <p:sp>
        <p:nvSpPr>
          <p:cNvPr id="152" name="Rectangle 151"/>
          <p:cNvSpPr/>
          <p:nvPr/>
        </p:nvSpPr>
        <p:spPr>
          <a:xfrm rot="10800000" flipH="1" flipV="1">
            <a:off x="333526" y="1459208"/>
            <a:ext cx="2676317" cy="275984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80" tIns="45690" rIns="91380" bIns="456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6915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8" name="Rectangle 107"/>
          <p:cNvSpPr/>
          <p:nvPr/>
        </p:nvSpPr>
        <p:spPr>
          <a:xfrm rot="10800000" flipH="1" flipV="1">
            <a:off x="3258540" y="1459208"/>
            <a:ext cx="2676317" cy="275984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80" tIns="45690" rIns="91380" bIns="456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6915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0" name="Rectangle 109"/>
          <p:cNvSpPr/>
          <p:nvPr/>
        </p:nvSpPr>
        <p:spPr>
          <a:xfrm rot="10800000" flipH="1" flipV="1">
            <a:off x="6174103" y="1459208"/>
            <a:ext cx="2676317" cy="275984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80" tIns="45690" rIns="91380" bIns="456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6915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-18107" y="4853347"/>
            <a:ext cx="9158341" cy="28948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0" tIns="45690" rIns="91380" bIns="45690" rtlCol="0" anchor="ctr"/>
          <a:lstStyle/>
          <a:p>
            <a:pPr algn="ctr" defTabSz="456915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MX. Gain </a:t>
            </a:r>
            <a:r>
              <a:rPr lang="en-US" dirty="0" smtClean="0"/>
              <a:t>Insights &amp; Innovate with Cisco CMX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47172" y="3475105"/>
            <a:ext cx="2651147" cy="512900"/>
          </a:xfrm>
          <a:prstGeom prst="rect">
            <a:avLst/>
          </a:prstGeom>
        </p:spPr>
        <p:txBody>
          <a:bodyPr wrap="square" lIns="91380" tIns="45690" rIns="91380" bIns="45690">
            <a:spAutoFit/>
          </a:bodyPr>
          <a:lstStyle/>
          <a:p>
            <a:pPr marL="171344" indent="-171344" defTabSz="456915">
              <a:spcBef>
                <a:spcPts val="400"/>
              </a:spcBef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676767"/>
                </a:solidFill>
              </a:rPr>
              <a:t>Presence and location detection</a:t>
            </a:r>
          </a:p>
          <a:p>
            <a:pPr marL="171344" indent="-171344" defTabSz="456915">
              <a:spcBef>
                <a:spcPts val="400"/>
              </a:spcBef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676767"/>
                </a:solidFill>
              </a:rPr>
              <a:t>Visibility (Wi-Fi, BLE)</a:t>
            </a:r>
          </a:p>
        </p:txBody>
      </p:sp>
      <p:sp>
        <p:nvSpPr>
          <p:cNvPr id="68" name="Rectangle 67"/>
          <p:cNvSpPr/>
          <p:nvPr/>
        </p:nvSpPr>
        <p:spPr>
          <a:xfrm>
            <a:off x="3251738" y="3386872"/>
            <a:ext cx="2616312" cy="887344"/>
          </a:xfrm>
          <a:prstGeom prst="rect">
            <a:avLst/>
          </a:prstGeom>
        </p:spPr>
        <p:txBody>
          <a:bodyPr wrap="square" lIns="91380" tIns="45690" rIns="91380" bIns="45690">
            <a:spAutoFit/>
          </a:bodyPr>
          <a:lstStyle/>
          <a:p>
            <a:pPr marL="171344" indent="-171344" defTabSz="456915">
              <a:spcBef>
                <a:spcPts val="400"/>
              </a:spcBef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676767"/>
                </a:solidFill>
              </a:rPr>
              <a:t>Easy Wi-Fi </a:t>
            </a:r>
            <a:r>
              <a:rPr lang="en-US" sz="1200" dirty="0" smtClean="0">
                <a:solidFill>
                  <a:srgbClr val="676767"/>
                </a:solidFill>
              </a:rPr>
              <a:t>guest access, </a:t>
            </a:r>
            <a:r>
              <a:rPr lang="en-US" sz="1200" dirty="0">
                <a:solidFill>
                  <a:srgbClr val="676767"/>
                </a:solidFill>
              </a:rPr>
              <a:t>custom or social</a:t>
            </a:r>
          </a:p>
          <a:p>
            <a:pPr marL="171344" indent="-171344" defTabSz="456915">
              <a:spcBef>
                <a:spcPts val="400"/>
              </a:spcBef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676767"/>
                </a:solidFill>
              </a:rPr>
              <a:t>Location based</a:t>
            </a:r>
            <a:r>
              <a:rPr lang="en-US" sz="1200" dirty="0">
                <a:solidFill>
                  <a:srgbClr val="676767"/>
                </a:solidFill>
              </a:rPr>
              <a:t>, </a:t>
            </a:r>
            <a:r>
              <a:rPr lang="en-US" sz="1200" dirty="0" smtClean="0">
                <a:solidFill>
                  <a:srgbClr val="676767"/>
                </a:solidFill>
              </a:rPr>
              <a:t>customized </a:t>
            </a:r>
            <a:r>
              <a:rPr lang="en-US" sz="1200" dirty="0">
                <a:solidFill>
                  <a:srgbClr val="676767"/>
                </a:solidFill>
              </a:rPr>
              <a:t/>
            </a:r>
            <a:br>
              <a:rPr lang="en-US" sz="1200" dirty="0">
                <a:solidFill>
                  <a:srgbClr val="676767"/>
                </a:solidFill>
              </a:rPr>
            </a:br>
            <a:r>
              <a:rPr lang="en-US" sz="1200" dirty="0">
                <a:solidFill>
                  <a:srgbClr val="676767"/>
                </a:solidFill>
              </a:rPr>
              <a:t>splash pages</a:t>
            </a:r>
          </a:p>
        </p:txBody>
      </p:sp>
      <p:sp>
        <p:nvSpPr>
          <p:cNvPr id="69" name="Rectangle 68"/>
          <p:cNvSpPr/>
          <p:nvPr/>
        </p:nvSpPr>
        <p:spPr>
          <a:xfrm>
            <a:off x="6185971" y="3475103"/>
            <a:ext cx="2651147" cy="697566"/>
          </a:xfrm>
          <a:prstGeom prst="rect">
            <a:avLst/>
          </a:prstGeom>
        </p:spPr>
        <p:txBody>
          <a:bodyPr wrap="square" lIns="91380" tIns="45690" rIns="91380" bIns="45690">
            <a:spAutoFit/>
          </a:bodyPr>
          <a:lstStyle/>
          <a:p>
            <a:pPr marL="171344" indent="-171344" defTabSz="456915">
              <a:spcBef>
                <a:spcPts val="400"/>
              </a:spcBef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676767"/>
                </a:solidFill>
              </a:rPr>
              <a:t>Big Data Analytics on Site</a:t>
            </a:r>
          </a:p>
          <a:p>
            <a:pPr marL="171344" indent="-171344" defTabSz="456915">
              <a:spcBef>
                <a:spcPts val="400"/>
              </a:spcBef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676767"/>
                </a:solidFill>
              </a:rPr>
              <a:t>Data to be used in App-based mobile engagement</a:t>
            </a:r>
          </a:p>
        </p:txBody>
      </p:sp>
      <p:sp>
        <p:nvSpPr>
          <p:cNvPr id="85" name="Rectangle 84"/>
          <p:cNvSpPr/>
          <p:nvPr/>
        </p:nvSpPr>
        <p:spPr>
          <a:xfrm>
            <a:off x="-18105" y="4412104"/>
            <a:ext cx="9169277" cy="731396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 defTabSz="456915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331312" y="1175434"/>
            <a:ext cx="2685404" cy="2342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1559" tIns="30779" rIns="61559" bIns="307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10490" eaLnBrk="0" hangingPunct="0">
              <a:lnSpc>
                <a:spcPct val="90000"/>
              </a:lnSpc>
            </a:pPr>
            <a:r>
              <a:rPr lang="en-US" sz="1575" b="1" cap="all" dirty="0">
                <a:cs typeface="Arial" panose="020B0604020202020204" pitchFamily="34" charset="0"/>
              </a:rPr>
              <a:t>Detect</a:t>
            </a:r>
          </a:p>
        </p:txBody>
      </p:sp>
      <p:sp>
        <p:nvSpPr>
          <p:cNvPr id="82" name="Rectangle 81"/>
          <p:cNvSpPr/>
          <p:nvPr/>
        </p:nvSpPr>
        <p:spPr>
          <a:xfrm>
            <a:off x="3255382" y="1175434"/>
            <a:ext cx="2685404" cy="2342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1559" tIns="30779" rIns="61559" bIns="307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10490" eaLnBrk="0" hangingPunct="0">
              <a:lnSpc>
                <a:spcPct val="90000"/>
              </a:lnSpc>
            </a:pPr>
            <a:r>
              <a:rPr lang="en-US" sz="1575" b="1" cap="all" dirty="0">
                <a:cs typeface="Arial" panose="020B0604020202020204" pitchFamily="34" charset="0"/>
              </a:rPr>
              <a:t>Connect</a:t>
            </a:r>
          </a:p>
        </p:txBody>
      </p:sp>
      <p:sp>
        <p:nvSpPr>
          <p:cNvPr id="83" name="Rectangle 82"/>
          <p:cNvSpPr/>
          <p:nvPr/>
        </p:nvSpPr>
        <p:spPr>
          <a:xfrm>
            <a:off x="6172762" y="1175434"/>
            <a:ext cx="2685404" cy="2342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61559" tIns="30779" rIns="61559" bIns="3077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10490" eaLnBrk="0" hangingPunct="0">
              <a:lnSpc>
                <a:spcPct val="90000"/>
              </a:lnSpc>
            </a:pPr>
            <a:r>
              <a:rPr lang="en-US" sz="1575" b="1" cap="all" dirty="0">
                <a:cs typeface="Arial" panose="020B0604020202020204" pitchFamily="34" charset="0"/>
              </a:rPr>
              <a:t>Engage</a:t>
            </a:r>
          </a:p>
        </p:txBody>
      </p:sp>
      <p:sp>
        <p:nvSpPr>
          <p:cNvPr id="94" name="Freeform 113"/>
          <p:cNvSpPr>
            <a:spLocks noEditPoints="1"/>
          </p:cNvSpPr>
          <p:nvPr/>
        </p:nvSpPr>
        <p:spPr bwMode="auto">
          <a:xfrm>
            <a:off x="3532746" y="2587471"/>
            <a:ext cx="347378" cy="639908"/>
          </a:xfrm>
          <a:custGeom>
            <a:avLst/>
            <a:gdLst/>
            <a:ahLst/>
            <a:cxnLst>
              <a:cxn ang="0">
                <a:pos x="9" y="0"/>
              </a:cxn>
              <a:cxn ang="0">
                <a:pos x="0" y="411"/>
              </a:cxn>
              <a:cxn ang="0">
                <a:pos x="77" y="341"/>
              </a:cxn>
              <a:cxn ang="0">
                <a:pos x="146" y="411"/>
              </a:cxn>
              <a:cxn ang="0">
                <a:pos x="223" y="9"/>
              </a:cxn>
              <a:cxn ang="0">
                <a:pos x="69" y="317"/>
              </a:cxn>
              <a:cxn ang="0">
                <a:pos x="18" y="282"/>
              </a:cxn>
              <a:cxn ang="0">
                <a:pos x="69" y="317"/>
              </a:cxn>
              <a:cxn ang="0">
                <a:pos x="18" y="222"/>
              </a:cxn>
              <a:cxn ang="0">
                <a:pos x="69" y="257"/>
              </a:cxn>
              <a:cxn ang="0">
                <a:pos x="69" y="197"/>
              </a:cxn>
              <a:cxn ang="0">
                <a:pos x="18" y="163"/>
              </a:cxn>
              <a:cxn ang="0">
                <a:pos x="69" y="197"/>
              </a:cxn>
              <a:cxn ang="0">
                <a:pos x="18" y="137"/>
              </a:cxn>
              <a:cxn ang="0">
                <a:pos x="69" y="103"/>
              </a:cxn>
              <a:cxn ang="0">
                <a:pos x="69" y="77"/>
              </a:cxn>
              <a:cxn ang="0">
                <a:pos x="18" y="43"/>
              </a:cxn>
              <a:cxn ang="0">
                <a:pos x="69" y="77"/>
              </a:cxn>
              <a:cxn ang="0">
                <a:pos x="86" y="317"/>
              </a:cxn>
              <a:cxn ang="0">
                <a:pos x="137" y="282"/>
              </a:cxn>
              <a:cxn ang="0">
                <a:pos x="86" y="257"/>
              </a:cxn>
              <a:cxn ang="0">
                <a:pos x="137" y="222"/>
              </a:cxn>
              <a:cxn ang="0">
                <a:pos x="86" y="257"/>
              </a:cxn>
              <a:cxn ang="0">
                <a:pos x="86" y="197"/>
              </a:cxn>
              <a:cxn ang="0">
                <a:pos x="137" y="163"/>
              </a:cxn>
              <a:cxn ang="0">
                <a:pos x="137" y="137"/>
              </a:cxn>
              <a:cxn ang="0">
                <a:pos x="86" y="103"/>
              </a:cxn>
              <a:cxn ang="0">
                <a:pos x="137" y="137"/>
              </a:cxn>
              <a:cxn ang="0">
                <a:pos x="86" y="77"/>
              </a:cxn>
              <a:cxn ang="0">
                <a:pos x="137" y="43"/>
              </a:cxn>
              <a:cxn ang="0">
                <a:pos x="206" y="317"/>
              </a:cxn>
              <a:cxn ang="0">
                <a:pos x="154" y="282"/>
              </a:cxn>
              <a:cxn ang="0">
                <a:pos x="206" y="317"/>
              </a:cxn>
              <a:cxn ang="0">
                <a:pos x="154" y="222"/>
              </a:cxn>
              <a:cxn ang="0">
                <a:pos x="206" y="257"/>
              </a:cxn>
              <a:cxn ang="0">
                <a:pos x="206" y="197"/>
              </a:cxn>
              <a:cxn ang="0">
                <a:pos x="154" y="163"/>
              </a:cxn>
              <a:cxn ang="0">
                <a:pos x="206" y="197"/>
              </a:cxn>
              <a:cxn ang="0">
                <a:pos x="154" y="137"/>
              </a:cxn>
              <a:cxn ang="0">
                <a:pos x="206" y="103"/>
              </a:cxn>
              <a:cxn ang="0">
                <a:pos x="206" y="77"/>
              </a:cxn>
              <a:cxn ang="0">
                <a:pos x="154" y="43"/>
              </a:cxn>
              <a:cxn ang="0">
                <a:pos x="206" y="77"/>
              </a:cxn>
            </a:cxnLst>
            <a:rect l="0" t="0" r="r" b="b"/>
            <a:pathLst>
              <a:path w="223" h="411">
                <a:moveTo>
                  <a:pt x="214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411"/>
                  <a:pt x="0" y="411"/>
                  <a:pt x="0" y="411"/>
                </a:cubicBezTo>
                <a:cubicBezTo>
                  <a:pt x="77" y="411"/>
                  <a:pt x="77" y="411"/>
                  <a:pt x="77" y="411"/>
                </a:cubicBezTo>
                <a:cubicBezTo>
                  <a:pt x="77" y="341"/>
                  <a:pt x="77" y="341"/>
                  <a:pt x="77" y="341"/>
                </a:cubicBezTo>
                <a:cubicBezTo>
                  <a:pt x="146" y="341"/>
                  <a:pt x="146" y="341"/>
                  <a:pt x="146" y="341"/>
                </a:cubicBezTo>
                <a:cubicBezTo>
                  <a:pt x="146" y="411"/>
                  <a:pt x="146" y="411"/>
                  <a:pt x="146" y="411"/>
                </a:cubicBezTo>
                <a:cubicBezTo>
                  <a:pt x="223" y="411"/>
                  <a:pt x="223" y="411"/>
                  <a:pt x="223" y="411"/>
                </a:cubicBezTo>
                <a:cubicBezTo>
                  <a:pt x="223" y="9"/>
                  <a:pt x="223" y="9"/>
                  <a:pt x="223" y="9"/>
                </a:cubicBezTo>
                <a:cubicBezTo>
                  <a:pt x="223" y="4"/>
                  <a:pt x="219" y="0"/>
                  <a:pt x="214" y="0"/>
                </a:cubicBezTo>
                <a:close/>
                <a:moveTo>
                  <a:pt x="69" y="317"/>
                </a:moveTo>
                <a:cubicBezTo>
                  <a:pt x="18" y="317"/>
                  <a:pt x="18" y="317"/>
                  <a:pt x="18" y="317"/>
                </a:cubicBezTo>
                <a:cubicBezTo>
                  <a:pt x="18" y="282"/>
                  <a:pt x="18" y="282"/>
                  <a:pt x="18" y="282"/>
                </a:cubicBezTo>
                <a:cubicBezTo>
                  <a:pt x="69" y="282"/>
                  <a:pt x="69" y="282"/>
                  <a:pt x="69" y="282"/>
                </a:cubicBezTo>
                <a:lnTo>
                  <a:pt x="69" y="317"/>
                </a:lnTo>
                <a:close/>
                <a:moveTo>
                  <a:pt x="18" y="257"/>
                </a:moveTo>
                <a:cubicBezTo>
                  <a:pt x="18" y="222"/>
                  <a:pt x="18" y="222"/>
                  <a:pt x="18" y="222"/>
                </a:cubicBezTo>
                <a:cubicBezTo>
                  <a:pt x="69" y="222"/>
                  <a:pt x="69" y="222"/>
                  <a:pt x="69" y="222"/>
                </a:cubicBezTo>
                <a:cubicBezTo>
                  <a:pt x="69" y="257"/>
                  <a:pt x="69" y="257"/>
                  <a:pt x="69" y="257"/>
                </a:cubicBezTo>
                <a:lnTo>
                  <a:pt x="18" y="257"/>
                </a:lnTo>
                <a:close/>
                <a:moveTo>
                  <a:pt x="69" y="197"/>
                </a:moveTo>
                <a:cubicBezTo>
                  <a:pt x="18" y="197"/>
                  <a:pt x="18" y="197"/>
                  <a:pt x="18" y="197"/>
                </a:cubicBezTo>
                <a:cubicBezTo>
                  <a:pt x="18" y="163"/>
                  <a:pt x="18" y="163"/>
                  <a:pt x="18" y="163"/>
                </a:cubicBezTo>
                <a:cubicBezTo>
                  <a:pt x="69" y="163"/>
                  <a:pt x="69" y="163"/>
                  <a:pt x="69" y="163"/>
                </a:cubicBezTo>
                <a:lnTo>
                  <a:pt x="69" y="197"/>
                </a:lnTo>
                <a:close/>
                <a:moveTo>
                  <a:pt x="69" y="137"/>
                </a:moveTo>
                <a:cubicBezTo>
                  <a:pt x="18" y="137"/>
                  <a:pt x="18" y="137"/>
                  <a:pt x="18" y="137"/>
                </a:cubicBezTo>
                <a:cubicBezTo>
                  <a:pt x="18" y="103"/>
                  <a:pt x="18" y="103"/>
                  <a:pt x="18" y="103"/>
                </a:cubicBezTo>
                <a:cubicBezTo>
                  <a:pt x="69" y="103"/>
                  <a:pt x="69" y="103"/>
                  <a:pt x="69" y="103"/>
                </a:cubicBezTo>
                <a:lnTo>
                  <a:pt x="69" y="137"/>
                </a:lnTo>
                <a:close/>
                <a:moveTo>
                  <a:pt x="69" y="77"/>
                </a:moveTo>
                <a:cubicBezTo>
                  <a:pt x="18" y="77"/>
                  <a:pt x="18" y="77"/>
                  <a:pt x="18" y="77"/>
                </a:cubicBezTo>
                <a:cubicBezTo>
                  <a:pt x="18" y="43"/>
                  <a:pt x="18" y="43"/>
                  <a:pt x="18" y="43"/>
                </a:cubicBezTo>
                <a:cubicBezTo>
                  <a:pt x="69" y="43"/>
                  <a:pt x="69" y="43"/>
                  <a:pt x="69" y="43"/>
                </a:cubicBezTo>
                <a:lnTo>
                  <a:pt x="69" y="77"/>
                </a:lnTo>
                <a:close/>
                <a:moveTo>
                  <a:pt x="137" y="317"/>
                </a:moveTo>
                <a:cubicBezTo>
                  <a:pt x="86" y="317"/>
                  <a:pt x="86" y="317"/>
                  <a:pt x="86" y="317"/>
                </a:cubicBezTo>
                <a:cubicBezTo>
                  <a:pt x="86" y="282"/>
                  <a:pt x="86" y="282"/>
                  <a:pt x="86" y="282"/>
                </a:cubicBezTo>
                <a:cubicBezTo>
                  <a:pt x="137" y="282"/>
                  <a:pt x="137" y="282"/>
                  <a:pt x="137" y="282"/>
                </a:cubicBezTo>
                <a:lnTo>
                  <a:pt x="137" y="317"/>
                </a:lnTo>
                <a:close/>
                <a:moveTo>
                  <a:pt x="86" y="257"/>
                </a:moveTo>
                <a:cubicBezTo>
                  <a:pt x="86" y="222"/>
                  <a:pt x="86" y="222"/>
                  <a:pt x="86" y="222"/>
                </a:cubicBezTo>
                <a:cubicBezTo>
                  <a:pt x="137" y="222"/>
                  <a:pt x="137" y="222"/>
                  <a:pt x="137" y="222"/>
                </a:cubicBezTo>
                <a:cubicBezTo>
                  <a:pt x="137" y="257"/>
                  <a:pt x="137" y="257"/>
                  <a:pt x="137" y="257"/>
                </a:cubicBezTo>
                <a:lnTo>
                  <a:pt x="86" y="257"/>
                </a:lnTo>
                <a:close/>
                <a:moveTo>
                  <a:pt x="137" y="197"/>
                </a:moveTo>
                <a:cubicBezTo>
                  <a:pt x="86" y="197"/>
                  <a:pt x="86" y="197"/>
                  <a:pt x="86" y="197"/>
                </a:cubicBezTo>
                <a:cubicBezTo>
                  <a:pt x="86" y="163"/>
                  <a:pt x="86" y="163"/>
                  <a:pt x="86" y="163"/>
                </a:cubicBezTo>
                <a:cubicBezTo>
                  <a:pt x="137" y="163"/>
                  <a:pt x="137" y="163"/>
                  <a:pt x="137" y="163"/>
                </a:cubicBezTo>
                <a:lnTo>
                  <a:pt x="137" y="197"/>
                </a:lnTo>
                <a:close/>
                <a:moveTo>
                  <a:pt x="137" y="137"/>
                </a:moveTo>
                <a:cubicBezTo>
                  <a:pt x="86" y="137"/>
                  <a:pt x="86" y="137"/>
                  <a:pt x="86" y="137"/>
                </a:cubicBezTo>
                <a:cubicBezTo>
                  <a:pt x="86" y="103"/>
                  <a:pt x="86" y="103"/>
                  <a:pt x="86" y="103"/>
                </a:cubicBezTo>
                <a:cubicBezTo>
                  <a:pt x="137" y="103"/>
                  <a:pt x="137" y="103"/>
                  <a:pt x="137" y="103"/>
                </a:cubicBezTo>
                <a:lnTo>
                  <a:pt x="137" y="137"/>
                </a:lnTo>
                <a:close/>
                <a:moveTo>
                  <a:pt x="137" y="77"/>
                </a:moveTo>
                <a:cubicBezTo>
                  <a:pt x="86" y="77"/>
                  <a:pt x="86" y="77"/>
                  <a:pt x="86" y="77"/>
                </a:cubicBezTo>
                <a:cubicBezTo>
                  <a:pt x="86" y="43"/>
                  <a:pt x="86" y="43"/>
                  <a:pt x="86" y="43"/>
                </a:cubicBezTo>
                <a:cubicBezTo>
                  <a:pt x="137" y="43"/>
                  <a:pt x="137" y="43"/>
                  <a:pt x="137" y="43"/>
                </a:cubicBezTo>
                <a:lnTo>
                  <a:pt x="137" y="77"/>
                </a:lnTo>
                <a:close/>
                <a:moveTo>
                  <a:pt x="206" y="317"/>
                </a:moveTo>
                <a:cubicBezTo>
                  <a:pt x="154" y="317"/>
                  <a:pt x="154" y="317"/>
                  <a:pt x="154" y="317"/>
                </a:cubicBezTo>
                <a:cubicBezTo>
                  <a:pt x="154" y="282"/>
                  <a:pt x="154" y="282"/>
                  <a:pt x="154" y="282"/>
                </a:cubicBezTo>
                <a:cubicBezTo>
                  <a:pt x="206" y="282"/>
                  <a:pt x="206" y="282"/>
                  <a:pt x="206" y="282"/>
                </a:cubicBezTo>
                <a:lnTo>
                  <a:pt x="206" y="317"/>
                </a:lnTo>
                <a:close/>
                <a:moveTo>
                  <a:pt x="154" y="257"/>
                </a:moveTo>
                <a:cubicBezTo>
                  <a:pt x="154" y="222"/>
                  <a:pt x="154" y="222"/>
                  <a:pt x="154" y="222"/>
                </a:cubicBezTo>
                <a:cubicBezTo>
                  <a:pt x="206" y="222"/>
                  <a:pt x="206" y="222"/>
                  <a:pt x="206" y="222"/>
                </a:cubicBezTo>
                <a:cubicBezTo>
                  <a:pt x="206" y="257"/>
                  <a:pt x="206" y="257"/>
                  <a:pt x="206" y="257"/>
                </a:cubicBezTo>
                <a:lnTo>
                  <a:pt x="154" y="257"/>
                </a:lnTo>
                <a:close/>
                <a:moveTo>
                  <a:pt x="206" y="197"/>
                </a:moveTo>
                <a:cubicBezTo>
                  <a:pt x="154" y="197"/>
                  <a:pt x="154" y="197"/>
                  <a:pt x="154" y="197"/>
                </a:cubicBezTo>
                <a:cubicBezTo>
                  <a:pt x="154" y="163"/>
                  <a:pt x="154" y="163"/>
                  <a:pt x="154" y="163"/>
                </a:cubicBezTo>
                <a:cubicBezTo>
                  <a:pt x="206" y="163"/>
                  <a:pt x="206" y="163"/>
                  <a:pt x="206" y="163"/>
                </a:cubicBezTo>
                <a:lnTo>
                  <a:pt x="206" y="197"/>
                </a:lnTo>
                <a:close/>
                <a:moveTo>
                  <a:pt x="206" y="137"/>
                </a:moveTo>
                <a:cubicBezTo>
                  <a:pt x="154" y="137"/>
                  <a:pt x="154" y="137"/>
                  <a:pt x="154" y="137"/>
                </a:cubicBezTo>
                <a:cubicBezTo>
                  <a:pt x="154" y="103"/>
                  <a:pt x="154" y="103"/>
                  <a:pt x="154" y="103"/>
                </a:cubicBezTo>
                <a:cubicBezTo>
                  <a:pt x="206" y="103"/>
                  <a:pt x="206" y="103"/>
                  <a:pt x="206" y="103"/>
                </a:cubicBezTo>
                <a:lnTo>
                  <a:pt x="206" y="137"/>
                </a:lnTo>
                <a:close/>
                <a:moveTo>
                  <a:pt x="206" y="77"/>
                </a:moveTo>
                <a:cubicBezTo>
                  <a:pt x="154" y="77"/>
                  <a:pt x="154" y="77"/>
                  <a:pt x="154" y="77"/>
                </a:cubicBezTo>
                <a:cubicBezTo>
                  <a:pt x="154" y="43"/>
                  <a:pt x="154" y="43"/>
                  <a:pt x="154" y="43"/>
                </a:cubicBezTo>
                <a:cubicBezTo>
                  <a:pt x="206" y="43"/>
                  <a:pt x="206" y="43"/>
                  <a:pt x="206" y="43"/>
                </a:cubicBezTo>
                <a:lnTo>
                  <a:pt x="206" y="77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380" tIns="45690" rIns="91380" bIns="45690" numCol="1" anchor="t" anchorCtr="0" compatLnSpc="1">
            <a:prstTxWarp prst="textNoShape">
              <a:avLst/>
            </a:prstTxWarp>
          </a:bodyPr>
          <a:lstStyle/>
          <a:p>
            <a:pPr defTabSz="456915"/>
            <a:endParaRPr lang="en-US" dirty="0">
              <a:solidFill>
                <a:srgbClr val="676767"/>
              </a:solidFill>
              <a:ea typeface="ＭＳ Ｐゴシック" charset="0"/>
            </a:endParaRPr>
          </a:p>
        </p:txBody>
      </p:sp>
      <p:sp>
        <p:nvSpPr>
          <p:cNvPr id="100" name="Freeform 113"/>
          <p:cNvSpPr>
            <a:spLocks noEditPoints="1"/>
          </p:cNvSpPr>
          <p:nvPr/>
        </p:nvSpPr>
        <p:spPr bwMode="auto">
          <a:xfrm>
            <a:off x="6457221" y="2587471"/>
            <a:ext cx="347378" cy="639908"/>
          </a:xfrm>
          <a:custGeom>
            <a:avLst/>
            <a:gdLst/>
            <a:ahLst/>
            <a:cxnLst>
              <a:cxn ang="0">
                <a:pos x="9" y="0"/>
              </a:cxn>
              <a:cxn ang="0">
                <a:pos x="0" y="411"/>
              </a:cxn>
              <a:cxn ang="0">
                <a:pos x="77" y="341"/>
              </a:cxn>
              <a:cxn ang="0">
                <a:pos x="146" y="411"/>
              </a:cxn>
              <a:cxn ang="0">
                <a:pos x="223" y="9"/>
              </a:cxn>
              <a:cxn ang="0">
                <a:pos x="69" y="317"/>
              </a:cxn>
              <a:cxn ang="0">
                <a:pos x="18" y="282"/>
              </a:cxn>
              <a:cxn ang="0">
                <a:pos x="69" y="317"/>
              </a:cxn>
              <a:cxn ang="0">
                <a:pos x="18" y="222"/>
              </a:cxn>
              <a:cxn ang="0">
                <a:pos x="69" y="257"/>
              </a:cxn>
              <a:cxn ang="0">
                <a:pos x="69" y="197"/>
              </a:cxn>
              <a:cxn ang="0">
                <a:pos x="18" y="163"/>
              </a:cxn>
              <a:cxn ang="0">
                <a:pos x="69" y="197"/>
              </a:cxn>
              <a:cxn ang="0">
                <a:pos x="18" y="137"/>
              </a:cxn>
              <a:cxn ang="0">
                <a:pos x="69" y="103"/>
              </a:cxn>
              <a:cxn ang="0">
                <a:pos x="69" y="77"/>
              </a:cxn>
              <a:cxn ang="0">
                <a:pos x="18" y="43"/>
              </a:cxn>
              <a:cxn ang="0">
                <a:pos x="69" y="77"/>
              </a:cxn>
              <a:cxn ang="0">
                <a:pos x="86" y="317"/>
              </a:cxn>
              <a:cxn ang="0">
                <a:pos x="137" y="282"/>
              </a:cxn>
              <a:cxn ang="0">
                <a:pos x="86" y="257"/>
              </a:cxn>
              <a:cxn ang="0">
                <a:pos x="137" y="222"/>
              </a:cxn>
              <a:cxn ang="0">
                <a:pos x="86" y="257"/>
              </a:cxn>
              <a:cxn ang="0">
                <a:pos x="86" y="197"/>
              </a:cxn>
              <a:cxn ang="0">
                <a:pos x="137" y="163"/>
              </a:cxn>
              <a:cxn ang="0">
                <a:pos x="137" y="137"/>
              </a:cxn>
              <a:cxn ang="0">
                <a:pos x="86" y="103"/>
              </a:cxn>
              <a:cxn ang="0">
                <a:pos x="137" y="137"/>
              </a:cxn>
              <a:cxn ang="0">
                <a:pos x="86" y="77"/>
              </a:cxn>
              <a:cxn ang="0">
                <a:pos x="137" y="43"/>
              </a:cxn>
              <a:cxn ang="0">
                <a:pos x="206" y="317"/>
              </a:cxn>
              <a:cxn ang="0">
                <a:pos x="154" y="282"/>
              </a:cxn>
              <a:cxn ang="0">
                <a:pos x="206" y="317"/>
              </a:cxn>
              <a:cxn ang="0">
                <a:pos x="154" y="222"/>
              </a:cxn>
              <a:cxn ang="0">
                <a:pos x="206" y="257"/>
              </a:cxn>
              <a:cxn ang="0">
                <a:pos x="206" y="197"/>
              </a:cxn>
              <a:cxn ang="0">
                <a:pos x="154" y="163"/>
              </a:cxn>
              <a:cxn ang="0">
                <a:pos x="206" y="197"/>
              </a:cxn>
              <a:cxn ang="0">
                <a:pos x="154" y="137"/>
              </a:cxn>
              <a:cxn ang="0">
                <a:pos x="206" y="103"/>
              </a:cxn>
              <a:cxn ang="0">
                <a:pos x="206" y="77"/>
              </a:cxn>
              <a:cxn ang="0">
                <a:pos x="154" y="43"/>
              </a:cxn>
              <a:cxn ang="0">
                <a:pos x="206" y="77"/>
              </a:cxn>
            </a:cxnLst>
            <a:rect l="0" t="0" r="r" b="b"/>
            <a:pathLst>
              <a:path w="223" h="411">
                <a:moveTo>
                  <a:pt x="214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411"/>
                  <a:pt x="0" y="411"/>
                  <a:pt x="0" y="411"/>
                </a:cubicBezTo>
                <a:cubicBezTo>
                  <a:pt x="77" y="411"/>
                  <a:pt x="77" y="411"/>
                  <a:pt x="77" y="411"/>
                </a:cubicBezTo>
                <a:cubicBezTo>
                  <a:pt x="77" y="341"/>
                  <a:pt x="77" y="341"/>
                  <a:pt x="77" y="341"/>
                </a:cubicBezTo>
                <a:cubicBezTo>
                  <a:pt x="146" y="341"/>
                  <a:pt x="146" y="341"/>
                  <a:pt x="146" y="341"/>
                </a:cubicBezTo>
                <a:cubicBezTo>
                  <a:pt x="146" y="411"/>
                  <a:pt x="146" y="411"/>
                  <a:pt x="146" y="411"/>
                </a:cubicBezTo>
                <a:cubicBezTo>
                  <a:pt x="223" y="411"/>
                  <a:pt x="223" y="411"/>
                  <a:pt x="223" y="411"/>
                </a:cubicBezTo>
                <a:cubicBezTo>
                  <a:pt x="223" y="9"/>
                  <a:pt x="223" y="9"/>
                  <a:pt x="223" y="9"/>
                </a:cubicBezTo>
                <a:cubicBezTo>
                  <a:pt x="223" y="4"/>
                  <a:pt x="219" y="0"/>
                  <a:pt x="214" y="0"/>
                </a:cubicBezTo>
                <a:close/>
                <a:moveTo>
                  <a:pt x="69" y="317"/>
                </a:moveTo>
                <a:cubicBezTo>
                  <a:pt x="18" y="317"/>
                  <a:pt x="18" y="317"/>
                  <a:pt x="18" y="317"/>
                </a:cubicBezTo>
                <a:cubicBezTo>
                  <a:pt x="18" y="282"/>
                  <a:pt x="18" y="282"/>
                  <a:pt x="18" y="282"/>
                </a:cubicBezTo>
                <a:cubicBezTo>
                  <a:pt x="69" y="282"/>
                  <a:pt x="69" y="282"/>
                  <a:pt x="69" y="282"/>
                </a:cubicBezTo>
                <a:lnTo>
                  <a:pt x="69" y="317"/>
                </a:lnTo>
                <a:close/>
                <a:moveTo>
                  <a:pt x="18" y="257"/>
                </a:moveTo>
                <a:cubicBezTo>
                  <a:pt x="18" y="222"/>
                  <a:pt x="18" y="222"/>
                  <a:pt x="18" y="222"/>
                </a:cubicBezTo>
                <a:cubicBezTo>
                  <a:pt x="69" y="222"/>
                  <a:pt x="69" y="222"/>
                  <a:pt x="69" y="222"/>
                </a:cubicBezTo>
                <a:cubicBezTo>
                  <a:pt x="69" y="257"/>
                  <a:pt x="69" y="257"/>
                  <a:pt x="69" y="257"/>
                </a:cubicBezTo>
                <a:lnTo>
                  <a:pt x="18" y="257"/>
                </a:lnTo>
                <a:close/>
                <a:moveTo>
                  <a:pt x="69" y="197"/>
                </a:moveTo>
                <a:cubicBezTo>
                  <a:pt x="18" y="197"/>
                  <a:pt x="18" y="197"/>
                  <a:pt x="18" y="197"/>
                </a:cubicBezTo>
                <a:cubicBezTo>
                  <a:pt x="18" y="163"/>
                  <a:pt x="18" y="163"/>
                  <a:pt x="18" y="163"/>
                </a:cubicBezTo>
                <a:cubicBezTo>
                  <a:pt x="69" y="163"/>
                  <a:pt x="69" y="163"/>
                  <a:pt x="69" y="163"/>
                </a:cubicBezTo>
                <a:lnTo>
                  <a:pt x="69" y="197"/>
                </a:lnTo>
                <a:close/>
                <a:moveTo>
                  <a:pt x="69" y="137"/>
                </a:moveTo>
                <a:cubicBezTo>
                  <a:pt x="18" y="137"/>
                  <a:pt x="18" y="137"/>
                  <a:pt x="18" y="137"/>
                </a:cubicBezTo>
                <a:cubicBezTo>
                  <a:pt x="18" y="103"/>
                  <a:pt x="18" y="103"/>
                  <a:pt x="18" y="103"/>
                </a:cubicBezTo>
                <a:cubicBezTo>
                  <a:pt x="69" y="103"/>
                  <a:pt x="69" y="103"/>
                  <a:pt x="69" y="103"/>
                </a:cubicBezTo>
                <a:lnTo>
                  <a:pt x="69" y="137"/>
                </a:lnTo>
                <a:close/>
                <a:moveTo>
                  <a:pt x="69" y="77"/>
                </a:moveTo>
                <a:cubicBezTo>
                  <a:pt x="18" y="77"/>
                  <a:pt x="18" y="77"/>
                  <a:pt x="18" y="77"/>
                </a:cubicBezTo>
                <a:cubicBezTo>
                  <a:pt x="18" y="43"/>
                  <a:pt x="18" y="43"/>
                  <a:pt x="18" y="43"/>
                </a:cubicBezTo>
                <a:cubicBezTo>
                  <a:pt x="69" y="43"/>
                  <a:pt x="69" y="43"/>
                  <a:pt x="69" y="43"/>
                </a:cubicBezTo>
                <a:lnTo>
                  <a:pt x="69" y="77"/>
                </a:lnTo>
                <a:close/>
                <a:moveTo>
                  <a:pt x="137" y="317"/>
                </a:moveTo>
                <a:cubicBezTo>
                  <a:pt x="86" y="317"/>
                  <a:pt x="86" y="317"/>
                  <a:pt x="86" y="317"/>
                </a:cubicBezTo>
                <a:cubicBezTo>
                  <a:pt x="86" y="282"/>
                  <a:pt x="86" y="282"/>
                  <a:pt x="86" y="282"/>
                </a:cubicBezTo>
                <a:cubicBezTo>
                  <a:pt x="137" y="282"/>
                  <a:pt x="137" y="282"/>
                  <a:pt x="137" y="282"/>
                </a:cubicBezTo>
                <a:lnTo>
                  <a:pt x="137" y="317"/>
                </a:lnTo>
                <a:close/>
                <a:moveTo>
                  <a:pt x="86" y="257"/>
                </a:moveTo>
                <a:cubicBezTo>
                  <a:pt x="86" y="222"/>
                  <a:pt x="86" y="222"/>
                  <a:pt x="86" y="222"/>
                </a:cubicBezTo>
                <a:cubicBezTo>
                  <a:pt x="137" y="222"/>
                  <a:pt x="137" y="222"/>
                  <a:pt x="137" y="222"/>
                </a:cubicBezTo>
                <a:cubicBezTo>
                  <a:pt x="137" y="257"/>
                  <a:pt x="137" y="257"/>
                  <a:pt x="137" y="257"/>
                </a:cubicBezTo>
                <a:lnTo>
                  <a:pt x="86" y="257"/>
                </a:lnTo>
                <a:close/>
                <a:moveTo>
                  <a:pt x="137" y="197"/>
                </a:moveTo>
                <a:cubicBezTo>
                  <a:pt x="86" y="197"/>
                  <a:pt x="86" y="197"/>
                  <a:pt x="86" y="197"/>
                </a:cubicBezTo>
                <a:cubicBezTo>
                  <a:pt x="86" y="163"/>
                  <a:pt x="86" y="163"/>
                  <a:pt x="86" y="163"/>
                </a:cubicBezTo>
                <a:cubicBezTo>
                  <a:pt x="137" y="163"/>
                  <a:pt x="137" y="163"/>
                  <a:pt x="137" y="163"/>
                </a:cubicBezTo>
                <a:lnTo>
                  <a:pt x="137" y="197"/>
                </a:lnTo>
                <a:close/>
                <a:moveTo>
                  <a:pt x="137" y="137"/>
                </a:moveTo>
                <a:cubicBezTo>
                  <a:pt x="86" y="137"/>
                  <a:pt x="86" y="137"/>
                  <a:pt x="86" y="137"/>
                </a:cubicBezTo>
                <a:cubicBezTo>
                  <a:pt x="86" y="103"/>
                  <a:pt x="86" y="103"/>
                  <a:pt x="86" y="103"/>
                </a:cubicBezTo>
                <a:cubicBezTo>
                  <a:pt x="137" y="103"/>
                  <a:pt x="137" y="103"/>
                  <a:pt x="137" y="103"/>
                </a:cubicBezTo>
                <a:lnTo>
                  <a:pt x="137" y="137"/>
                </a:lnTo>
                <a:close/>
                <a:moveTo>
                  <a:pt x="137" y="77"/>
                </a:moveTo>
                <a:cubicBezTo>
                  <a:pt x="86" y="77"/>
                  <a:pt x="86" y="77"/>
                  <a:pt x="86" y="77"/>
                </a:cubicBezTo>
                <a:cubicBezTo>
                  <a:pt x="86" y="43"/>
                  <a:pt x="86" y="43"/>
                  <a:pt x="86" y="43"/>
                </a:cubicBezTo>
                <a:cubicBezTo>
                  <a:pt x="137" y="43"/>
                  <a:pt x="137" y="43"/>
                  <a:pt x="137" y="43"/>
                </a:cubicBezTo>
                <a:lnTo>
                  <a:pt x="137" y="77"/>
                </a:lnTo>
                <a:close/>
                <a:moveTo>
                  <a:pt x="206" y="317"/>
                </a:moveTo>
                <a:cubicBezTo>
                  <a:pt x="154" y="317"/>
                  <a:pt x="154" y="317"/>
                  <a:pt x="154" y="317"/>
                </a:cubicBezTo>
                <a:cubicBezTo>
                  <a:pt x="154" y="282"/>
                  <a:pt x="154" y="282"/>
                  <a:pt x="154" y="282"/>
                </a:cubicBezTo>
                <a:cubicBezTo>
                  <a:pt x="206" y="282"/>
                  <a:pt x="206" y="282"/>
                  <a:pt x="206" y="282"/>
                </a:cubicBezTo>
                <a:lnTo>
                  <a:pt x="206" y="317"/>
                </a:lnTo>
                <a:close/>
                <a:moveTo>
                  <a:pt x="154" y="257"/>
                </a:moveTo>
                <a:cubicBezTo>
                  <a:pt x="154" y="222"/>
                  <a:pt x="154" y="222"/>
                  <a:pt x="154" y="222"/>
                </a:cubicBezTo>
                <a:cubicBezTo>
                  <a:pt x="206" y="222"/>
                  <a:pt x="206" y="222"/>
                  <a:pt x="206" y="222"/>
                </a:cubicBezTo>
                <a:cubicBezTo>
                  <a:pt x="206" y="257"/>
                  <a:pt x="206" y="257"/>
                  <a:pt x="206" y="257"/>
                </a:cubicBezTo>
                <a:lnTo>
                  <a:pt x="154" y="257"/>
                </a:lnTo>
                <a:close/>
                <a:moveTo>
                  <a:pt x="206" y="197"/>
                </a:moveTo>
                <a:cubicBezTo>
                  <a:pt x="154" y="197"/>
                  <a:pt x="154" y="197"/>
                  <a:pt x="154" y="197"/>
                </a:cubicBezTo>
                <a:cubicBezTo>
                  <a:pt x="154" y="163"/>
                  <a:pt x="154" y="163"/>
                  <a:pt x="154" y="163"/>
                </a:cubicBezTo>
                <a:cubicBezTo>
                  <a:pt x="206" y="163"/>
                  <a:pt x="206" y="163"/>
                  <a:pt x="206" y="163"/>
                </a:cubicBezTo>
                <a:lnTo>
                  <a:pt x="206" y="197"/>
                </a:lnTo>
                <a:close/>
                <a:moveTo>
                  <a:pt x="206" y="137"/>
                </a:moveTo>
                <a:cubicBezTo>
                  <a:pt x="154" y="137"/>
                  <a:pt x="154" y="137"/>
                  <a:pt x="154" y="137"/>
                </a:cubicBezTo>
                <a:cubicBezTo>
                  <a:pt x="154" y="103"/>
                  <a:pt x="154" y="103"/>
                  <a:pt x="154" y="103"/>
                </a:cubicBezTo>
                <a:cubicBezTo>
                  <a:pt x="206" y="103"/>
                  <a:pt x="206" y="103"/>
                  <a:pt x="206" y="103"/>
                </a:cubicBezTo>
                <a:lnTo>
                  <a:pt x="206" y="137"/>
                </a:lnTo>
                <a:close/>
                <a:moveTo>
                  <a:pt x="206" y="77"/>
                </a:moveTo>
                <a:cubicBezTo>
                  <a:pt x="154" y="77"/>
                  <a:pt x="154" y="77"/>
                  <a:pt x="154" y="77"/>
                </a:cubicBezTo>
                <a:cubicBezTo>
                  <a:pt x="154" y="43"/>
                  <a:pt x="154" y="43"/>
                  <a:pt x="154" y="43"/>
                </a:cubicBezTo>
                <a:cubicBezTo>
                  <a:pt x="206" y="43"/>
                  <a:pt x="206" y="43"/>
                  <a:pt x="206" y="43"/>
                </a:cubicBezTo>
                <a:lnTo>
                  <a:pt x="206" y="77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380" tIns="45690" rIns="91380" bIns="45690" numCol="1" anchor="t" anchorCtr="0" compatLnSpc="1">
            <a:prstTxWarp prst="textNoShape">
              <a:avLst/>
            </a:prstTxWarp>
          </a:bodyPr>
          <a:lstStyle/>
          <a:p>
            <a:pPr defTabSz="456915"/>
            <a:endParaRPr lang="en-US" dirty="0">
              <a:solidFill>
                <a:srgbClr val="676767"/>
              </a:solidFill>
              <a:ea typeface="ＭＳ Ｐゴシック" charset="0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1437029" y="1521424"/>
            <a:ext cx="1266495" cy="2041313"/>
            <a:chOff x="1382420" y="5299546"/>
            <a:chExt cx="1266825" cy="2041844"/>
          </a:xfrm>
        </p:grpSpPr>
        <p:pic>
          <p:nvPicPr>
            <p:cNvPr id="113" name="Picture 3"/>
            <p:cNvPicPr>
              <a:picLocks noChangeAspect="1" noChangeArrowheads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9801" t="15920" r="9601" b="15764"/>
            <a:stretch/>
          </p:blipFill>
          <p:spPr bwMode="auto">
            <a:xfrm>
              <a:off x="1695450" y="5643563"/>
              <a:ext cx="766764" cy="12192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</p:pic>
        <p:pic>
          <p:nvPicPr>
            <p:cNvPr id="80" name="Picture 2" descr="C:\Users\jacob.DUARTE\Desktop\resources\Devices\iphone6.png"/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045" r="24045"/>
            <a:stretch/>
          </p:blipFill>
          <p:spPr bwMode="auto">
            <a:xfrm>
              <a:off x="1382420" y="5299546"/>
              <a:ext cx="1266825" cy="20418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" name="Group 16"/>
          <p:cNvGrpSpPr/>
          <p:nvPr/>
        </p:nvGrpSpPr>
        <p:grpSpPr>
          <a:xfrm>
            <a:off x="4365286" y="1521424"/>
            <a:ext cx="1266495" cy="2041313"/>
            <a:chOff x="4427984" y="5299546"/>
            <a:chExt cx="1266825" cy="2041844"/>
          </a:xfrm>
        </p:grpSpPr>
        <p:grpSp>
          <p:nvGrpSpPr>
            <p:cNvPr id="13" name="Group 12"/>
            <p:cNvGrpSpPr/>
            <p:nvPr/>
          </p:nvGrpSpPr>
          <p:grpSpPr>
            <a:xfrm>
              <a:off x="4746012" y="5746877"/>
              <a:ext cx="763144" cy="1106718"/>
              <a:chOff x="4991112" y="2268383"/>
              <a:chExt cx="704307" cy="1021393"/>
            </a:xfrm>
          </p:grpSpPr>
          <p:pic>
            <p:nvPicPr>
              <p:cNvPr id="79" name="Picture 3"/>
              <p:cNvPicPr>
                <a:picLocks noChangeAspect="1" noChangeArrowheads="1"/>
              </p:cNvPicPr>
              <p:nvPr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12661"/>
              <a:stretch/>
            </p:blipFill>
            <p:spPr bwMode="auto">
              <a:xfrm>
                <a:off x="4992132" y="2268383"/>
                <a:ext cx="703287" cy="10106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" name="Rectangle 5"/>
              <p:cNvSpPr/>
              <p:nvPr/>
            </p:nvSpPr>
            <p:spPr>
              <a:xfrm>
                <a:off x="4991112" y="3244057"/>
                <a:ext cx="703287" cy="45719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6915"/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  <p:pic>
          <p:nvPicPr>
            <p:cNvPr id="117" name="Picture 2" descr="C:\Users\jacob.DUARTE\Desktop\resources\Devices\iphone6.png"/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045" r="24045"/>
            <a:stretch/>
          </p:blipFill>
          <p:spPr bwMode="auto">
            <a:xfrm>
              <a:off x="4427984" y="5299546"/>
              <a:ext cx="1266825" cy="20418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" name="Group 15"/>
          <p:cNvGrpSpPr/>
          <p:nvPr/>
        </p:nvGrpSpPr>
        <p:grpSpPr>
          <a:xfrm>
            <a:off x="7266003" y="1521424"/>
            <a:ext cx="1266495" cy="2041313"/>
            <a:chOff x="7320493" y="5299546"/>
            <a:chExt cx="1266825" cy="2041844"/>
          </a:xfrm>
        </p:grpSpPr>
        <p:sp>
          <p:nvSpPr>
            <p:cNvPr id="2" name="Rectangle 1"/>
            <p:cNvSpPr/>
            <p:nvPr/>
          </p:nvSpPr>
          <p:spPr>
            <a:xfrm>
              <a:off x="7600949" y="5643563"/>
              <a:ext cx="813816" cy="12573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pic>
          <p:nvPicPr>
            <p:cNvPr id="118" name="Picture 3"/>
            <p:cNvPicPr>
              <a:picLocks noChangeAspect="1" noChangeArrowheads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1013" t="16037" r="9904" b="18503"/>
            <a:stretch/>
          </p:blipFill>
          <p:spPr bwMode="auto">
            <a:xfrm>
              <a:off x="7643813" y="5700712"/>
              <a:ext cx="733425" cy="1143001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</p:pic>
        <p:pic>
          <p:nvPicPr>
            <p:cNvPr id="122" name="Picture 2" descr="C:\Users\jacob.DUARTE\Desktop\resources\Devices\iphone6.png"/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045" r="24045"/>
            <a:stretch/>
          </p:blipFill>
          <p:spPr bwMode="auto">
            <a:xfrm>
              <a:off x="7320493" y="5299546"/>
              <a:ext cx="1266825" cy="20418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1" name="Rectangle 70"/>
          <p:cNvSpPr/>
          <p:nvPr/>
        </p:nvSpPr>
        <p:spPr>
          <a:xfrm>
            <a:off x="3424989" y="4632847"/>
            <a:ext cx="996088" cy="300074"/>
          </a:xfrm>
          <a:prstGeom prst="rect">
            <a:avLst/>
          </a:prstGeom>
        </p:spPr>
        <p:txBody>
          <a:bodyPr wrap="none" lIns="68571" tIns="34286" rIns="68571" bIns="34286" anchor="ctr">
            <a:spAutoFit/>
          </a:bodyPr>
          <a:lstStyle/>
          <a:p>
            <a:pPr>
              <a:spcBef>
                <a:spcPts val="400"/>
              </a:spcBef>
            </a:pPr>
            <a:r>
              <a:rPr lang="en-US" sz="1500" b="1" dirty="0">
                <a:solidFill>
                  <a:schemeClr val="bg1"/>
                </a:solidFill>
                <a:latin typeface="+mj-lt"/>
              </a:rPr>
              <a:t>Presence</a:t>
            </a:r>
          </a:p>
        </p:txBody>
      </p:sp>
      <p:sp>
        <p:nvSpPr>
          <p:cNvPr id="75" name="Rectangle 74"/>
          <p:cNvSpPr/>
          <p:nvPr/>
        </p:nvSpPr>
        <p:spPr>
          <a:xfrm>
            <a:off x="5191505" y="4632847"/>
            <a:ext cx="938380" cy="300074"/>
          </a:xfrm>
          <a:prstGeom prst="rect">
            <a:avLst/>
          </a:prstGeom>
        </p:spPr>
        <p:txBody>
          <a:bodyPr wrap="none" lIns="68571" tIns="34286" rIns="68571" bIns="34286" anchor="ctr">
            <a:spAutoFit/>
          </a:bodyPr>
          <a:lstStyle/>
          <a:p>
            <a:pPr>
              <a:spcBef>
                <a:spcPts val="400"/>
              </a:spcBef>
            </a:pPr>
            <a:r>
              <a:rPr lang="en-US" sz="1500" b="1" dirty="0">
                <a:solidFill>
                  <a:schemeClr val="bg1"/>
                </a:solidFill>
                <a:latin typeface="+mj-lt"/>
              </a:rPr>
              <a:t>Location</a:t>
            </a:r>
          </a:p>
        </p:txBody>
      </p:sp>
      <p:sp>
        <p:nvSpPr>
          <p:cNvPr id="76" name="Rectangle 75"/>
          <p:cNvSpPr/>
          <p:nvPr/>
        </p:nvSpPr>
        <p:spPr>
          <a:xfrm>
            <a:off x="6903919" y="4632847"/>
            <a:ext cx="704342" cy="300074"/>
          </a:xfrm>
          <a:prstGeom prst="rect">
            <a:avLst/>
          </a:prstGeom>
        </p:spPr>
        <p:txBody>
          <a:bodyPr wrap="none" lIns="68571" tIns="34286" rIns="68571" bIns="34286" anchor="ctr">
            <a:spAutoFit/>
          </a:bodyPr>
          <a:lstStyle/>
          <a:p>
            <a:pPr>
              <a:spcBef>
                <a:spcPts val="400"/>
              </a:spcBef>
            </a:pPr>
            <a:r>
              <a:rPr lang="en-US" sz="1500" b="1" dirty="0">
                <a:solidFill>
                  <a:schemeClr val="bg1"/>
                </a:solidFill>
                <a:latin typeface="+mj-lt"/>
              </a:rPr>
              <a:t>Social</a:t>
            </a:r>
          </a:p>
        </p:txBody>
      </p:sp>
      <p:sp>
        <p:nvSpPr>
          <p:cNvPr id="90" name="Freeform 113"/>
          <p:cNvSpPr>
            <a:spLocks noEditPoints="1"/>
          </p:cNvSpPr>
          <p:nvPr/>
        </p:nvSpPr>
        <p:spPr bwMode="auto">
          <a:xfrm>
            <a:off x="634809" y="2587471"/>
            <a:ext cx="347378" cy="639908"/>
          </a:xfrm>
          <a:custGeom>
            <a:avLst/>
            <a:gdLst/>
            <a:ahLst/>
            <a:cxnLst>
              <a:cxn ang="0">
                <a:pos x="9" y="0"/>
              </a:cxn>
              <a:cxn ang="0">
                <a:pos x="0" y="411"/>
              </a:cxn>
              <a:cxn ang="0">
                <a:pos x="77" y="341"/>
              </a:cxn>
              <a:cxn ang="0">
                <a:pos x="146" y="411"/>
              </a:cxn>
              <a:cxn ang="0">
                <a:pos x="223" y="9"/>
              </a:cxn>
              <a:cxn ang="0">
                <a:pos x="69" y="317"/>
              </a:cxn>
              <a:cxn ang="0">
                <a:pos x="18" y="282"/>
              </a:cxn>
              <a:cxn ang="0">
                <a:pos x="69" y="317"/>
              </a:cxn>
              <a:cxn ang="0">
                <a:pos x="18" y="222"/>
              </a:cxn>
              <a:cxn ang="0">
                <a:pos x="69" y="257"/>
              </a:cxn>
              <a:cxn ang="0">
                <a:pos x="69" y="197"/>
              </a:cxn>
              <a:cxn ang="0">
                <a:pos x="18" y="163"/>
              </a:cxn>
              <a:cxn ang="0">
                <a:pos x="69" y="197"/>
              </a:cxn>
              <a:cxn ang="0">
                <a:pos x="18" y="137"/>
              </a:cxn>
              <a:cxn ang="0">
                <a:pos x="69" y="103"/>
              </a:cxn>
              <a:cxn ang="0">
                <a:pos x="69" y="77"/>
              </a:cxn>
              <a:cxn ang="0">
                <a:pos x="18" y="43"/>
              </a:cxn>
              <a:cxn ang="0">
                <a:pos x="69" y="77"/>
              </a:cxn>
              <a:cxn ang="0">
                <a:pos x="86" y="317"/>
              </a:cxn>
              <a:cxn ang="0">
                <a:pos x="137" y="282"/>
              </a:cxn>
              <a:cxn ang="0">
                <a:pos x="86" y="257"/>
              </a:cxn>
              <a:cxn ang="0">
                <a:pos x="137" y="222"/>
              </a:cxn>
              <a:cxn ang="0">
                <a:pos x="86" y="257"/>
              </a:cxn>
              <a:cxn ang="0">
                <a:pos x="86" y="197"/>
              </a:cxn>
              <a:cxn ang="0">
                <a:pos x="137" y="163"/>
              </a:cxn>
              <a:cxn ang="0">
                <a:pos x="137" y="137"/>
              </a:cxn>
              <a:cxn ang="0">
                <a:pos x="86" y="103"/>
              </a:cxn>
              <a:cxn ang="0">
                <a:pos x="137" y="137"/>
              </a:cxn>
              <a:cxn ang="0">
                <a:pos x="86" y="77"/>
              </a:cxn>
              <a:cxn ang="0">
                <a:pos x="137" y="43"/>
              </a:cxn>
              <a:cxn ang="0">
                <a:pos x="206" y="317"/>
              </a:cxn>
              <a:cxn ang="0">
                <a:pos x="154" y="282"/>
              </a:cxn>
              <a:cxn ang="0">
                <a:pos x="206" y="317"/>
              </a:cxn>
              <a:cxn ang="0">
                <a:pos x="154" y="222"/>
              </a:cxn>
              <a:cxn ang="0">
                <a:pos x="206" y="257"/>
              </a:cxn>
              <a:cxn ang="0">
                <a:pos x="206" y="197"/>
              </a:cxn>
              <a:cxn ang="0">
                <a:pos x="154" y="163"/>
              </a:cxn>
              <a:cxn ang="0">
                <a:pos x="206" y="197"/>
              </a:cxn>
              <a:cxn ang="0">
                <a:pos x="154" y="137"/>
              </a:cxn>
              <a:cxn ang="0">
                <a:pos x="206" y="103"/>
              </a:cxn>
              <a:cxn ang="0">
                <a:pos x="206" y="77"/>
              </a:cxn>
              <a:cxn ang="0">
                <a:pos x="154" y="43"/>
              </a:cxn>
              <a:cxn ang="0">
                <a:pos x="206" y="77"/>
              </a:cxn>
            </a:cxnLst>
            <a:rect l="0" t="0" r="r" b="b"/>
            <a:pathLst>
              <a:path w="223" h="411">
                <a:moveTo>
                  <a:pt x="214" y="0"/>
                </a:moveTo>
                <a:cubicBezTo>
                  <a:pt x="9" y="0"/>
                  <a:pt x="9" y="0"/>
                  <a:pt x="9" y="0"/>
                </a:cubicBezTo>
                <a:cubicBezTo>
                  <a:pt x="4" y="0"/>
                  <a:pt x="0" y="4"/>
                  <a:pt x="0" y="9"/>
                </a:cubicBezTo>
                <a:cubicBezTo>
                  <a:pt x="0" y="411"/>
                  <a:pt x="0" y="411"/>
                  <a:pt x="0" y="411"/>
                </a:cubicBezTo>
                <a:cubicBezTo>
                  <a:pt x="77" y="411"/>
                  <a:pt x="77" y="411"/>
                  <a:pt x="77" y="411"/>
                </a:cubicBezTo>
                <a:cubicBezTo>
                  <a:pt x="77" y="341"/>
                  <a:pt x="77" y="341"/>
                  <a:pt x="77" y="341"/>
                </a:cubicBezTo>
                <a:cubicBezTo>
                  <a:pt x="146" y="341"/>
                  <a:pt x="146" y="341"/>
                  <a:pt x="146" y="341"/>
                </a:cubicBezTo>
                <a:cubicBezTo>
                  <a:pt x="146" y="411"/>
                  <a:pt x="146" y="411"/>
                  <a:pt x="146" y="411"/>
                </a:cubicBezTo>
                <a:cubicBezTo>
                  <a:pt x="223" y="411"/>
                  <a:pt x="223" y="411"/>
                  <a:pt x="223" y="411"/>
                </a:cubicBezTo>
                <a:cubicBezTo>
                  <a:pt x="223" y="9"/>
                  <a:pt x="223" y="9"/>
                  <a:pt x="223" y="9"/>
                </a:cubicBezTo>
                <a:cubicBezTo>
                  <a:pt x="223" y="4"/>
                  <a:pt x="219" y="0"/>
                  <a:pt x="214" y="0"/>
                </a:cubicBezTo>
                <a:close/>
                <a:moveTo>
                  <a:pt x="69" y="317"/>
                </a:moveTo>
                <a:cubicBezTo>
                  <a:pt x="18" y="317"/>
                  <a:pt x="18" y="317"/>
                  <a:pt x="18" y="317"/>
                </a:cubicBezTo>
                <a:cubicBezTo>
                  <a:pt x="18" y="282"/>
                  <a:pt x="18" y="282"/>
                  <a:pt x="18" y="282"/>
                </a:cubicBezTo>
                <a:cubicBezTo>
                  <a:pt x="69" y="282"/>
                  <a:pt x="69" y="282"/>
                  <a:pt x="69" y="282"/>
                </a:cubicBezTo>
                <a:lnTo>
                  <a:pt x="69" y="317"/>
                </a:lnTo>
                <a:close/>
                <a:moveTo>
                  <a:pt x="18" y="257"/>
                </a:moveTo>
                <a:cubicBezTo>
                  <a:pt x="18" y="222"/>
                  <a:pt x="18" y="222"/>
                  <a:pt x="18" y="222"/>
                </a:cubicBezTo>
                <a:cubicBezTo>
                  <a:pt x="69" y="222"/>
                  <a:pt x="69" y="222"/>
                  <a:pt x="69" y="222"/>
                </a:cubicBezTo>
                <a:cubicBezTo>
                  <a:pt x="69" y="257"/>
                  <a:pt x="69" y="257"/>
                  <a:pt x="69" y="257"/>
                </a:cubicBezTo>
                <a:lnTo>
                  <a:pt x="18" y="257"/>
                </a:lnTo>
                <a:close/>
                <a:moveTo>
                  <a:pt x="69" y="197"/>
                </a:moveTo>
                <a:cubicBezTo>
                  <a:pt x="18" y="197"/>
                  <a:pt x="18" y="197"/>
                  <a:pt x="18" y="197"/>
                </a:cubicBezTo>
                <a:cubicBezTo>
                  <a:pt x="18" y="163"/>
                  <a:pt x="18" y="163"/>
                  <a:pt x="18" y="163"/>
                </a:cubicBezTo>
                <a:cubicBezTo>
                  <a:pt x="69" y="163"/>
                  <a:pt x="69" y="163"/>
                  <a:pt x="69" y="163"/>
                </a:cubicBezTo>
                <a:lnTo>
                  <a:pt x="69" y="197"/>
                </a:lnTo>
                <a:close/>
                <a:moveTo>
                  <a:pt x="69" y="137"/>
                </a:moveTo>
                <a:cubicBezTo>
                  <a:pt x="18" y="137"/>
                  <a:pt x="18" y="137"/>
                  <a:pt x="18" y="137"/>
                </a:cubicBezTo>
                <a:cubicBezTo>
                  <a:pt x="18" y="103"/>
                  <a:pt x="18" y="103"/>
                  <a:pt x="18" y="103"/>
                </a:cubicBezTo>
                <a:cubicBezTo>
                  <a:pt x="69" y="103"/>
                  <a:pt x="69" y="103"/>
                  <a:pt x="69" y="103"/>
                </a:cubicBezTo>
                <a:lnTo>
                  <a:pt x="69" y="137"/>
                </a:lnTo>
                <a:close/>
                <a:moveTo>
                  <a:pt x="69" y="77"/>
                </a:moveTo>
                <a:cubicBezTo>
                  <a:pt x="18" y="77"/>
                  <a:pt x="18" y="77"/>
                  <a:pt x="18" y="77"/>
                </a:cubicBezTo>
                <a:cubicBezTo>
                  <a:pt x="18" y="43"/>
                  <a:pt x="18" y="43"/>
                  <a:pt x="18" y="43"/>
                </a:cubicBezTo>
                <a:cubicBezTo>
                  <a:pt x="69" y="43"/>
                  <a:pt x="69" y="43"/>
                  <a:pt x="69" y="43"/>
                </a:cubicBezTo>
                <a:lnTo>
                  <a:pt x="69" y="77"/>
                </a:lnTo>
                <a:close/>
                <a:moveTo>
                  <a:pt x="137" y="317"/>
                </a:moveTo>
                <a:cubicBezTo>
                  <a:pt x="86" y="317"/>
                  <a:pt x="86" y="317"/>
                  <a:pt x="86" y="317"/>
                </a:cubicBezTo>
                <a:cubicBezTo>
                  <a:pt x="86" y="282"/>
                  <a:pt x="86" y="282"/>
                  <a:pt x="86" y="282"/>
                </a:cubicBezTo>
                <a:cubicBezTo>
                  <a:pt x="137" y="282"/>
                  <a:pt x="137" y="282"/>
                  <a:pt x="137" y="282"/>
                </a:cubicBezTo>
                <a:lnTo>
                  <a:pt x="137" y="317"/>
                </a:lnTo>
                <a:close/>
                <a:moveTo>
                  <a:pt x="86" y="257"/>
                </a:moveTo>
                <a:cubicBezTo>
                  <a:pt x="86" y="222"/>
                  <a:pt x="86" y="222"/>
                  <a:pt x="86" y="222"/>
                </a:cubicBezTo>
                <a:cubicBezTo>
                  <a:pt x="137" y="222"/>
                  <a:pt x="137" y="222"/>
                  <a:pt x="137" y="222"/>
                </a:cubicBezTo>
                <a:cubicBezTo>
                  <a:pt x="137" y="257"/>
                  <a:pt x="137" y="257"/>
                  <a:pt x="137" y="257"/>
                </a:cubicBezTo>
                <a:lnTo>
                  <a:pt x="86" y="257"/>
                </a:lnTo>
                <a:close/>
                <a:moveTo>
                  <a:pt x="137" y="197"/>
                </a:moveTo>
                <a:cubicBezTo>
                  <a:pt x="86" y="197"/>
                  <a:pt x="86" y="197"/>
                  <a:pt x="86" y="197"/>
                </a:cubicBezTo>
                <a:cubicBezTo>
                  <a:pt x="86" y="163"/>
                  <a:pt x="86" y="163"/>
                  <a:pt x="86" y="163"/>
                </a:cubicBezTo>
                <a:cubicBezTo>
                  <a:pt x="137" y="163"/>
                  <a:pt x="137" y="163"/>
                  <a:pt x="137" y="163"/>
                </a:cubicBezTo>
                <a:lnTo>
                  <a:pt x="137" y="197"/>
                </a:lnTo>
                <a:close/>
                <a:moveTo>
                  <a:pt x="137" y="137"/>
                </a:moveTo>
                <a:cubicBezTo>
                  <a:pt x="86" y="137"/>
                  <a:pt x="86" y="137"/>
                  <a:pt x="86" y="137"/>
                </a:cubicBezTo>
                <a:cubicBezTo>
                  <a:pt x="86" y="103"/>
                  <a:pt x="86" y="103"/>
                  <a:pt x="86" y="103"/>
                </a:cubicBezTo>
                <a:cubicBezTo>
                  <a:pt x="137" y="103"/>
                  <a:pt x="137" y="103"/>
                  <a:pt x="137" y="103"/>
                </a:cubicBezTo>
                <a:lnTo>
                  <a:pt x="137" y="137"/>
                </a:lnTo>
                <a:close/>
                <a:moveTo>
                  <a:pt x="137" y="77"/>
                </a:moveTo>
                <a:cubicBezTo>
                  <a:pt x="86" y="77"/>
                  <a:pt x="86" y="77"/>
                  <a:pt x="86" y="77"/>
                </a:cubicBezTo>
                <a:cubicBezTo>
                  <a:pt x="86" y="43"/>
                  <a:pt x="86" y="43"/>
                  <a:pt x="86" y="43"/>
                </a:cubicBezTo>
                <a:cubicBezTo>
                  <a:pt x="137" y="43"/>
                  <a:pt x="137" y="43"/>
                  <a:pt x="137" y="43"/>
                </a:cubicBezTo>
                <a:lnTo>
                  <a:pt x="137" y="77"/>
                </a:lnTo>
                <a:close/>
                <a:moveTo>
                  <a:pt x="206" y="317"/>
                </a:moveTo>
                <a:cubicBezTo>
                  <a:pt x="154" y="317"/>
                  <a:pt x="154" y="317"/>
                  <a:pt x="154" y="317"/>
                </a:cubicBezTo>
                <a:cubicBezTo>
                  <a:pt x="154" y="282"/>
                  <a:pt x="154" y="282"/>
                  <a:pt x="154" y="282"/>
                </a:cubicBezTo>
                <a:cubicBezTo>
                  <a:pt x="206" y="282"/>
                  <a:pt x="206" y="282"/>
                  <a:pt x="206" y="282"/>
                </a:cubicBezTo>
                <a:lnTo>
                  <a:pt x="206" y="317"/>
                </a:lnTo>
                <a:close/>
                <a:moveTo>
                  <a:pt x="154" y="257"/>
                </a:moveTo>
                <a:cubicBezTo>
                  <a:pt x="154" y="222"/>
                  <a:pt x="154" y="222"/>
                  <a:pt x="154" y="222"/>
                </a:cubicBezTo>
                <a:cubicBezTo>
                  <a:pt x="206" y="222"/>
                  <a:pt x="206" y="222"/>
                  <a:pt x="206" y="222"/>
                </a:cubicBezTo>
                <a:cubicBezTo>
                  <a:pt x="206" y="257"/>
                  <a:pt x="206" y="257"/>
                  <a:pt x="206" y="257"/>
                </a:cubicBezTo>
                <a:lnTo>
                  <a:pt x="154" y="257"/>
                </a:lnTo>
                <a:close/>
                <a:moveTo>
                  <a:pt x="206" y="197"/>
                </a:moveTo>
                <a:cubicBezTo>
                  <a:pt x="154" y="197"/>
                  <a:pt x="154" y="197"/>
                  <a:pt x="154" y="197"/>
                </a:cubicBezTo>
                <a:cubicBezTo>
                  <a:pt x="154" y="163"/>
                  <a:pt x="154" y="163"/>
                  <a:pt x="154" y="163"/>
                </a:cubicBezTo>
                <a:cubicBezTo>
                  <a:pt x="206" y="163"/>
                  <a:pt x="206" y="163"/>
                  <a:pt x="206" y="163"/>
                </a:cubicBezTo>
                <a:lnTo>
                  <a:pt x="206" y="197"/>
                </a:lnTo>
                <a:close/>
                <a:moveTo>
                  <a:pt x="206" y="137"/>
                </a:moveTo>
                <a:cubicBezTo>
                  <a:pt x="154" y="137"/>
                  <a:pt x="154" y="137"/>
                  <a:pt x="154" y="137"/>
                </a:cubicBezTo>
                <a:cubicBezTo>
                  <a:pt x="154" y="103"/>
                  <a:pt x="154" y="103"/>
                  <a:pt x="154" y="103"/>
                </a:cubicBezTo>
                <a:cubicBezTo>
                  <a:pt x="206" y="103"/>
                  <a:pt x="206" y="103"/>
                  <a:pt x="206" y="103"/>
                </a:cubicBezTo>
                <a:lnTo>
                  <a:pt x="206" y="137"/>
                </a:lnTo>
                <a:close/>
                <a:moveTo>
                  <a:pt x="206" y="77"/>
                </a:moveTo>
                <a:cubicBezTo>
                  <a:pt x="154" y="77"/>
                  <a:pt x="154" y="77"/>
                  <a:pt x="154" y="77"/>
                </a:cubicBezTo>
                <a:cubicBezTo>
                  <a:pt x="154" y="43"/>
                  <a:pt x="154" y="43"/>
                  <a:pt x="154" y="43"/>
                </a:cubicBezTo>
                <a:cubicBezTo>
                  <a:pt x="206" y="43"/>
                  <a:pt x="206" y="43"/>
                  <a:pt x="206" y="43"/>
                </a:cubicBezTo>
                <a:lnTo>
                  <a:pt x="206" y="77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380" tIns="45690" rIns="91380" bIns="45690" numCol="1" anchor="t" anchorCtr="0" compatLnSpc="1">
            <a:prstTxWarp prst="textNoShape">
              <a:avLst/>
            </a:prstTxWarp>
          </a:bodyPr>
          <a:lstStyle/>
          <a:p>
            <a:pPr defTabSz="456915"/>
            <a:endParaRPr lang="en-US" dirty="0">
              <a:solidFill>
                <a:srgbClr val="676767"/>
              </a:solidFill>
              <a:ea typeface="ＭＳ Ｐゴシック" charset="0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493218" y="1881640"/>
            <a:ext cx="630560" cy="630560"/>
            <a:chOff x="1702500" y="1722565"/>
            <a:chExt cx="1119033" cy="1119033"/>
          </a:xfrm>
        </p:grpSpPr>
        <p:sp>
          <p:nvSpPr>
            <p:cNvPr id="115" name="Oval 114"/>
            <p:cNvSpPr/>
            <p:nvPr/>
          </p:nvSpPr>
          <p:spPr>
            <a:xfrm>
              <a:off x="1702500" y="1722565"/>
              <a:ext cx="1119033" cy="111903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+mj-lt"/>
              </a:endParaRPr>
            </a:p>
          </p:txBody>
        </p:sp>
        <p:sp>
          <p:nvSpPr>
            <p:cNvPr id="24" name="Freeform 5"/>
            <p:cNvSpPr>
              <a:spLocks noEditPoints="1"/>
            </p:cNvSpPr>
            <p:nvPr/>
          </p:nvSpPr>
          <p:spPr bwMode="auto">
            <a:xfrm>
              <a:off x="2119937" y="2058466"/>
              <a:ext cx="284158" cy="469731"/>
            </a:xfrm>
            <a:custGeom>
              <a:avLst/>
              <a:gdLst>
                <a:gd name="T0" fmla="*/ 206 w 412"/>
                <a:gd name="T1" fmla="*/ 0 h 751"/>
                <a:gd name="T2" fmla="*/ 0 w 412"/>
                <a:gd name="T3" fmla="*/ 206 h 751"/>
                <a:gd name="T4" fmla="*/ 91 w 412"/>
                <a:gd name="T5" fmla="*/ 517 h 751"/>
                <a:gd name="T6" fmla="*/ 104 w 412"/>
                <a:gd name="T7" fmla="*/ 550 h 751"/>
                <a:gd name="T8" fmla="*/ 205 w 412"/>
                <a:gd name="T9" fmla="*/ 751 h 751"/>
                <a:gd name="T10" fmla="*/ 318 w 412"/>
                <a:gd name="T11" fmla="*/ 517 h 751"/>
                <a:gd name="T12" fmla="*/ 338 w 412"/>
                <a:gd name="T13" fmla="*/ 465 h 751"/>
                <a:gd name="T14" fmla="*/ 412 w 412"/>
                <a:gd name="T15" fmla="*/ 206 h 751"/>
                <a:gd name="T16" fmla="*/ 206 w 412"/>
                <a:gd name="T17" fmla="*/ 0 h 751"/>
                <a:gd name="T18" fmla="*/ 206 w 412"/>
                <a:gd name="T19" fmla="*/ 358 h 751"/>
                <a:gd name="T20" fmla="*/ 105 w 412"/>
                <a:gd name="T21" fmla="*/ 258 h 751"/>
                <a:gd name="T22" fmla="*/ 206 w 412"/>
                <a:gd name="T23" fmla="*/ 157 h 751"/>
                <a:gd name="T24" fmla="*/ 306 w 412"/>
                <a:gd name="T25" fmla="*/ 258 h 751"/>
                <a:gd name="T26" fmla="*/ 206 w 412"/>
                <a:gd name="T27" fmla="*/ 358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12" h="751">
                  <a:moveTo>
                    <a:pt x="206" y="0"/>
                  </a:moveTo>
                  <a:cubicBezTo>
                    <a:pt x="92" y="0"/>
                    <a:pt x="0" y="93"/>
                    <a:pt x="0" y="206"/>
                  </a:cubicBezTo>
                  <a:cubicBezTo>
                    <a:pt x="0" y="257"/>
                    <a:pt x="35" y="379"/>
                    <a:pt x="91" y="517"/>
                  </a:cubicBezTo>
                  <a:cubicBezTo>
                    <a:pt x="96" y="528"/>
                    <a:pt x="100" y="539"/>
                    <a:pt x="104" y="550"/>
                  </a:cubicBezTo>
                  <a:cubicBezTo>
                    <a:pt x="149" y="657"/>
                    <a:pt x="186" y="725"/>
                    <a:pt x="205" y="751"/>
                  </a:cubicBezTo>
                  <a:cubicBezTo>
                    <a:pt x="226" y="721"/>
                    <a:pt x="269" y="637"/>
                    <a:pt x="318" y="517"/>
                  </a:cubicBezTo>
                  <a:cubicBezTo>
                    <a:pt x="325" y="499"/>
                    <a:pt x="332" y="482"/>
                    <a:pt x="338" y="465"/>
                  </a:cubicBezTo>
                  <a:cubicBezTo>
                    <a:pt x="384" y="347"/>
                    <a:pt x="412" y="250"/>
                    <a:pt x="412" y="206"/>
                  </a:cubicBezTo>
                  <a:cubicBezTo>
                    <a:pt x="412" y="93"/>
                    <a:pt x="319" y="0"/>
                    <a:pt x="206" y="0"/>
                  </a:cubicBezTo>
                  <a:close/>
                  <a:moveTo>
                    <a:pt x="206" y="358"/>
                  </a:moveTo>
                  <a:cubicBezTo>
                    <a:pt x="150" y="358"/>
                    <a:pt x="105" y="313"/>
                    <a:pt x="105" y="258"/>
                  </a:cubicBezTo>
                  <a:cubicBezTo>
                    <a:pt x="105" y="202"/>
                    <a:pt x="150" y="157"/>
                    <a:pt x="206" y="157"/>
                  </a:cubicBezTo>
                  <a:cubicBezTo>
                    <a:pt x="261" y="157"/>
                    <a:pt x="306" y="202"/>
                    <a:pt x="306" y="258"/>
                  </a:cubicBezTo>
                  <a:cubicBezTo>
                    <a:pt x="306" y="313"/>
                    <a:pt x="261" y="358"/>
                    <a:pt x="206" y="35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391236" y="1896571"/>
            <a:ext cx="630398" cy="630186"/>
            <a:chOff x="4659475" y="2478255"/>
            <a:chExt cx="1118745" cy="1118370"/>
          </a:xfrm>
        </p:grpSpPr>
        <p:sp>
          <p:nvSpPr>
            <p:cNvPr id="120" name="Oval 119"/>
            <p:cNvSpPr/>
            <p:nvPr/>
          </p:nvSpPr>
          <p:spPr>
            <a:xfrm>
              <a:off x="4659475" y="2478255"/>
              <a:ext cx="1118745" cy="111837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2" tIns="45707" rIns="91412" bIns="45707" rtlCol="0" anchor="ctr"/>
            <a:lstStyle/>
            <a:p>
              <a:pPr algn="ctr" defTabSz="456820"/>
              <a:endParaRPr lang="en-US" sz="1200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0" name="Freeform 5"/>
            <p:cNvSpPr>
              <a:spLocks noChangeAspect="1" noEditPoints="1"/>
            </p:cNvSpPr>
            <p:nvPr/>
          </p:nvSpPr>
          <p:spPr bwMode="auto">
            <a:xfrm>
              <a:off x="4899339" y="2831408"/>
              <a:ext cx="659095" cy="418514"/>
            </a:xfrm>
            <a:custGeom>
              <a:avLst/>
              <a:gdLst>
                <a:gd name="T0" fmla="*/ 2785 w 2785"/>
                <a:gd name="T1" fmla="*/ 679 h 1767"/>
                <a:gd name="T2" fmla="*/ 2691 w 2785"/>
                <a:gd name="T3" fmla="*/ 753 h 1767"/>
                <a:gd name="T4" fmla="*/ 2596 w 2785"/>
                <a:gd name="T5" fmla="*/ 827 h 1767"/>
                <a:gd name="T6" fmla="*/ 1393 w 2785"/>
                <a:gd name="T7" fmla="*/ 240 h 1767"/>
                <a:gd name="T8" fmla="*/ 189 w 2785"/>
                <a:gd name="T9" fmla="*/ 827 h 1767"/>
                <a:gd name="T10" fmla="*/ 94 w 2785"/>
                <a:gd name="T11" fmla="*/ 753 h 1767"/>
                <a:gd name="T12" fmla="*/ 0 w 2785"/>
                <a:gd name="T13" fmla="*/ 679 h 1767"/>
                <a:gd name="T14" fmla="*/ 143 w 2785"/>
                <a:gd name="T15" fmla="*/ 517 h 1767"/>
                <a:gd name="T16" fmla="*/ 704 w 2785"/>
                <a:gd name="T17" fmla="*/ 139 h 1767"/>
                <a:gd name="T18" fmla="*/ 1393 w 2785"/>
                <a:gd name="T19" fmla="*/ 0 h 1767"/>
                <a:gd name="T20" fmla="*/ 2081 w 2785"/>
                <a:gd name="T21" fmla="*/ 139 h 1767"/>
                <a:gd name="T22" fmla="*/ 2642 w 2785"/>
                <a:gd name="T23" fmla="*/ 517 h 1767"/>
                <a:gd name="T24" fmla="*/ 2785 w 2785"/>
                <a:gd name="T25" fmla="*/ 679 h 1767"/>
                <a:gd name="T26" fmla="*/ 2314 w 2785"/>
                <a:gd name="T27" fmla="*/ 846 h 1767"/>
                <a:gd name="T28" fmla="*/ 1900 w 2785"/>
                <a:gd name="T29" fmla="*/ 567 h 1767"/>
                <a:gd name="T30" fmla="*/ 1393 w 2785"/>
                <a:gd name="T31" fmla="*/ 465 h 1767"/>
                <a:gd name="T32" fmla="*/ 885 w 2785"/>
                <a:gd name="T33" fmla="*/ 567 h 1767"/>
                <a:gd name="T34" fmla="*/ 471 w 2785"/>
                <a:gd name="T35" fmla="*/ 846 h 1767"/>
                <a:gd name="T36" fmla="*/ 366 w 2785"/>
                <a:gd name="T37" fmla="*/ 965 h 1767"/>
                <a:gd name="T38" fmla="*/ 461 w 2785"/>
                <a:gd name="T39" fmla="*/ 1039 h 1767"/>
                <a:gd name="T40" fmla="*/ 556 w 2785"/>
                <a:gd name="T41" fmla="*/ 1113 h 1767"/>
                <a:gd name="T42" fmla="*/ 1393 w 2785"/>
                <a:gd name="T43" fmla="*/ 705 h 1767"/>
                <a:gd name="T44" fmla="*/ 2229 w 2785"/>
                <a:gd name="T45" fmla="*/ 1113 h 1767"/>
                <a:gd name="T46" fmla="*/ 2324 w 2785"/>
                <a:gd name="T47" fmla="*/ 1039 h 1767"/>
                <a:gd name="T48" fmla="*/ 2419 w 2785"/>
                <a:gd name="T49" fmla="*/ 965 h 1767"/>
                <a:gd name="T50" fmla="*/ 2314 w 2785"/>
                <a:gd name="T51" fmla="*/ 846 h 1767"/>
                <a:gd name="T52" fmla="*/ 2017 w 2785"/>
                <a:gd name="T53" fmla="*/ 1143 h 1767"/>
                <a:gd name="T54" fmla="*/ 1393 w 2785"/>
                <a:gd name="T55" fmla="*/ 885 h 1767"/>
                <a:gd name="T56" fmla="*/ 768 w 2785"/>
                <a:gd name="T57" fmla="*/ 1143 h 1767"/>
                <a:gd name="T58" fmla="*/ 697 w 2785"/>
                <a:gd name="T59" fmla="*/ 1224 h 1767"/>
                <a:gd name="T60" fmla="*/ 792 w 2785"/>
                <a:gd name="T61" fmla="*/ 1298 h 1767"/>
                <a:gd name="T62" fmla="*/ 886 w 2785"/>
                <a:gd name="T63" fmla="*/ 1372 h 1767"/>
                <a:gd name="T64" fmla="*/ 1393 w 2785"/>
                <a:gd name="T65" fmla="*/ 1125 h 1767"/>
                <a:gd name="T66" fmla="*/ 1899 w 2785"/>
                <a:gd name="T67" fmla="*/ 1372 h 1767"/>
                <a:gd name="T68" fmla="*/ 1993 w 2785"/>
                <a:gd name="T69" fmla="*/ 1298 h 1767"/>
                <a:gd name="T70" fmla="*/ 2088 w 2785"/>
                <a:gd name="T71" fmla="*/ 1224 h 1767"/>
                <a:gd name="T72" fmla="*/ 2017 w 2785"/>
                <a:gd name="T73" fmla="*/ 1143 h 1767"/>
                <a:gd name="T74" fmla="*/ 1392 w 2785"/>
                <a:gd name="T75" fmla="*/ 1290 h 1767"/>
                <a:gd name="T76" fmla="*/ 1016 w 2785"/>
                <a:gd name="T77" fmla="*/ 1473 h 1767"/>
                <a:gd name="T78" fmla="*/ 1393 w 2785"/>
                <a:gd name="T79" fmla="*/ 1767 h 1767"/>
                <a:gd name="T80" fmla="*/ 1769 w 2785"/>
                <a:gd name="T81" fmla="*/ 1473 h 1767"/>
                <a:gd name="T82" fmla="*/ 1392 w 2785"/>
                <a:gd name="T83" fmla="*/ 1290 h 1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85" h="1767">
                  <a:moveTo>
                    <a:pt x="2785" y="679"/>
                  </a:moveTo>
                  <a:cubicBezTo>
                    <a:pt x="2691" y="753"/>
                    <a:pt x="2691" y="753"/>
                    <a:pt x="2691" y="753"/>
                  </a:cubicBezTo>
                  <a:cubicBezTo>
                    <a:pt x="2596" y="827"/>
                    <a:pt x="2596" y="827"/>
                    <a:pt x="2596" y="827"/>
                  </a:cubicBezTo>
                  <a:cubicBezTo>
                    <a:pt x="2316" y="470"/>
                    <a:pt x="1881" y="240"/>
                    <a:pt x="1393" y="240"/>
                  </a:cubicBezTo>
                  <a:cubicBezTo>
                    <a:pt x="904" y="240"/>
                    <a:pt x="469" y="470"/>
                    <a:pt x="189" y="827"/>
                  </a:cubicBezTo>
                  <a:cubicBezTo>
                    <a:pt x="94" y="753"/>
                    <a:pt x="94" y="753"/>
                    <a:pt x="94" y="753"/>
                  </a:cubicBezTo>
                  <a:cubicBezTo>
                    <a:pt x="0" y="679"/>
                    <a:pt x="0" y="679"/>
                    <a:pt x="0" y="679"/>
                  </a:cubicBezTo>
                  <a:cubicBezTo>
                    <a:pt x="44" y="622"/>
                    <a:pt x="91" y="569"/>
                    <a:pt x="143" y="517"/>
                  </a:cubicBezTo>
                  <a:cubicBezTo>
                    <a:pt x="305" y="355"/>
                    <a:pt x="494" y="228"/>
                    <a:pt x="704" y="139"/>
                  </a:cubicBezTo>
                  <a:cubicBezTo>
                    <a:pt x="922" y="46"/>
                    <a:pt x="1154" y="0"/>
                    <a:pt x="1393" y="0"/>
                  </a:cubicBezTo>
                  <a:cubicBezTo>
                    <a:pt x="1631" y="0"/>
                    <a:pt x="1863" y="46"/>
                    <a:pt x="2081" y="139"/>
                  </a:cubicBezTo>
                  <a:cubicBezTo>
                    <a:pt x="2291" y="228"/>
                    <a:pt x="2480" y="355"/>
                    <a:pt x="2642" y="517"/>
                  </a:cubicBezTo>
                  <a:cubicBezTo>
                    <a:pt x="2694" y="569"/>
                    <a:pt x="2741" y="622"/>
                    <a:pt x="2785" y="679"/>
                  </a:cubicBezTo>
                  <a:close/>
                  <a:moveTo>
                    <a:pt x="2314" y="846"/>
                  </a:moveTo>
                  <a:cubicBezTo>
                    <a:pt x="2194" y="727"/>
                    <a:pt x="2055" y="633"/>
                    <a:pt x="1900" y="567"/>
                  </a:cubicBezTo>
                  <a:cubicBezTo>
                    <a:pt x="1739" y="499"/>
                    <a:pt x="1568" y="465"/>
                    <a:pt x="1393" y="465"/>
                  </a:cubicBezTo>
                  <a:cubicBezTo>
                    <a:pt x="1217" y="465"/>
                    <a:pt x="1046" y="499"/>
                    <a:pt x="885" y="567"/>
                  </a:cubicBezTo>
                  <a:cubicBezTo>
                    <a:pt x="730" y="633"/>
                    <a:pt x="591" y="727"/>
                    <a:pt x="471" y="846"/>
                  </a:cubicBezTo>
                  <a:cubicBezTo>
                    <a:pt x="434" y="884"/>
                    <a:pt x="399" y="924"/>
                    <a:pt x="366" y="965"/>
                  </a:cubicBezTo>
                  <a:cubicBezTo>
                    <a:pt x="461" y="1039"/>
                    <a:pt x="461" y="1039"/>
                    <a:pt x="461" y="1039"/>
                  </a:cubicBezTo>
                  <a:cubicBezTo>
                    <a:pt x="556" y="1113"/>
                    <a:pt x="556" y="1113"/>
                    <a:pt x="556" y="1113"/>
                  </a:cubicBezTo>
                  <a:cubicBezTo>
                    <a:pt x="750" y="865"/>
                    <a:pt x="1053" y="705"/>
                    <a:pt x="1393" y="705"/>
                  </a:cubicBezTo>
                  <a:cubicBezTo>
                    <a:pt x="1732" y="705"/>
                    <a:pt x="2035" y="865"/>
                    <a:pt x="2229" y="1113"/>
                  </a:cubicBezTo>
                  <a:cubicBezTo>
                    <a:pt x="2324" y="1039"/>
                    <a:pt x="2324" y="1039"/>
                    <a:pt x="2324" y="1039"/>
                  </a:cubicBezTo>
                  <a:cubicBezTo>
                    <a:pt x="2419" y="965"/>
                    <a:pt x="2419" y="965"/>
                    <a:pt x="2419" y="965"/>
                  </a:cubicBezTo>
                  <a:cubicBezTo>
                    <a:pt x="2386" y="924"/>
                    <a:pt x="2351" y="884"/>
                    <a:pt x="2314" y="846"/>
                  </a:cubicBezTo>
                  <a:close/>
                  <a:moveTo>
                    <a:pt x="2017" y="1143"/>
                  </a:moveTo>
                  <a:cubicBezTo>
                    <a:pt x="1850" y="976"/>
                    <a:pt x="1628" y="885"/>
                    <a:pt x="1393" y="885"/>
                  </a:cubicBezTo>
                  <a:cubicBezTo>
                    <a:pt x="1157" y="885"/>
                    <a:pt x="935" y="976"/>
                    <a:pt x="768" y="1143"/>
                  </a:cubicBezTo>
                  <a:cubicBezTo>
                    <a:pt x="743" y="1169"/>
                    <a:pt x="719" y="1196"/>
                    <a:pt x="697" y="1224"/>
                  </a:cubicBezTo>
                  <a:cubicBezTo>
                    <a:pt x="792" y="1298"/>
                    <a:pt x="792" y="1298"/>
                    <a:pt x="792" y="1298"/>
                  </a:cubicBezTo>
                  <a:cubicBezTo>
                    <a:pt x="886" y="1372"/>
                    <a:pt x="886" y="1372"/>
                    <a:pt x="886" y="1372"/>
                  </a:cubicBezTo>
                  <a:cubicBezTo>
                    <a:pt x="1004" y="1221"/>
                    <a:pt x="1187" y="1125"/>
                    <a:pt x="1393" y="1125"/>
                  </a:cubicBezTo>
                  <a:cubicBezTo>
                    <a:pt x="1598" y="1125"/>
                    <a:pt x="1781" y="1221"/>
                    <a:pt x="1899" y="1372"/>
                  </a:cubicBezTo>
                  <a:cubicBezTo>
                    <a:pt x="1993" y="1298"/>
                    <a:pt x="1993" y="1298"/>
                    <a:pt x="1993" y="1298"/>
                  </a:cubicBezTo>
                  <a:cubicBezTo>
                    <a:pt x="2088" y="1224"/>
                    <a:pt x="2088" y="1224"/>
                    <a:pt x="2088" y="1224"/>
                  </a:cubicBezTo>
                  <a:cubicBezTo>
                    <a:pt x="2066" y="1196"/>
                    <a:pt x="2042" y="1169"/>
                    <a:pt x="2017" y="1143"/>
                  </a:cubicBezTo>
                  <a:close/>
                  <a:moveTo>
                    <a:pt x="1392" y="1290"/>
                  </a:moveTo>
                  <a:cubicBezTo>
                    <a:pt x="1240" y="1290"/>
                    <a:pt x="1104" y="1361"/>
                    <a:pt x="1016" y="1473"/>
                  </a:cubicBezTo>
                  <a:cubicBezTo>
                    <a:pt x="1393" y="1767"/>
                    <a:pt x="1393" y="1767"/>
                    <a:pt x="1393" y="1767"/>
                  </a:cubicBezTo>
                  <a:cubicBezTo>
                    <a:pt x="1769" y="1473"/>
                    <a:pt x="1769" y="1473"/>
                    <a:pt x="1769" y="1473"/>
                  </a:cubicBezTo>
                  <a:cubicBezTo>
                    <a:pt x="1681" y="1361"/>
                    <a:pt x="1545" y="1290"/>
                    <a:pt x="1392" y="129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4" name="Group 73"/>
          <p:cNvGrpSpPr/>
          <p:nvPr/>
        </p:nvGrpSpPr>
        <p:grpSpPr>
          <a:xfrm>
            <a:off x="6308239" y="1889783"/>
            <a:ext cx="645342" cy="645126"/>
            <a:chOff x="8654721" y="1591578"/>
            <a:chExt cx="1145267" cy="1144884"/>
          </a:xfrm>
        </p:grpSpPr>
        <p:sp>
          <p:nvSpPr>
            <p:cNvPr id="124" name="Oval 123"/>
            <p:cNvSpPr/>
            <p:nvPr/>
          </p:nvSpPr>
          <p:spPr>
            <a:xfrm>
              <a:off x="8654721" y="1591578"/>
              <a:ext cx="1145267" cy="1144884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+mj-lt"/>
              </a:endParaRPr>
            </a:p>
          </p:txBody>
        </p:sp>
        <p:sp>
          <p:nvSpPr>
            <p:cNvPr id="27" name="Freeform 14"/>
            <p:cNvSpPr>
              <a:spLocks noChangeAspect="1" noEditPoints="1"/>
            </p:cNvSpPr>
            <p:nvPr/>
          </p:nvSpPr>
          <p:spPr bwMode="auto">
            <a:xfrm rot="2700000">
              <a:off x="9018001" y="1841931"/>
              <a:ext cx="418705" cy="657795"/>
            </a:xfrm>
            <a:custGeom>
              <a:avLst/>
              <a:gdLst>
                <a:gd name="T0" fmla="*/ 244 w 906"/>
                <a:gd name="T1" fmla="*/ 733 h 1425"/>
                <a:gd name="T2" fmla="*/ 245 w 906"/>
                <a:gd name="T3" fmla="*/ 670 h 1425"/>
                <a:gd name="T4" fmla="*/ 245 w 906"/>
                <a:gd name="T5" fmla="*/ 579 h 1425"/>
                <a:gd name="T6" fmla="*/ 245 w 906"/>
                <a:gd name="T7" fmla="*/ 323 h 1425"/>
                <a:gd name="T8" fmla="*/ 247 w 906"/>
                <a:gd name="T9" fmla="*/ 189 h 1425"/>
                <a:gd name="T10" fmla="*/ 272 w 906"/>
                <a:gd name="T11" fmla="*/ 132 h 1425"/>
                <a:gd name="T12" fmla="*/ 315 w 906"/>
                <a:gd name="T13" fmla="*/ 114 h 1425"/>
                <a:gd name="T14" fmla="*/ 378 w 906"/>
                <a:gd name="T15" fmla="*/ 160 h 1425"/>
                <a:gd name="T16" fmla="*/ 387 w 906"/>
                <a:gd name="T17" fmla="*/ 283 h 1425"/>
                <a:gd name="T18" fmla="*/ 387 w 906"/>
                <a:gd name="T19" fmla="*/ 676 h 1425"/>
                <a:gd name="T20" fmla="*/ 403 w 906"/>
                <a:gd name="T21" fmla="*/ 731 h 1425"/>
                <a:gd name="T22" fmla="*/ 417 w 906"/>
                <a:gd name="T23" fmla="*/ 510 h 1425"/>
                <a:gd name="T24" fmla="*/ 453 w 906"/>
                <a:gd name="T25" fmla="*/ 390 h 1425"/>
                <a:gd name="T26" fmla="*/ 554 w 906"/>
                <a:gd name="T27" fmla="*/ 415 h 1425"/>
                <a:gd name="T28" fmla="*/ 565 w 906"/>
                <a:gd name="T29" fmla="*/ 723 h 1425"/>
                <a:gd name="T30" fmla="*/ 589 w 906"/>
                <a:gd name="T31" fmla="*/ 641 h 1425"/>
                <a:gd name="T32" fmla="*/ 589 w 906"/>
                <a:gd name="T33" fmla="*/ 465 h 1425"/>
                <a:gd name="T34" fmla="*/ 674 w 906"/>
                <a:gd name="T35" fmla="*/ 413 h 1425"/>
                <a:gd name="T36" fmla="*/ 736 w 906"/>
                <a:gd name="T37" fmla="*/ 529 h 1425"/>
                <a:gd name="T38" fmla="*/ 736 w 906"/>
                <a:gd name="T39" fmla="*/ 716 h 1425"/>
                <a:gd name="T40" fmla="*/ 759 w 906"/>
                <a:gd name="T41" fmla="*/ 723 h 1425"/>
                <a:gd name="T42" fmla="*/ 776 w 906"/>
                <a:gd name="T43" fmla="*/ 512 h 1425"/>
                <a:gd name="T44" fmla="*/ 867 w 906"/>
                <a:gd name="T45" fmla="*/ 492 h 1425"/>
                <a:gd name="T46" fmla="*/ 906 w 906"/>
                <a:gd name="T47" fmla="*/ 609 h 1425"/>
                <a:gd name="T48" fmla="*/ 905 w 906"/>
                <a:gd name="T49" fmla="*/ 746 h 1425"/>
                <a:gd name="T50" fmla="*/ 905 w 906"/>
                <a:gd name="T51" fmla="*/ 977 h 1425"/>
                <a:gd name="T52" fmla="*/ 886 w 906"/>
                <a:gd name="T53" fmla="*/ 1070 h 1425"/>
                <a:gd name="T54" fmla="*/ 832 w 906"/>
                <a:gd name="T55" fmla="*/ 1167 h 1425"/>
                <a:gd name="T56" fmla="*/ 788 w 906"/>
                <a:gd name="T57" fmla="*/ 1317 h 1425"/>
                <a:gd name="T58" fmla="*/ 786 w 906"/>
                <a:gd name="T59" fmla="*/ 1397 h 1425"/>
                <a:gd name="T60" fmla="*/ 759 w 906"/>
                <a:gd name="T61" fmla="*/ 1418 h 1425"/>
                <a:gd name="T62" fmla="*/ 530 w 906"/>
                <a:gd name="T63" fmla="*/ 1418 h 1425"/>
                <a:gd name="T64" fmla="*/ 412 w 906"/>
                <a:gd name="T65" fmla="*/ 1418 h 1425"/>
                <a:gd name="T66" fmla="*/ 350 w 906"/>
                <a:gd name="T67" fmla="*/ 1418 h 1425"/>
                <a:gd name="T68" fmla="*/ 344 w 906"/>
                <a:gd name="T69" fmla="*/ 1356 h 1425"/>
                <a:gd name="T70" fmla="*/ 338 w 906"/>
                <a:gd name="T71" fmla="*/ 1287 h 1425"/>
                <a:gd name="T72" fmla="*/ 277 w 906"/>
                <a:gd name="T73" fmla="*/ 1201 h 1425"/>
                <a:gd name="T74" fmla="*/ 192 w 906"/>
                <a:gd name="T75" fmla="*/ 1110 h 1425"/>
                <a:gd name="T76" fmla="*/ 182 w 906"/>
                <a:gd name="T77" fmla="*/ 1090 h 1425"/>
                <a:gd name="T78" fmla="*/ 168 w 906"/>
                <a:gd name="T79" fmla="*/ 1065 h 1425"/>
                <a:gd name="T80" fmla="*/ 148 w 906"/>
                <a:gd name="T81" fmla="*/ 1009 h 1425"/>
                <a:gd name="T82" fmla="*/ 134 w 906"/>
                <a:gd name="T83" fmla="*/ 936 h 1425"/>
                <a:gd name="T84" fmla="*/ 131 w 906"/>
                <a:gd name="T85" fmla="*/ 861 h 1425"/>
                <a:gd name="T86" fmla="*/ 71 w 906"/>
                <a:gd name="T87" fmla="*/ 763 h 1425"/>
                <a:gd name="T88" fmla="*/ 31 w 906"/>
                <a:gd name="T89" fmla="*/ 742 h 1425"/>
                <a:gd name="T90" fmla="*/ 5 w 906"/>
                <a:gd name="T91" fmla="*/ 700 h 1425"/>
                <a:gd name="T92" fmla="*/ 57 w 906"/>
                <a:gd name="T93" fmla="*/ 616 h 1425"/>
                <a:gd name="T94" fmla="*/ 177 w 906"/>
                <a:gd name="T95" fmla="*/ 640 h 1425"/>
                <a:gd name="T96" fmla="*/ 244 w 906"/>
                <a:gd name="T97" fmla="*/ 733 h 1425"/>
                <a:gd name="T98" fmla="*/ 316 w 906"/>
                <a:gd name="T99" fmla="*/ 0 h 1425"/>
                <a:gd name="T100" fmla="*/ 129 w 906"/>
                <a:gd name="T101" fmla="*/ 187 h 1425"/>
                <a:gd name="T102" fmla="*/ 223 w 906"/>
                <a:gd name="T103" fmla="*/ 349 h 1425"/>
                <a:gd name="T104" fmla="*/ 223 w 906"/>
                <a:gd name="T105" fmla="*/ 323 h 1425"/>
                <a:gd name="T106" fmla="*/ 223 w 906"/>
                <a:gd name="T107" fmla="*/ 288 h 1425"/>
                <a:gd name="T108" fmla="*/ 223 w 906"/>
                <a:gd name="T109" fmla="*/ 286 h 1425"/>
                <a:gd name="T110" fmla="*/ 180 w 906"/>
                <a:gd name="T111" fmla="*/ 187 h 1425"/>
                <a:gd name="T112" fmla="*/ 316 w 906"/>
                <a:gd name="T113" fmla="*/ 51 h 1425"/>
                <a:gd name="T114" fmla="*/ 452 w 906"/>
                <a:gd name="T115" fmla="*/ 187 h 1425"/>
                <a:gd name="T116" fmla="*/ 409 w 906"/>
                <a:gd name="T117" fmla="*/ 287 h 1425"/>
                <a:gd name="T118" fmla="*/ 409 w 906"/>
                <a:gd name="T119" fmla="*/ 349 h 1425"/>
                <a:gd name="T120" fmla="*/ 503 w 906"/>
                <a:gd name="T121" fmla="*/ 187 h 1425"/>
                <a:gd name="T122" fmla="*/ 316 w 906"/>
                <a:gd name="T123" fmla="*/ 0 h 1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06" h="1425">
                  <a:moveTo>
                    <a:pt x="244" y="733"/>
                  </a:moveTo>
                  <a:cubicBezTo>
                    <a:pt x="244" y="722"/>
                    <a:pt x="245" y="678"/>
                    <a:pt x="245" y="670"/>
                  </a:cubicBezTo>
                  <a:cubicBezTo>
                    <a:pt x="245" y="640"/>
                    <a:pt x="245" y="610"/>
                    <a:pt x="245" y="579"/>
                  </a:cubicBezTo>
                  <a:cubicBezTo>
                    <a:pt x="245" y="494"/>
                    <a:pt x="245" y="408"/>
                    <a:pt x="245" y="323"/>
                  </a:cubicBezTo>
                  <a:cubicBezTo>
                    <a:pt x="245" y="280"/>
                    <a:pt x="242" y="229"/>
                    <a:pt x="247" y="189"/>
                  </a:cubicBezTo>
                  <a:cubicBezTo>
                    <a:pt x="250" y="166"/>
                    <a:pt x="253" y="148"/>
                    <a:pt x="272" y="132"/>
                  </a:cubicBezTo>
                  <a:cubicBezTo>
                    <a:pt x="281" y="124"/>
                    <a:pt x="305" y="114"/>
                    <a:pt x="315" y="114"/>
                  </a:cubicBezTo>
                  <a:cubicBezTo>
                    <a:pt x="353" y="114"/>
                    <a:pt x="366" y="132"/>
                    <a:pt x="378" y="160"/>
                  </a:cubicBezTo>
                  <a:cubicBezTo>
                    <a:pt x="392" y="194"/>
                    <a:pt x="387" y="247"/>
                    <a:pt x="387" y="283"/>
                  </a:cubicBezTo>
                  <a:cubicBezTo>
                    <a:pt x="387" y="359"/>
                    <a:pt x="387" y="614"/>
                    <a:pt x="387" y="676"/>
                  </a:cubicBezTo>
                  <a:cubicBezTo>
                    <a:pt x="387" y="684"/>
                    <a:pt x="388" y="731"/>
                    <a:pt x="403" y="731"/>
                  </a:cubicBezTo>
                  <a:cubicBezTo>
                    <a:pt x="421" y="731"/>
                    <a:pt x="418" y="565"/>
                    <a:pt x="417" y="510"/>
                  </a:cubicBezTo>
                  <a:cubicBezTo>
                    <a:pt x="416" y="461"/>
                    <a:pt x="411" y="415"/>
                    <a:pt x="453" y="390"/>
                  </a:cubicBezTo>
                  <a:cubicBezTo>
                    <a:pt x="484" y="372"/>
                    <a:pt x="532" y="378"/>
                    <a:pt x="554" y="415"/>
                  </a:cubicBezTo>
                  <a:cubicBezTo>
                    <a:pt x="573" y="445"/>
                    <a:pt x="556" y="710"/>
                    <a:pt x="565" y="723"/>
                  </a:cubicBezTo>
                  <a:cubicBezTo>
                    <a:pt x="591" y="758"/>
                    <a:pt x="589" y="652"/>
                    <a:pt x="589" y="641"/>
                  </a:cubicBezTo>
                  <a:cubicBezTo>
                    <a:pt x="588" y="611"/>
                    <a:pt x="583" y="491"/>
                    <a:pt x="589" y="465"/>
                  </a:cubicBezTo>
                  <a:cubicBezTo>
                    <a:pt x="596" y="432"/>
                    <a:pt x="637" y="407"/>
                    <a:pt x="674" y="413"/>
                  </a:cubicBezTo>
                  <a:cubicBezTo>
                    <a:pt x="736" y="422"/>
                    <a:pt x="736" y="480"/>
                    <a:pt x="736" y="529"/>
                  </a:cubicBezTo>
                  <a:cubicBezTo>
                    <a:pt x="736" y="554"/>
                    <a:pt x="732" y="701"/>
                    <a:pt x="736" y="716"/>
                  </a:cubicBezTo>
                  <a:cubicBezTo>
                    <a:pt x="739" y="726"/>
                    <a:pt x="752" y="737"/>
                    <a:pt x="759" y="723"/>
                  </a:cubicBezTo>
                  <a:cubicBezTo>
                    <a:pt x="763" y="715"/>
                    <a:pt x="752" y="537"/>
                    <a:pt x="776" y="512"/>
                  </a:cubicBezTo>
                  <a:cubicBezTo>
                    <a:pt x="799" y="488"/>
                    <a:pt x="832" y="474"/>
                    <a:pt x="867" y="492"/>
                  </a:cubicBezTo>
                  <a:cubicBezTo>
                    <a:pt x="906" y="512"/>
                    <a:pt x="906" y="564"/>
                    <a:pt x="906" y="609"/>
                  </a:cubicBezTo>
                  <a:cubicBezTo>
                    <a:pt x="906" y="655"/>
                    <a:pt x="905" y="700"/>
                    <a:pt x="905" y="746"/>
                  </a:cubicBezTo>
                  <a:cubicBezTo>
                    <a:pt x="905" y="823"/>
                    <a:pt x="905" y="900"/>
                    <a:pt x="905" y="977"/>
                  </a:cubicBezTo>
                  <a:cubicBezTo>
                    <a:pt x="905" y="1012"/>
                    <a:pt x="895" y="1042"/>
                    <a:pt x="886" y="1070"/>
                  </a:cubicBezTo>
                  <a:cubicBezTo>
                    <a:pt x="875" y="1104"/>
                    <a:pt x="850" y="1135"/>
                    <a:pt x="832" y="1167"/>
                  </a:cubicBezTo>
                  <a:cubicBezTo>
                    <a:pt x="806" y="1212"/>
                    <a:pt x="791" y="1263"/>
                    <a:pt x="788" y="1317"/>
                  </a:cubicBezTo>
                  <a:cubicBezTo>
                    <a:pt x="786" y="1344"/>
                    <a:pt x="786" y="1371"/>
                    <a:pt x="786" y="1397"/>
                  </a:cubicBezTo>
                  <a:cubicBezTo>
                    <a:pt x="786" y="1423"/>
                    <a:pt x="783" y="1418"/>
                    <a:pt x="759" y="1418"/>
                  </a:cubicBezTo>
                  <a:cubicBezTo>
                    <a:pt x="683" y="1418"/>
                    <a:pt x="606" y="1418"/>
                    <a:pt x="530" y="1418"/>
                  </a:cubicBezTo>
                  <a:cubicBezTo>
                    <a:pt x="491" y="1418"/>
                    <a:pt x="451" y="1418"/>
                    <a:pt x="412" y="1418"/>
                  </a:cubicBezTo>
                  <a:cubicBezTo>
                    <a:pt x="401" y="1418"/>
                    <a:pt x="359" y="1425"/>
                    <a:pt x="350" y="1418"/>
                  </a:cubicBezTo>
                  <a:cubicBezTo>
                    <a:pt x="342" y="1412"/>
                    <a:pt x="344" y="1369"/>
                    <a:pt x="344" y="1356"/>
                  </a:cubicBezTo>
                  <a:cubicBezTo>
                    <a:pt x="344" y="1334"/>
                    <a:pt x="343" y="1305"/>
                    <a:pt x="338" y="1287"/>
                  </a:cubicBezTo>
                  <a:cubicBezTo>
                    <a:pt x="330" y="1256"/>
                    <a:pt x="310" y="1227"/>
                    <a:pt x="277" y="1201"/>
                  </a:cubicBezTo>
                  <a:cubicBezTo>
                    <a:pt x="245" y="1175"/>
                    <a:pt x="215" y="1140"/>
                    <a:pt x="192" y="1110"/>
                  </a:cubicBezTo>
                  <a:cubicBezTo>
                    <a:pt x="189" y="1105"/>
                    <a:pt x="186" y="1097"/>
                    <a:pt x="182" y="1090"/>
                  </a:cubicBezTo>
                  <a:cubicBezTo>
                    <a:pt x="176" y="1080"/>
                    <a:pt x="172" y="1073"/>
                    <a:pt x="168" y="1065"/>
                  </a:cubicBezTo>
                  <a:cubicBezTo>
                    <a:pt x="162" y="1049"/>
                    <a:pt x="154" y="1031"/>
                    <a:pt x="148" y="1009"/>
                  </a:cubicBezTo>
                  <a:cubicBezTo>
                    <a:pt x="140" y="982"/>
                    <a:pt x="136" y="959"/>
                    <a:pt x="134" y="936"/>
                  </a:cubicBezTo>
                  <a:cubicBezTo>
                    <a:pt x="132" y="915"/>
                    <a:pt x="132" y="885"/>
                    <a:pt x="131" y="861"/>
                  </a:cubicBezTo>
                  <a:cubicBezTo>
                    <a:pt x="127" y="815"/>
                    <a:pt x="107" y="785"/>
                    <a:pt x="71" y="763"/>
                  </a:cubicBezTo>
                  <a:cubicBezTo>
                    <a:pt x="61" y="756"/>
                    <a:pt x="43" y="752"/>
                    <a:pt x="31" y="742"/>
                  </a:cubicBezTo>
                  <a:cubicBezTo>
                    <a:pt x="17" y="730"/>
                    <a:pt x="7" y="715"/>
                    <a:pt x="5" y="700"/>
                  </a:cubicBezTo>
                  <a:cubicBezTo>
                    <a:pt x="0" y="660"/>
                    <a:pt x="21" y="627"/>
                    <a:pt x="57" y="616"/>
                  </a:cubicBezTo>
                  <a:cubicBezTo>
                    <a:pt x="98" y="603"/>
                    <a:pt x="150" y="620"/>
                    <a:pt x="177" y="640"/>
                  </a:cubicBezTo>
                  <a:cubicBezTo>
                    <a:pt x="209" y="664"/>
                    <a:pt x="223" y="698"/>
                    <a:pt x="244" y="733"/>
                  </a:cubicBezTo>
                  <a:close/>
                  <a:moveTo>
                    <a:pt x="316" y="0"/>
                  </a:moveTo>
                  <a:cubicBezTo>
                    <a:pt x="213" y="0"/>
                    <a:pt x="129" y="84"/>
                    <a:pt x="129" y="187"/>
                  </a:cubicBezTo>
                  <a:cubicBezTo>
                    <a:pt x="129" y="256"/>
                    <a:pt x="167" y="317"/>
                    <a:pt x="223" y="349"/>
                  </a:cubicBezTo>
                  <a:cubicBezTo>
                    <a:pt x="223" y="323"/>
                    <a:pt x="223" y="323"/>
                    <a:pt x="223" y="323"/>
                  </a:cubicBezTo>
                  <a:cubicBezTo>
                    <a:pt x="223" y="312"/>
                    <a:pt x="223" y="300"/>
                    <a:pt x="223" y="288"/>
                  </a:cubicBezTo>
                  <a:cubicBezTo>
                    <a:pt x="223" y="287"/>
                    <a:pt x="223" y="287"/>
                    <a:pt x="223" y="286"/>
                  </a:cubicBezTo>
                  <a:cubicBezTo>
                    <a:pt x="196" y="261"/>
                    <a:pt x="180" y="226"/>
                    <a:pt x="180" y="187"/>
                  </a:cubicBezTo>
                  <a:cubicBezTo>
                    <a:pt x="180" y="112"/>
                    <a:pt x="241" y="51"/>
                    <a:pt x="316" y="51"/>
                  </a:cubicBezTo>
                  <a:cubicBezTo>
                    <a:pt x="391" y="51"/>
                    <a:pt x="452" y="112"/>
                    <a:pt x="452" y="187"/>
                  </a:cubicBezTo>
                  <a:cubicBezTo>
                    <a:pt x="452" y="226"/>
                    <a:pt x="436" y="262"/>
                    <a:pt x="409" y="287"/>
                  </a:cubicBezTo>
                  <a:cubicBezTo>
                    <a:pt x="409" y="349"/>
                    <a:pt x="409" y="349"/>
                    <a:pt x="409" y="349"/>
                  </a:cubicBezTo>
                  <a:cubicBezTo>
                    <a:pt x="465" y="317"/>
                    <a:pt x="503" y="256"/>
                    <a:pt x="503" y="187"/>
                  </a:cubicBezTo>
                  <a:cubicBezTo>
                    <a:pt x="503" y="84"/>
                    <a:pt x="419" y="0"/>
                    <a:pt x="31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7" name="Freeform 18"/>
          <p:cNvSpPr>
            <a:spLocks noChangeAspect="1" noEditPoints="1"/>
          </p:cNvSpPr>
          <p:nvPr/>
        </p:nvSpPr>
        <p:spPr bwMode="auto">
          <a:xfrm>
            <a:off x="1109826" y="4611345"/>
            <a:ext cx="345274" cy="343076"/>
          </a:xfrm>
          <a:custGeom>
            <a:avLst/>
            <a:gdLst>
              <a:gd name="T0" fmla="*/ 4 w 1327"/>
              <a:gd name="T1" fmla="*/ 1319 h 1319"/>
              <a:gd name="T2" fmla="*/ 0 w 1327"/>
              <a:gd name="T3" fmla="*/ 1285 h 1319"/>
              <a:gd name="T4" fmla="*/ 1323 w 1327"/>
              <a:gd name="T5" fmla="*/ 1281 h 1319"/>
              <a:gd name="T6" fmla="*/ 1327 w 1327"/>
              <a:gd name="T7" fmla="*/ 1315 h 1319"/>
              <a:gd name="T8" fmla="*/ 293 w 1327"/>
              <a:gd name="T9" fmla="*/ 1210 h 1319"/>
              <a:gd name="T10" fmla="*/ 281 w 1327"/>
              <a:gd name="T11" fmla="*/ 808 h 1319"/>
              <a:gd name="T12" fmla="*/ 32 w 1327"/>
              <a:gd name="T13" fmla="*/ 820 h 1319"/>
              <a:gd name="T14" fmla="*/ 44 w 1327"/>
              <a:gd name="T15" fmla="*/ 1222 h 1319"/>
              <a:gd name="T16" fmla="*/ 293 w 1327"/>
              <a:gd name="T17" fmla="*/ 1210 h 1319"/>
              <a:gd name="T18" fmla="*/ 625 w 1327"/>
              <a:gd name="T19" fmla="*/ 581 h 1319"/>
              <a:gd name="T20" fmla="*/ 376 w 1327"/>
              <a:gd name="T21" fmla="*/ 569 h 1319"/>
              <a:gd name="T22" fmla="*/ 364 w 1327"/>
              <a:gd name="T23" fmla="*/ 1210 h 1319"/>
              <a:gd name="T24" fmla="*/ 613 w 1327"/>
              <a:gd name="T25" fmla="*/ 1222 h 1319"/>
              <a:gd name="T26" fmla="*/ 1282 w 1327"/>
              <a:gd name="T27" fmla="*/ 1210 h 1319"/>
              <a:gd name="T28" fmla="*/ 1270 w 1327"/>
              <a:gd name="T29" fmla="*/ 532 h 1319"/>
              <a:gd name="T30" fmla="*/ 1021 w 1327"/>
              <a:gd name="T31" fmla="*/ 544 h 1319"/>
              <a:gd name="T32" fmla="*/ 1033 w 1327"/>
              <a:gd name="T33" fmla="*/ 1222 h 1319"/>
              <a:gd name="T34" fmla="*/ 1282 w 1327"/>
              <a:gd name="T35" fmla="*/ 1210 h 1319"/>
              <a:gd name="T36" fmla="*/ 953 w 1327"/>
              <a:gd name="T37" fmla="*/ 732 h 1319"/>
              <a:gd name="T38" fmla="*/ 704 w 1327"/>
              <a:gd name="T39" fmla="*/ 720 h 1319"/>
              <a:gd name="T40" fmla="*/ 692 w 1327"/>
              <a:gd name="T41" fmla="*/ 1210 h 1319"/>
              <a:gd name="T42" fmla="*/ 941 w 1327"/>
              <a:gd name="T43" fmla="*/ 1222 h 1319"/>
              <a:gd name="T44" fmla="*/ 1282 w 1327"/>
              <a:gd name="T45" fmla="*/ 131 h 1319"/>
              <a:gd name="T46" fmla="*/ 1076 w 1327"/>
              <a:gd name="T47" fmla="*/ 238 h 1319"/>
              <a:gd name="T48" fmla="*/ 953 w 1327"/>
              <a:gd name="T49" fmla="*/ 449 h 1319"/>
              <a:gd name="T50" fmla="*/ 692 w 1327"/>
              <a:gd name="T51" fmla="*/ 449 h 1319"/>
              <a:gd name="T52" fmla="*/ 610 w 1327"/>
              <a:gd name="T53" fmla="*/ 380 h 1319"/>
              <a:gd name="T54" fmla="*/ 406 w 1327"/>
              <a:gd name="T55" fmla="*/ 415 h 1319"/>
              <a:gd name="T56" fmla="*/ 293 w 1327"/>
              <a:gd name="T57" fmla="*/ 606 h 1319"/>
              <a:gd name="T58" fmla="*/ 32 w 1327"/>
              <a:gd name="T59" fmla="*/ 606 h 1319"/>
              <a:gd name="T60" fmla="*/ 241 w 1327"/>
              <a:gd name="T61" fmla="*/ 502 h 1319"/>
              <a:gd name="T62" fmla="*/ 363 w 1327"/>
              <a:gd name="T63" fmla="*/ 318 h 1319"/>
              <a:gd name="T64" fmla="*/ 625 w 1327"/>
              <a:gd name="T65" fmla="*/ 318 h 1319"/>
              <a:gd name="T66" fmla="*/ 715 w 1327"/>
              <a:gd name="T67" fmla="*/ 374 h 1319"/>
              <a:gd name="T68" fmla="*/ 898 w 1327"/>
              <a:gd name="T69" fmla="*/ 342 h 1319"/>
              <a:gd name="T70" fmla="*/ 1021 w 1327"/>
              <a:gd name="T71" fmla="*/ 131 h 1319"/>
              <a:gd name="T72" fmla="*/ 1282 w 1327"/>
              <a:gd name="T73" fmla="*/ 131 h 1319"/>
              <a:gd name="T74" fmla="*/ 205 w 1327"/>
              <a:gd name="T75" fmla="*/ 535 h 1319"/>
              <a:gd name="T76" fmla="*/ 80 w 1327"/>
              <a:gd name="T77" fmla="*/ 606 h 1319"/>
              <a:gd name="T78" fmla="*/ 245 w 1327"/>
              <a:gd name="T79" fmla="*/ 606 h 1319"/>
              <a:gd name="T80" fmla="*/ 577 w 1327"/>
              <a:gd name="T81" fmla="*/ 318 h 1319"/>
              <a:gd name="T82" fmla="*/ 494 w 1327"/>
              <a:gd name="T83" fmla="*/ 236 h 1319"/>
              <a:gd name="T84" fmla="*/ 415 w 1327"/>
              <a:gd name="T85" fmla="*/ 342 h 1319"/>
              <a:gd name="T86" fmla="*/ 494 w 1327"/>
              <a:gd name="T87" fmla="*/ 401 h 1319"/>
              <a:gd name="T88" fmla="*/ 577 w 1327"/>
              <a:gd name="T89" fmla="*/ 318 h 1319"/>
              <a:gd name="T90" fmla="*/ 896 w 1327"/>
              <a:gd name="T91" fmla="*/ 411 h 1319"/>
              <a:gd name="T92" fmla="*/ 823 w 1327"/>
              <a:gd name="T93" fmla="*/ 366 h 1319"/>
              <a:gd name="T94" fmla="*/ 740 w 1327"/>
              <a:gd name="T95" fmla="*/ 438 h 1319"/>
              <a:gd name="T96" fmla="*/ 823 w 1327"/>
              <a:gd name="T97" fmla="*/ 532 h 1319"/>
              <a:gd name="T98" fmla="*/ 1234 w 1327"/>
              <a:gd name="T99" fmla="*/ 131 h 1319"/>
              <a:gd name="T100" fmla="*/ 1069 w 1327"/>
              <a:gd name="T101" fmla="*/ 131 h 1319"/>
              <a:gd name="T102" fmla="*/ 1111 w 1327"/>
              <a:gd name="T103" fmla="*/ 203 h 1319"/>
              <a:gd name="T104" fmla="*/ 1234 w 1327"/>
              <a:gd name="T105" fmla="*/ 131 h 13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327" h="1319">
                <a:moveTo>
                  <a:pt x="1323" y="1319"/>
                </a:moveTo>
                <a:cubicBezTo>
                  <a:pt x="4" y="1319"/>
                  <a:pt x="4" y="1319"/>
                  <a:pt x="4" y="1319"/>
                </a:cubicBezTo>
                <a:cubicBezTo>
                  <a:pt x="2" y="1319"/>
                  <a:pt x="0" y="1317"/>
                  <a:pt x="0" y="1315"/>
                </a:cubicBezTo>
                <a:cubicBezTo>
                  <a:pt x="0" y="1285"/>
                  <a:pt x="0" y="1285"/>
                  <a:pt x="0" y="1285"/>
                </a:cubicBezTo>
                <a:cubicBezTo>
                  <a:pt x="0" y="1283"/>
                  <a:pt x="2" y="1281"/>
                  <a:pt x="4" y="1281"/>
                </a:cubicBezTo>
                <a:cubicBezTo>
                  <a:pt x="1323" y="1281"/>
                  <a:pt x="1323" y="1281"/>
                  <a:pt x="1323" y="1281"/>
                </a:cubicBezTo>
                <a:cubicBezTo>
                  <a:pt x="1326" y="1281"/>
                  <a:pt x="1327" y="1283"/>
                  <a:pt x="1327" y="1285"/>
                </a:cubicBezTo>
                <a:cubicBezTo>
                  <a:pt x="1327" y="1315"/>
                  <a:pt x="1327" y="1315"/>
                  <a:pt x="1327" y="1315"/>
                </a:cubicBezTo>
                <a:cubicBezTo>
                  <a:pt x="1327" y="1317"/>
                  <a:pt x="1326" y="1319"/>
                  <a:pt x="1323" y="1319"/>
                </a:cubicBezTo>
                <a:close/>
                <a:moveTo>
                  <a:pt x="293" y="1210"/>
                </a:moveTo>
                <a:cubicBezTo>
                  <a:pt x="293" y="820"/>
                  <a:pt x="293" y="820"/>
                  <a:pt x="293" y="820"/>
                </a:cubicBezTo>
                <a:cubicBezTo>
                  <a:pt x="293" y="813"/>
                  <a:pt x="287" y="808"/>
                  <a:pt x="281" y="808"/>
                </a:cubicBezTo>
                <a:cubicBezTo>
                  <a:pt x="44" y="808"/>
                  <a:pt x="44" y="808"/>
                  <a:pt x="44" y="808"/>
                </a:cubicBezTo>
                <a:cubicBezTo>
                  <a:pt x="38" y="808"/>
                  <a:pt x="32" y="813"/>
                  <a:pt x="32" y="820"/>
                </a:cubicBezTo>
                <a:cubicBezTo>
                  <a:pt x="32" y="1210"/>
                  <a:pt x="32" y="1210"/>
                  <a:pt x="32" y="1210"/>
                </a:cubicBezTo>
                <a:cubicBezTo>
                  <a:pt x="32" y="1217"/>
                  <a:pt x="38" y="1222"/>
                  <a:pt x="44" y="1222"/>
                </a:cubicBezTo>
                <a:cubicBezTo>
                  <a:pt x="281" y="1222"/>
                  <a:pt x="281" y="1222"/>
                  <a:pt x="281" y="1222"/>
                </a:cubicBezTo>
                <a:cubicBezTo>
                  <a:pt x="287" y="1222"/>
                  <a:pt x="293" y="1217"/>
                  <a:pt x="293" y="1210"/>
                </a:cubicBezTo>
                <a:close/>
                <a:moveTo>
                  <a:pt x="625" y="1210"/>
                </a:moveTo>
                <a:cubicBezTo>
                  <a:pt x="625" y="581"/>
                  <a:pt x="625" y="581"/>
                  <a:pt x="625" y="581"/>
                </a:cubicBezTo>
                <a:cubicBezTo>
                  <a:pt x="625" y="574"/>
                  <a:pt x="619" y="569"/>
                  <a:pt x="613" y="569"/>
                </a:cubicBezTo>
                <a:cubicBezTo>
                  <a:pt x="376" y="569"/>
                  <a:pt x="376" y="569"/>
                  <a:pt x="376" y="569"/>
                </a:cubicBezTo>
                <a:cubicBezTo>
                  <a:pt x="369" y="569"/>
                  <a:pt x="364" y="574"/>
                  <a:pt x="364" y="581"/>
                </a:cubicBezTo>
                <a:cubicBezTo>
                  <a:pt x="364" y="1210"/>
                  <a:pt x="364" y="1210"/>
                  <a:pt x="364" y="1210"/>
                </a:cubicBezTo>
                <a:cubicBezTo>
                  <a:pt x="364" y="1217"/>
                  <a:pt x="369" y="1222"/>
                  <a:pt x="376" y="1222"/>
                </a:cubicBezTo>
                <a:cubicBezTo>
                  <a:pt x="613" y="1222"/>
                  <a:pt x="613" y="1222"/>
                  <a:pt x="613" y="1222"/>
                </a:cubicBezTo>
                <a:cubicBezTo>
                  <a:pt x="619" y="1222"/>
                  <a:pt x="625" y="1217"/>
                  <a:pt x="625" y="1210"/>
                </a:cubicBezTo>
                <a:close/>
                <a:moveTo>
                  <a:pt x="1282" y="1210"/>
                </a:moveTo>
                <a:cubicBezTo>
                  <a:pt x="1282" y="544"/>
                  <a:pt x="1282" y="544"/>
                  <a:pt x="1282" y="544"/>
                </a:cubicBezTo>
                <a:cubicBezTo>
                  <a:pt x="1282" y="537"/>
                  <a:pt x="1277" y="532"/>
                  <a:pt x="1270" y="532"/>
                </a:cubicBezTo>
                <a:cubicBezTo>
                  <a:pt x="1033" y="532"/>
                  <a:pt x="1033" y="532"/>
                  <a:pt x="1033" y="532"/>
                </a:cubicBezTo>
                <a:cubicBezTo>
                  <a:pt x="1027" y="532"/>
                  <a:pt x="1021" y="537"/>
                  <a:pt x="1021" y="544"/>
                </a:cubicBezTo>
                <a:cubicBezTo>
                  <a:pt x="1021" y="1210"/>
                  <a:pt x="1021" y="1210"/>
                  <a:pt x="1021" y="1210"/>
                </a:cubicBezTo>
                <a:cubicBezTo>
                  <a:pt x="1021" y="1217"/>
                  <a:pt x="1027" y="1222"/>
                  <a:pt x="1033" y="1222"/>
                </a:cubicBezTo>
                <a:cubicBezTo>
                  <a:pt x="1270" y="1222"/>
                  <a:pt x="1270" y="1222"/>
                  <a:pt x="1270" y="1222"/>
                </a:cubicBezTo>
                <a:cubicBezTo>
                  <a:pt x="1277" y="1222"/>
                  <a:pt x="1282" y="1217"/>
                  <a:pt x="1282" y="1210"/>
                </a:cubicBezTo>
                <a:close/>
                <a:moveTo>
                  <a:pt x="953" y="1210"/>
                </a:moveTo>
                <a:cubicBezTo>
                  <a:pt x="953" y="732"/>
                  <a:pt x="953" y="732"/>
                  <a:pt x="953" y="732"/>
                </a:cubicBezTo>
                <a:cubicBezTo>
                  <a:pt x="953" y="726"/>
                  <a:pt x="948" y="720"/>
                  <a:pt x="941" y="720"/>
                </a:cubicBezTo>
                <a:cubicBezTo>
                  <a:pt x="704" y="720"/>
                  <a:pt x="704" y="720"/>
                  <a:pt x="704" y="720"/>
                </a:cubicBezTo>
                <a:cubicBezTo>
                  <a:pt x="698" y="720"/>
                  <a:pt x="692" y="726"/>
                  <a:pt x="692" y="732"/>
                </a:cubicBezTo>
                <a:cubicBezTo>
                  <a:pt x="692" y="1210"/>
                  <a:pt x="692" y="1210"/>
                  <a:pt x="692" y="1210"/>
                </a:cubicBezTo>
                <a:cubicBezTo>
                  <a:pt x="692" y="1217"/>
                  <a:pt x="698" y="1222"/>
                  <a:pt x="704" y="1222"/>
                </a:cubicBezTo>
                <a:cubicBezTo>
                  <a:pt x="941" y="1222"/>
                  <a:pt x="941" y="1222"/>
                  <a:pt x="941" y="1222"/>
                </a:cubicBezTo>
                <a:cubicBezTo>
                  <a:pt x="948" y="1222"/>
                  <a:pt x="953" y="1217"/>
                  <a:pt x="953" y="1210"/>
                </a:cubicBezTo>
                <a:close/>
                <a:moveTo>
                  <a:pt x="1282" y="131"/>
                </a:moveTo>
                <a:cubicBezTo>
                  <a:pt x="1282" y="203"/>
                  <a:pt x="1224" y="262"/>
                  <a:pt x="1152" y="262"/>
                </a:cubicBezTo>
                <a:cubicBezTo>
                  <a:pt x="1123" y="262"/>
                  <a:pt x="1097" y="253"/>
                  <a:pt x="1076" y="238"/>
                </a:cubicBezTo>
                <a:cubicBezTo>
                  <a:pt x="932" y="377"/>
                  <a:pt x="932" y="377"/>
                  <a:pt x="932" y="377"/>
                </a:cubicBezTo>
                <a:cubicBezTo>
                  <a:pt x="945" y="397"/>
                  <a:pt x="953" y="422"/>
                  <a:pt x="953" y="449"/>
                </a:cubicBezTo>
                <a:cubicBezTo>
                  <a:pt x="953" y="521"/>
                  <a:pt x="895" y="580"/>
                  <a:pt x="823" y="580"/>
                </a:cubicBezTo>
                <a:cubicBezTo>
                  <a:pt x="750" y="580"/>
                  <a:pt x="692" y="521"/>
                  <a:pt x="692" y="449"/>
                </a:cubicBezTo>
                <a:cubicBezTo>
                  <a:pt x="692" y="438"/>
                  <a:pt x="693" y="428"/>
                  <a:pt x="695" y="418"/>
                </a:cubicBezTo>
                <a:cubicBezTo>
                  <a:pt x="610" y="380"/>
                  <a:pt x="610" y="380"/>
                  <a:pt x="610" y="380"/>
                </a:cubicBezTo>
                <a:cubicBezTo>
                  <a:pt x="588" y="421"/>
                  <a:pt x="544" y="449"/>
                  <a:pt x="494" y="449"/>
                </a:cubicBezTo>
                <a:cubicBezTo>
                  <a:pt x="460" y="449"/>
                  <a:pt x="430" y="436"/>
                  <a:pt x="406" y="415"/>
                </a:cubicBezTo>
                <a:cubicBezTo>
                  <a:pt x="274" y="537"/>
                  <a:pt x="274" y="537"/>
                  <a:pt x="274" y="537"/>
                </a:cubicBezTo>
                <a:cubicBezTo>
                  <a:pt x="286" y="557"/>
                  <a:pt x="293" y="581"/>
                  <a:pt x="293" y="606"/>
                </a:cubicBezTo>
                <a:cubicBezTo>
                  <a:pt x="293" y="678"/>
                  <a:pt x="235" y="737"/>
                  <a:pt x="162" y="737"/>
                </a:cubicBezTo>
                <a:cubicBezTo>
                  <a:pt x="90" y="737"/>
                  <a:pt x="32" y="678"/>
                  <a:pt x="32" y="606"/>
                </a:cubicBezTo>
                <a:cubicBezTo>
                  <a:pt x="32" y="534"/>
                  <a:pt x="90" y="475"/>
                  <a:pt x="162" y="475"/>
                </a:cubicBezTo>
                <a:cubicBezTo>
                  <a:pt x="192" y="475"/>
                  <a:pt x="219" y="485"/>
                  <a:pt x="241" y="502"/>
                </a:cubicBezTo>
                <a:cubicBezTo>
                  <a:pt x="377" y="377"/>
                  <a:pt x="377" y="377"/>
                  <a:pt x="377" y="377"/>
                </a:cubicBezTo>
                <a:cubicBezTo>
                  <a:pt x="368" y="359"/>
                  <a:pt x="363" y="339"/>
                  <a:pt x="363" y="318"/>
                </a:cubicBezTo>
                <a:cubicBezTo>
                  <a:pt x="363" y="246"/>
                  <a:pt x="422" y="188"/>
                  <a:pt x="494" y="188"/>
                </a:cubicBezTo>
                <a:cubicBezTo>
                  <a:pt x="566" y="188"/>
                  <a:pt x="625" y="246"/>
                  <a:pt x="625" y="318"/>
                </a:cubicBezTo>
                <a:cubicBezTo>
                  <a:pt x="625" y="324"/>
                  <a:pt x="625" y="329"/>
                  <a:pt x="624" y="334"/>
                </a:cubicBezTo>
                <a:cubicBezTo>
                  <a:pt x="715" y="374"/>
                  <a:pt x="715" y="374"/>
                  <a:pt x="715" y="374"/>
                </a:cubicBezTo>
                <a:cubicBezTo>
                  <a:pt x="739" y="340"/>
                  <a:pt x="778" y="318"/>
                  <a:pt x="823" y="318"/>
                </a:cubicBezTo>
                <a:cubicBezTo>
                  <a:pt x="851" y="318"/>
                  <a:pt x="877" y="327"/>
                  <a:pt x="898" y="342"/>
                </a:cubicBezTo>
                <a:cubicBezTo>
                  <a:pt x="1042" y="203"/>
                  <a:pt x="1042" y="203"/>
                  <a:pt x="1042" y="203"/>
                </a:cubicBezTo>
                <a:cubicBezTo>
                  <a:pt x="1029" y="182"/>
                  <a:pt x="1021" y="158"/>
                  <a:pt x="1021" y="131"/>
                </a:cubicBezTo>
                <a:cubicBezTo>
                  <a:pt x="1021" y="59"/>
                  <a:pt x="1079" y="0"/>
                  <a:pt x="1152" y="0"/>
                </a:cubicBezTo>
                <a:cubicBezTo>
                  <a:pt x="1224" y="0"/>
                  <a:pt x="1282" y="59"/>
                  <a:pt x="1282" y="131"/>
                </a:cubicBezTo>
                <a:close/>
                <a:moveTo>
                  <a:pt x="237" y="570"/>
                </a:moveTo>
                <a:cubicBezTo>
                  <a:pt x="230" y="556"/>
                  <a:pt x="219" y="543"/>
                  <a:pt x="205" y="535"/>
                </a:cubicBezTo>
                <a:cubicBezTo>
                  <a:pt x="192" y="528"/>
                  <a:pt x="178" y="523"/>
                  <a:pt x="162" y="523"/>
                </a:cubicBezTo>
                <a:cubicBezTo>
                  <a:pt x="117" y="523"/>
                  <a:pt x="80" y="560"/>
                  <a:pt x="80" y="606"/>
                </a:cubicBezTo>
                <a:cubicBezTo>
                  <a:pt x="80" y="652"/>
                  <a:pt x="117" y="689"/>
                  <a:pt x="162" y="689"/>
                </a:cubicBezTo>
                <a:cubicBezTo>
                  <a:pt x="208" y="689"/>
                  <a:pt x="245" y="652"/>
                  <a:pt x="245" y="606"/>
                </a:cubicBezTo>
                <a:cubicBezTo>
                  <a:pt x="245" y="593"/>
                  <a:pt x="242" y="581"/>
                  <a:pt x="237" y="570"/>
                </a:cubicBezTo>
                <a:close/>
                <a:moveTo>
                  <a:pt x="577" y="318"/>
                </a:moveTo>
                <a:cubicBezTo>
                  <a:pt x="577" y="317"/>
                  <a:pt x="577" y="315"/>
                  <a:pt x="577" y="313"/>
                </a:cubicBezTo>
                <a:cubicBezTo>
                  <a:pt x="574" y="270"/>
                  <a:pt x="538" y="236"/>
                  <a:pt x="494" y="236"/>
                </a:cubicBezTo>
                <a:cubicBezTo>
                  <a:pt x="449" y="236"/>
                  <a:pt x="411" y="273"/>
                  <a:pt x="411" y="318"/>
                </a:cubicBezTo>
                <a:cubicBezTo>
                  <a:pt x="411" y="327"/>
                  <a:pt x="413" y="335"/>
                  <a:pt x="415" y="342"/>
                </a:cubicBezTo>
                <a:cubicBezTo>
                  <a:pt x="420" y="358"/>
                  <a:pt x="429" y="372"/>
                  <a:pt x="442" y="383"/>
                </a:cubicBezTo>
                <a:cubicBezTo>
                  <a:pt x="456" y="394"/>
                  <a:pt x="474" y="401"/>
                  <a:pt x="494" y="401"/>
                </a:cubicBezTo>
                <a:cubicBezTo>
                  <a:pt x="525" y="401"/>
                  <a:pt x="551" y="385"/>
                  <a:pt x="566" y="360"/>
                </a:cubicBezTo>
                <a:cubicBezTo>
                  <a:pt x="573" y="348"/>
                  <a:pt x="577" y="334"/>
                  <a:pt x="577" y="318"/>
                </a:cubicBezTo>
                <a:close/>
                <a:moveTo>
                  <a:pt x="905" y="449"/>
                </a:moveTo>
                <a:cubicBezTo>
                  <a:pt x="905" y="435"/>
                  <a:pt x="902" y="422"/>
                  <a:pt x="896" y="411"/>
                </a:cubicBezTo>
                <a:cubicBezTo>
                  <a:pt x="889" y="396"/>
                  <a:pt x="877" y="384"/>
                  <a:pt x="863" y="376"/>
                </a:cubicBezTo>
                <a:cubicBezTo>
                  <a:pt x="851" y="370"/>
                  <a:pt x="837" y="366"/>
                  <a:pt x="823" y="366"/>
                </a:cubicBezTo>
                <a:cubicBezTo>
                  <a:pt x="798" y="366"/>
                  <a:pt x="775" y="377"/>
                  <a:pt x="760" y="395"/>
                </a:cubicBezTo>
                <a:cubicBezTo>
                  <a:pt x="750" y="407"/>
                  <a:pt x="743" y="422"/>
                  <a:pt x="740" y="438"/>
                </a:cubicBezTo>
                <a:cubicBezTo>
                  <a:pt x="740" y="442"/>
                  <a:pt x="740" y="445"/>
                  <a:pt x="740" y="449"/>
                </a:cubicBezTo>
                <a:cubicBezTo>
                  <a:pt x="740" y="494"/>
                  <a:pt x="777" y="532"/>
                  <a:pt x="823" y="532"/>
                </a:cubicBezTo>
                <a:cubicBezTo>
                  <a:pt x="868" y="532"/>
                  <a:pt x="905" y="494"/>
                  <a:pt x="905" y="449"/>
                </a:cubicBezTo>
                <a:close/>
                <a:moveTo>
                  <a:pt x="1234" y="131"/>
                </a:moveTo>
                <a:cubicBezTo>
                  <a:pt x="1234" y="85"/>
                  <a:pt x="1197" y="48"/>
                  <a:pt x="1152" y="48"/>
                </a:cubicBezTo>
                <a:cubicBezTo>
                  <a:pt x="1106" y="48"/>
                  <a:pt x="1069" y="85"/>
                  <a:pt x="1069" y="131"/>
                </a:cubicBezTo>
                <a:cubicBezTo>
                  <a:pt x="1069" y="145"/>
                  <a:pt x="1072" y="157"/>
                  <a:pt x="1078" y="169"/>
                </a:cubicBezTo>
                <a:cubicBezTo>
                  <a:pt x="1085" y="183"/>
                  <a:pt x="1097" y="195"/>
                  <a:pt x="1111" y="203"/>
                </a:cubicBezTo>
                <a:cubicBezTo>
                  <a:pt x="1123" y="210"/>
                  <a:pt x="1137" y="214"/>
                  <a:pt x="1152" y="214"/>
                </a:cubicBezTo>
                <a:cubicBezTo>
                  <a:pt x="1197" y="214"/>
                  <a:pt x="1234" y="177"/>
                  <a:pt x="1234" y="13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/>
            <a:endParaRPr lang="en-US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89" name="Group 88"/>
          <p:cNvGrpSpPr/>
          <p:nvPr/>
        </p:nvGrpSpPr>
        <p:grpSpPr>
          <a:xfrm rot="10800000">
            <a:off x="757139" y="2474793"/>
            <a:ext cx="102719" cy="304351"/>
            <a:chOff x="1142726" y="3187564"/>
            <a:chExt cx="136958" cy="405801"/>
          </a:xfrm>
        </p:grpSpPr>
        <p:cxnSp>
          <p:nvCxnSpPr>
            <p:cNvPr id="92" name="Straight Connector 91"/>
            <p:cNvCxnSpPr/>
            <p:nvPr/>
          </p:nvCxnSpPr>
          <p:spPr>
            <a:xfrm rot="5400000">
              <a:off x="1028372" y="3410531"/>
              <a:ext cx="365665" cy="4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Oval 92"/>
            <p:cNvSpPr/>
            <p:nvPr/>
          </p:nvSpPr>
          <p:spPr>
            <a:xfrm rot="5400000">
              <a:off x="1144166" y="3186124"/>
              <a:ext cx="134077" cy="136958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97" tIns="45698" rIns="91397" bIns="45698" rtlCol="0" anchor="ctr"/>
            <a:lstStyle/>
            <a:p>
              <a:pPr algn="ctr"/>
              <a:endParaRPr lang="en-US" sz="1425" dirty="0">
                <a:latin typeface="+mj-lt"/>
              </a:endParaRPr>
            </a:p>
          </p:txBody>
        </p:sp>
      </p:grpSp>
      <p:grpSp>
        <p:nvGrpSpPr>
          <p:cNvPr id="96" name="Group 95"/>
          <p:cNvGrpSpPr/>
          <p:nvPr/>
        </p:nvGrpSpPr>
        <p:grpSpPr>
          <a:xfrm rot="10800000">
            <a:off x="3655075" y="2474793"/>
            <a:ext cx="102719" cy="304351"/>
            <a:chOff x="1142726" y="3187564"/>
            <a:chExt cx="136958" cy="405801"/>
          </a:xfrm>
        </p:grpSpPr>
        <p:cxnSp>
          <p:nvCxnSpPr>
            <p:cNvPr id="106" name="Straight Connector 105"/>
            <p:cNvCxnSpPr/>
            <p:nvPr/>
          </p:nvCxnSpPr>
          <p:spPr>
            <a:xfrm rot="5400000">
              <a:off x="1028372" y="3410531"/>
              <a:ext cx="365665" cy="4"/>
            </a:xfrm>
            <a:prstGeom prst="line">
              <a:avLst/>
            </a:prstGeom>
            <a:ln w="254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Oval 106"/>
            <p:cNvSpPr/>
            <p:nvPr/>
          </p:nvSpPr>
          <p:spPr>
            <a:xfrm rot="5400000">
              <a:off x="1144166" y="3186124"/>
              <a:ext cx="134077" cy="136958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97" tIns="45698" rIns="91397" bIns="45698" rtlCol="0" anchor="ctr"/>
            <a:lstStyle/>
            <a:p>
              <a:pPr algn="ctr"/>
              <a:endParaRPr lang="en-US" sz="1425" dirty="0">
                <a:latin typeface="+mj-lt"/>
              </a:endParaRPr>
            </a:p>
          </p:txBody>
        </p:sp>
      </p:grpSp>
      <p:grpSp>
        <p:nvGrpSpPr>
          <p:cNvPr id="109" name="Group 108"/>
          <p:cNvGrpSpPr/>
          <p:nvPr/>
        </p:nvGrpSpPr>
        <p:grpSpPr>
          <a:xfrm rot="10800000">
            <a:off x="6579550" y="2474793"/>
            <a:ext cx="102719" cy="304351"/>
            <a:chOff x="1142726" y="3187564"/>
            <a:chExt cx="136958" cy="405801"/>
          </a:xfrm>
        </p:grpSpPr>
        <p:cxnSp>
          <p:nvCxnSpPr>
            <p:cNvPr id="111" name="Straight Connector 110"/>
            <p:cNvCxnSpPr/>
            <p:nvPr/>
          </p:nvCxnSpPr>
          <p:spPr>
            <a:xfrm rot="5400000">
              <a:off x="1028372" y="3410531"/>
              <a:ext cx="365665" cy="4"/>
            </a:xfrm>
            <a:prstGeom prst="line">
              <a:avLst/>
            </a:prstGeom>
            <a:ln w="25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Oval 111"/>
            <p:cNvSpPr/>
            <p:nvPr/>
          </p:nvSpPr>
          <p:spPr>
            <a:xfrm rot="5400000">
              <a:off x="1144166" y="3186124"/>
              <a:ext cx="134077" cy="136958"/>
            </a:xfrm>
            <a:prstGeom prst="ellipse">
              <a:avLst/>
            </a:prstGeom>
            <a:solidFill>
              <a:schemeClr val="bg1"/>
            </a:solidFill>
            <a:ln w="254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97" tIns="45698" rIns="91397" bIns="45698" rtlCol="0" anchor="ctr"/>
            <a:lstStyle/>
            <a:p>
              <a:pPr algn="ctr"/>
              <a:endParaRPr lang="en-US" sz="1425" dirty="0">
                <a:latin typeface="+mj-lt"/>
              </a:endParaRPr>
            </a:p>
          </p:txBody>
        </p:sp>
      </p:grpSp>
      <p:cxnSp>
        <p:nvCxnSpPr>
          <p:cNvPr id="114" name="Straight Connector 113"/>
          <p:cNvCxnSpPr/>
          <p:nvPr/>
        </p:nvCxnSpPr>
        <p:spPr>
          <a:xfrm>
            <a:off x="331178" y="1449680"/>
            <a:ext cx="2678619" cy="0"/>
          </a:xfrm>
          <a:prstGeom prst="line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6" name="Straight Connector 115"/>
          <p:cNvCxnSpPr/>
          <p:nvPr/>
        </p:nvCxnSpPr>
        <p:spPr>
          <a:xfrm>
            <a:off x="3255247" y="1449680"/>
            <a:ext cx="2678619" cy="0"/>
          </a:xfrm>
          <a:prstGeom prst="line">
            <a:avLst/>
          </a:prstGeom>
          <a:solidFill>
            <a:schemeClr val="bg1"/>
          </a:solidFill>
          <a:ln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9" name="Straight Connector 118"/>
          <p:cNvCxnSpPr/>
          <p:nvPr/>
        </p:nvCxnSpPr>
        <p:spPr>
          <a:xfrm>
            <a:off x="6171753" y="1449680"/>
            <a:ext cx="2678619" cy="0"/>
          </a:xfrm>
          <a:prstGeom prst="line">
            <a:avLst/>
          </a:prstGeom>
          <a:solidFill>
            <a:schemeClr val="bg1"/>
          </a:solidFill>
          <a:ln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25" name="Oval 124"/>
          <p:cNvSpPr/>
          <p:nvPr/>
        </p:nvSpPr>
        <p:spPr>
          <a:xfrm>
            <a:off x="4754211" y="4731602"/>
            <a:ext cx="102561" cy="102561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/>
            <a:endParaRPr lang="en-US" dirty="0" smtClean="0"/>
          </a:p>
        </p:txBody>
      </p:sp>
      <p:sp>
        <p:nvSpPr>
          <p:cNvPr id="130" name="Oval 129"/>
          <p:cNvSpPr/>
          <p:nvPr/>
        </p:nvSpPr>
        <p:spPr>
          <a:xfrm>
            <a:off x="6466625" y="4731602"/>
            <a:ext cx="102561" cy="102561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1" tIns="34286" rIns="68571" bIns="34286" rtlCol="0" anchor="ctr"/>
          <a:lstStyle/>
          <a:p>
            <a:pPr algn="ctr"/>
            <a:endParaRPr lang="en-US" dirty="0" smtClean="0"/>
          </a:p>
        </p:txBody>
      </p:sp>
      <p:sp>
        <p:nvSpPr>
          <p:cNvPr id="60" name="Rectangle 59"/>
          <p:cNvSpPr/>
          <p:nvPr/>
        </p:nvSpPr>
        <p:spPr>
          <a:xfrm>
            <a:off x="1579251" y="4632847"/>
            <a:ext cx="1222239" cy="300074"/>
          </a:xfrm>
          <a:prstGeom prst="rect">
            <a:avLst/>
          </a:prstGeom>
        </p:spPr>
        <p:txBody>
          <a:bodyPr wrap="none" lIns="68571" tIns="34286" rIns="68571" bIns="34286" anchor="ctr">
            <a:spAutoFit/>
          </a:bodyPr>
          <a:lstStyle/>
          <a:p>
            <a:pPr>
              <a:spcBef>
                <a:spcPts val="400"/>
              </a:spcBef>
            </a:pPr>
            <a:r>
              <a:rPr lang="en-US" sz="1500" b="1">
                <a:solidFill>
                  <a:schemeClr val="bg1"/>
                </a:solidFill>
                <a:latin typeface="+mj-lt"/>
              </a:rPr>
              <a:t>ANALYTICS</a:t>
            </a:r>
            <a:endParaRPr lang="en-US" sz="1500" b="1" dirty="0">
              <a:solidFill>
                <a:schemeClr val="bg1"/>
              </a:solidFill>
              <a:latin typeface="+mj-lt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2973143" y="4565427"/>
            <a:ext cx="92673" cy="437363"/>
            <a:chOff x="3226923" y="6087235"/>
            <a:chExt cx="123564" cy="583150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3237645" y="6087235"/>
              <a:ext cx="0" cy="583150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9" name="Isosceles Triangle 8"/>
            <p:cNvSpPr/>
            <p:nvPr/>
          </p:nvSpPr>
          <p:spPr>
            <a:xfrm rot="5400000">
              <a:off x="3149047" y="6317028"/>
              <a:ext cx="279316" cy="123564"/>
            </a:xfrm>
            <a:prstGeom prst="triangle">
              <a:avLst/>
            </a:prstGeom>
            <a:gradFill flip="none" rotWithShape="0">
              <a:gsLst>
                <a:gs pos="0">
                  <a:schemeClr val="bg1"/>
                </a:gs>
                <a:gs pos="98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574" tIns="34288" rIns="68574" bIns="34288" rtlCol="0" anchor="ctr"/>
            <a:lstStyle/>
            <a:p>
              <a:pPr algn="ctr"/>
              <a:endParaRPr lang="en-US" dirty="0"/>
            </a:p>
          </p:txBody>
        </p:sp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74930" y="1881716"/>
            <a:ext cx="751173" cy="1295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114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25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25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25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" grpId="0"/>
      <p:bldP spid="75" grpId="0"/>
      <p:bldP spid="76" grpId="0"/>
      <p:bldP spid="87" grpId="0" animBg="1"/>
      <p:bldP spid="125" grpId="0" animBg="1"/>
      <p:bldP spid="130" grpId="0" animBg="1"/>
      <p:bldP spid="60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ight Arrow 72"/>
          <p:cNvSpPr/>
          <p:nvPr/>
        </p:nvSpPr>
        <p:spPr>
          <a:xfrm>
            <a:off x="2177439" y="2329674"/>
            <a:ext cx="508778" cy="350870"/>
          </a:xfrm>
          <a:prstGeom prst="rightArrow">
            <a:avLst>
              <a:gd name="adj1" fmla="val 51406"/>
              <a:gd name="adj2" fmla="val 51260"/>
            </a:avLst>
          </a:prstGeom>
          <a:gradFill>
            <a:gsLst>
              <a:gs pos="76000">
                <a:srgbClr val="00B0F0"/>
              </a:gs>
              <a:gs pos="0">
                <a:schemeClr val="bg1"/>
              </a:gs>
              <a:gs pos="98000">
                <a:srgbClr val="00B0F0"/>
              </a:gs>
            </a:gsLst>
            <a:lin ang="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 flipV="1">
            <a:off x="1722905" y="1556956"/>
            <a:ext cx="538442" cy="1044209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2472991" y="1427750"/>
            <a:ext cx="627990" cy="1082907"/>
          </a:xfrm>
          <a:prstGeom prst="line">
            <a:avLst/>
          </a:prstGeom>
          <a:ln w="5715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/>
        </p:nvSpPr>
        <p:spPr>
          <a:xfrm>
            <a:off x="4688319" y="2980638"/>
            <a:ext cx="3692335" cy="459482"/>
          </a:xfrm>
          <a:prstGeom prst="rect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 34"/>
          <p:cNvSpPr/>
          <p:nvPr/>
        </p:nvSpPr>
        <p:spPr>
          <a:xfrm>
            <a:off x="815642" y="2980638"/>
            <a:ext cx="3692335" cy="459482"/>
          </a:xfrm>
          <a:prstGeom prst="rect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/>
          <a:p>
            <a:r>
              <a:rPr lang="en-US" sz="2800" dirty="0">
                <a:solidFill>
                  <a:schemeClr val="tx1">
                    <a:lumMod val="75000"/>
                  </a:schemeClr>
                </a:solidFill>
              </a:rPr>
              <a:t>CMX </a:t>
            </a:r>
            <a:r>
              <a:rPr lang="en-US" sz="2800" dirty="0" smtClean="0">
                <a:solidFill>
                  <a:schemeClr val="tx1">
                    <a:lumMod val="75000"/>
                  </a:schemeClr>
                </a:solidFill>
              </a:rPr>
              <a:t>Virtual Beacon Solution</a:t>
            </a:r>
            <a:endParaRPr lang="en-US" sz="28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624362" y="3483983"/>
            <a:ext cx="4355178" cy="1392689"/>
          </a:xfrm>
          <a:prstGeom prst="rect">
            <a:avLst/>
          </a:prstGeom>
          <a:noFill/>
        </p:spPr>
        <p:txBody>
          <a:bodyPr wrap="square" lIns="137160" rtlCol="0">
            <a:spAutoFit/>
          </a:bodyPr>
          <a:lstStyle/>
          <a:p>
            <a:pPr marL="111125" indent="-111125" defTabSz="514217">
              <a:spcAft>
                <a:spcPts val="0"/>
              </a:spcAft>
              <a:buFont typeface="Arial"/>
              <a:buChar char="•"/>
            </a:pPr>
            <a:r>
              <a:rPr lang="en-US" sz="1200" dirty="0" smtClean="0">
                <a:solidFill>
                  <a:schemeClr val="tx1">
                    <a:lumMod val="75000"/>
                  </a:schemeClr>
                </a:solidFill>
              </a:rPr>
              <a:t>Eliminates battery operated physical BLE beacons</a:t>
            </a:r>
            <a:endParaRPr lang="en-US" sz="1200" dirty="0">
              <a:solidFill>
                <a:schemeClr val="tx1">
                  <a:lumMod val="75000"/>
                </a:schemeClr>
              </a:solidFill>
            </a:endParaRPr>
          </a:p>
          <a:p>
            <a:pPr marL="111125" indent="-111125" defTabSz="514217">
              <a:spcBef>
                <a:spcPts val="300"/>
              </a:spcBef>
              <a:spcAft>
                <a:spcPts val="0"/>
              </a:spcAft>
              <a:buFont typeface="Arial"/>
              <a:buChar char="•"/>
            </a:pPr>
            <a:r>
              <a:rPr lang="en-US" sz="1200" dirty="0" smtClean="0">
                <a:solidFill>
                  <a:schemeClr val="tx1">
                    <a:lumMod val="75000"/>
                  </a:schemeClr>
                </a:solidFill>
              </a:rPr>
              <a:t>Proximity </a:t>
            </a:r>
            <a:r>
              <a:rPr lang="en-US" sz="1200" dirty="0">
                <a:solidFill>
                  <a:schemeClr val="tx1">
                    <a:lumMod val="75000"/>
                  </a:schemeClr>
                </a:solidFill>
              </a:rPr>
              <a:t>Engagement and Indoor navigation</a:t>
            </a:r>
          </a:p>
          <a:p>
            <a:pPr marL="111125" indent="-111125" defTabSz="514217">
              <a:spcBef>
                <a:spcPts val="300"/>
              </a:spcBef>
              <a:spcAft>
                <a:spcPts val="0"/>
              </a:spcAft>
              <a:buFont typeface="Arial"/>
              <a:buChar char="•"/>
            </a:pPr>
            <a:r>
              <a:rPr lang="en-US" sz="1200" dirty="0" smtClean="0">
                <a:solidFill>
                  <a:schemeClr val="tx1">
                    <a:lumMod val="75000"/>
                  </a:schemeClr>
                </a:solidFill>
              </a:rPr>
              <a:t>Operational &amp; scale simplicity with virtual beacons</a:t>
            </a:r>
          </a:p>
          <a:p>
            <a:pPr marL="282575" indent="-111125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</a:schemeClr>
                </a:solidFill>
                <a:cs typeface="Avenir Next Regular"/>
              </a:rPr>
              <a:t>Add or move virtual beacons with a click</a:t>
            </a:r>
          </a:p>
          <a:p>
            <a:pPr marL="282575" indent="-111125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chemeClr val="tx1">
                    <a:lumMod val="75000"/>
                  </a:schemeClr>
                </a:solidFill>
                <a:cs typeface="Avenir Next Regular"/>
              </a:rPr>
              <a:t>Eliminate </a:t>
            </a:r>
            <a:r>
              <a:rPr lang="en-US" sz="1200" dirty="0">
                <a:solidFill>
                  <a:schemeClr val="tx1">
                    <a:lumMod val="75000"/>
                  </a:schemeClr>
                </a:solidFill>
                <a:cs typeface="Avenir Next Regular"/>
              </a:rPr>
              <a:t>RF calibration </a:t>
            </a:r>
            <a:r>
              <a:rPr lang="en-US" sz="1200" dirty="0" smtClean="0">
                <a:solidFill>
                  <a:schemeClr val="tx1">
                    <a:lumMod val="75000"/>
                  </a:schemeClr>
                </a:solidFill>
                <a:cs typeface="Avenir Next Regular"/>
              </a:rPr>
              <a:t>with advanced </a:t>
            </a:r>
            <a:r>
              <a:rPr lang="en-US" sz="1200" dirty="0">
                <a:solidFill>
                  <a:schemeClr val="tx1">
                    <a:lumMod val="75000"/>
                  </a:schemeClr>
                </a:solidFill>
                <a:cs typeface="Avenir Next Regular"/>
              </a:rPr>
              <a:t>machine learning</a:t>
            </a:r>
          </a:p>
          <a:p>
            <a:pPr marL="282575" indent="-111125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1">
                    <a:lumMod val="75000"/>
                  </a:schemeClr>
                </a:solidFill>
                <a:cs typeface="Avenir Next Regular"/>
              </a:rPr>
              <a:t>Deliver high location accuracy, </a:t>
            </a:r>
            <a:r>
              <a:rPr lang="en-US" sz="1200" dirty="0" smtClean="0">
                <a:solidFill>
                  <a:schemeClr val="tx1">
                    <a:lumMod val="75000"/>
                  </a:schemeClr>
                </a:solidFill>
                <a:cs typeface="Avenir Next Regular"/>
              </a:rPr>
              <a:t>Reduced latency</a:t>
            </a:r>
            <a:endParaRPr lang="en-US" sz="12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388179" y="3011805"/>
            <a:ext cx="229261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Customer Benefit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971556" y="3024501"/>
            <a:ext cx="138050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What is it?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905433" y="3483983"/>
            <a:ext cx="3480629" cy="7489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514217">
              <a:spcAft>
                <a:spcPts val="800"/>
              </a:spcAft>
              <a:buFont typeface="Arial"/>
              <a:buChar char="•"/>
            </a:pPr>
            <a:r>
              <a:rPr lang="en-US" sz="1200" b="1" dirty="0" smtClean="0">
                <a:solidFill>
                  <a:schemeClr val="tx1">
                    <a:lumMod val="75000"/>
                  </a:schemeClr>
                </a:solidFill>
              </a:rPr>
              <a:t>Beacon Point (BP) </a:t>
            </a:r>
            <a:r>
              <a:rPr lang="en-US" sz="1200" dirty="0" smtClean="0">
                <a:solidFill>
                  <a:schemeClr val="tx1">
                    <a:lumMod val="75000"/>
                  </a:schemeClr>
                </a:solidFill>
              </a:rPr>
              <a:t>generates BLE beams</a:t>
            </a:r>
            <a:endParaRPr lang="en-US" sz="1200" dirty="0">
              <a:solidFill>
                <a:schemeClr val="tx1">
                  <a:lumMod val="75000"/>
                </a:schemeClr>
              </a:solidFill>
            </a:endParaRPr>
          </a:p>
          <a:p>
            <a:pPr marL="171450" indent="-171450" defTabSz="514217">
              <a:spcAft>
                <a:spcPts val="800"/>
              </a:spcAft>
              <a:buFont typeface="Arial"/>
              <a:buChar char="•"/>
            </a:pPr>
            <a:r>
              <a:rPr lang="en-US" sz="1200" b="1" dirty="0" smtClean="0">
                <a:solidFill>
                  <a:schemeClr val="tx1">
                    <a:lumMod val="75000"/>
                  </a:schemeClr>
                </a:solidFill>
              </a:rPr>
              <a:t>Beacon Center </a:t>
            </a:r>
            <a:r>
              <a:rPr lang="en-US" sz="1200" dirty="0" smtClean="0">
                <a:solidFill>
                  <a:schemeClr val="tx1">
                    <a:lumMod val="75000"/>
                  </a:schemeClr>
                </a:solidFill>
              </a:rPr>
              <a:t>creates virtual beacons &amp; manages BP via Cloud.</a:t>
            </a:r>
            <a:endParaRPr lang="en-US" sz="1200" dirty="0">
              <a:solidFill>
                <a:schemeClr val="tx1">
                  <a:lumMod val="75000"/>
                </a:schemeClr>
              </a:solidFill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1853138" y="800006"/>
            <a:ext cx="1322918" cy="1322918"/>
            <a:chOff x="1808513" y="3221124"/>
            <a:chExt cx="994064" cy="994064"/>
          </a:xfrm>
          <a:solidFill>
            <a:srgbClr val="00B0F0"/>
          </a:solidFill>
        </p:grpSpPr>
        <p:sp>
          <p:nvSpPr>
            <p:cNvPr id="47" name="Oval 46"/>
            <p:cNvSpPr>
              <a:spLocks noChangeAspect="1"/>
            </p:cNvSpPr>
            <p:nvPr/>
          </p:nvSpPr>
          <p:spPr>
            <a:xfrm>
              <a:off x="1808513" y="3221124"/>
              <a:ext cx="994064" cy="994064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2" tIns="45716" rIns="91432" bIns="45716" rtlCol="0" anchor="ctr"/>
            <a:lstStyle/>
            <a:p>
              <a:pPr algn="ctr"/>
              <a:endParaRPr lang="en-US" dirty="0"/>
            </a:p>
          </p:txBody>
        </p:sp>
        <p:pic>
          <p:nvPicPr>
            <p:cNvPr id="51" name="Picture 50" descr="city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48244" y="3321953"/>
              <a:ext cx="714603" cy="714603"/>
            </a:xfrm>
            <a:prstGeom prst="rect">
              <a:avLst/>
            </a:prstGeom>
            <a:noFill/>
          </p:spPr>
        </p:pic>
      </p:grpSp>
      <p:sp>
        <p:nvSpPr>
          <p:cNvPr id="55" name="Oval 54"/>
          <p:cNvSpPr>
            <a:spLocks noChangeAspect="1"/>
          </p:cNvSpPr>
          <p:nvPr/>
        </p:nvSpPr>
        <p:spPr>
          <a:xfrm>
            <a:off x="1527707" y="2122924"/>
            <a:ext cx="756558" cy="756558"/>
          </a:xfrm>
          <a:prstGeom prst="ellipse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/>
            <a:endParaRPr lang="en-US" dirty="0"/>
          </a:p>
        </p:txBody>
      </p:sp>
      <p:grpSp>
        <p:nvGrpSpPr>
          <p:cNvPr id="42" name="Group 41"/>
          <p:cNvGrpSpPr/>
          <p:nvPr/>
        </p:nvGrpSpPr>
        <p:grpSpPr>
          <a:xfrm>
            <a:off x="4589388" y="1068080"/>
            <a:ext cx="3000846" cy="1817340"/>
            <a:chOff x="1296403" y="1123950"/>
            <a:chExt cx="2477667" cy="1500498"/>
          </a:xfrm>
          <a:solidFill>
            <a:srgbClr val="00B0F0"/>
          </a:solidFill>
        </p:grpSpPr>
        <p:sp>
          <p:nvSpPr>
            <p:cNvPr id="59" name="Trapezoid 170"/>
            <p:cNvSpPr/>
            <p:nvPr/>
          </p:nvSpPr>
          <p:spPr>
            <a:xfrm>
              <a:off x="1296403" y="1123950"/>
              <a:ext cx="2477667" cy="1500498"/>
            </a:xfrm>
            <a:custGeom>
              <a:avLst/>
              <a:gdLst/>
              <a:ahLst/>
              <a:cxnLst/>
              <a:rect l="l" t="t" r="r" b="b"/>
              <a:pathLst>
                <a:path w="3191955" h="1933075">
                  <a:moveTo>
                    <a:pt x="1232983" y="1075638"/>
                  </a:moveTo>
                  <a:lnTo>
                    <a:pt x="1198326" y="1104233"/>
                  </a:lnTo>
                  <a:lnTo>
                    <a:pt x="1248504" y="1104233"/>
                  </a:lnTo>
                  <a:close/>
                  <a:moveTo>
                    <a:pt x="1884070" y="0"/>
                  </a:moveTo>
                  <a:cubicBezTo>
                    <a:pt x="2291137" y="0"/>
                    <a:pt x="2621130" y="329993"/>
                    <a:pt x="2621130" y="737060"/>
                  </a:cubicBezTo>
                  <a:cubicBezTo>
                    <a:pt x="2621130" y="762502"/>
                    <a:pt x="2619841" y="787642"/>
                    <a:pt x="2617325" y="812420"/>
                  </a:cubicBezTo>
                  <a:lnTo>
                    <a:pt x="2611898" y="847979"/>
                  </a:lnTo>
                  <a:lnTo>
                    <a:pt x="2655180" y="852342"/>
                  </a:lnTo>
                  <a:cubicBezTo>
                    <a:pt x="2762395" y="874281"/>
                    <a:pt x="2843046" y="969145"/>
                    <a:pt x="2843046" y="1082846"/>
                  </a:cubicBezTo>
                  <a:lnTo>
                    <a:pt x="2840719" y="1105929"/>
                  </a:lnTo>
                  <a:lnTo>
                    <a:pt x="2859090" y="1107781"/>
                  </a:lnTo>
                  <a:cubicBezTo>
                    <a:pt x="3049056" y="1146653"/>
                    <a:pt x="3191955" y="1314735"/>
                    <a:pt x="3191955" y="1516193"/>
                  </a:cubicBezTo>
                  <a:cubicBezTo>
                    <a:pt x="3191955" y="1717651"/>
                    <a:pt x="3049056" y="1885733"/>
                    <a:pt x="2859090" y="1924606"/>
                  </a:cubicBezTo>
                  <a:lnTo>
                    <a:pt x="2793535" y="1931214"/>
                  </a:lnTo>
                  <a:lnTo>
                    <a:pt x="2794000" y="1933075"/>
                  </a:lnTo>
                  <a:lnTo>
                    <a:pt x="2775073" y="1933075"/>
                  </a:lnTo>
                  <a:lnTo>
                    <a:pt x="561474" y="1933075"/>
                  </a:lnTo>
                  <a:lnTo>
                    <a:pt x="561820" y="1931692"/>
                  </a:lnTo>
                  <a:lnTo>
                    <a:pt x="548105" y="1933074"/>
                  </a:lnTo>
                  <a:cubicBezTo>
                    <a:pt x="245395" y="1933074"/>
                    <a:pt x="0" y="1687679"/>
                    <a:pt x="0" y="1384969"/>
                  </a:cubicBezTo>
                  <a:cubicBezTo>
                    <a:pt x="0" y="1082259"/>
                    <a:pt x="245395" y="836864"/>
                    <a:pt x="548105" y="836864"/>
                  </a:cubicBezTo>
                  <a:lnTo>
                    <a:pt x="570825" y="839154"/>
                  </a:lnTo>
                  <a:lnTo>
                    <a:pt x="566821" y="799432"/>
                  </a:lnTo>
                  <a:cubicBezTo>
                    <a:pt x="566821" y="583843"/>
                    <a:pt x="741590" y="409074"/>
                    <a:pt x="957179" y="409074"/>
                  </a:cubicBezTo>
                  <a:cubicBezTo>
                    <a:pt x="1038025" y="409074"/>
                    <a:pt x="1113130" y="433651"/>
                    <a:pt x="1175432" y="475741"/>
                  </a:cubicBezTo>
                  <a:lnTo>
                    <a:pt x="1192596" y="489902"/>
                  </a:lnTo>
                  <a:lnTo>
                    <a:pt x="1204932" y="450163"/>
                  </a:lnTo>
                  <a:cubicBezTo>
                    <a:pt x="1316823" y="185621"/>
                    <a:pt x="1578770" y="0"/>
                    <a:pt x="1884070" y="0"/>
                  </a:cubicBezTo>
                  <a:close/>
                </a:path>
              </a:pathLst>
            </a:custGeom>
            <a:grpFill/>
            <a:ln w="50800" cap="sq">
              <a:solidFill>
                <a:schemeClr val="bg1"/>
              </a:solidFill>
            </a:ln>
          </p:spPr>
          <p:txBody>
            <a:bodyPr vert="horz" wrap="square" lIns="68586" tIns="34294" rIns="68586" bIns="34294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>
                    <a:lumMod val="75000"/>
                  </a:schemeClr>
                </a:solidFill>
                <a:latin typeface="Arial" charset="0"/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1973267" y="2346872"/>
              <a:ext cx="1123938" cy="196304"/>
            </a:xfrm>
            <a:prstGeom prst="rect">
              <a:avLst/>
            </a:prstGeom>
            <a:grpFill/>
          </p:spPr>
          <p:txBody>
            <a:bodyPr wrap="none" lIns="91438" tIns="45719" rIns="91438" bIns="45719" rtlCol="0">
              <a:spAutoFit/>
            </a:bodyPr>
            <a:lstStyle/>
            <a:p>
              <a:pPr algn="ctr">
                <a:lnSpc>
                  <a:spcPct val="90000"/>
                </a:lnSpc>
                <a:spcBef>
                  <a:spcPts val="450"/>
                </a:spcBef>
              </a:pPr>
              <a:r>
                <a:rPr lang="en-US" sz="1050" dirty="0" err="1">
                  <a:solidFill>
                    <a:schemeClr val="bg1"/>
                  </a:solidFill>
                </a:rPr>
                <a:t>www.cmxcisco.com</a:t>
              </a:r>
              <a:endParaRPr lang="en-US" sz="105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2317276" y="1274540"/>
              <a:ext cx="875822" cy="304940"/>
            </a:xfrm>
            <a:prstGeom prst="rect">
              <a:avLst/>
            </a:prstGeom>
            <a:noFill/>
          </p:spPr>
          <p:txBody>
            <a:bodyPr wrap="square" lIns="91438" tIns="45719" rIns="91438" bIns="45719">
              <a:sp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CMX</a:t>
              </a:r>
            </a:p>
          </p:txBody>
        </p:sp>
      </p:grpSp>
      <p:sp>
        <p:nvSpPr>
          <p:cNvPr id="64" name="Right Arrow 63"/>
          <p:cNvSpPr/>
          <p:nvPr/>
        </p:nvSpPr>
        <p:spPr>
          <a:xfrm>
            <a:off x="2807395" y="2329673"/>
            <a:ext cx="1682629" cy="350871"/>
          </a:xfrm>
          <a:prstGeom prst="rightArrow">
            <a:avLst>
              <a:gd name="adj1" fmla="val 51406"/>
              <a:gd name="adj2" fmla="val 47188"/>
            </a:avLst>
          </a:prstGeom>
          <a:gradFill>
            <a:gsLst>
              <a:gs pos="76000">
                <a:srgbClr val="00B0F0"/>
              </a:gs>
              <a:gs pos="0">
                <a:schemeClr val="bg1"/>
              </a:gs>
              <a:gs pos="98000">
                <a:srgbClr val="00B0F0"/>
              </a:gs>
            </a:gsLst>
            <a:lin ang="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2715239" y="2122924"/>
            <a:ext cx="756558" cy="756558"/>
            <a:chOff x="1939141" y="1911898"/>
            <a:chExt cx="1316736" cy="1316736"/>
          </a:xfrm>
          <a:solidFill>
            <a:srgbClr val="00B0F0"/>
          </a:solidFill>
        </p:grpSpPr>
        <p:sp>
          <p:nvSpPr>
            <p:cNvPr id="53" name="Oval 52"/>
            <p:cNvSpPr>
              <a:spLocks noChangeAspect="1"/>
            </p:cNvSpPr>
            <p:nvPr/>
          </p:nvSpPr>
          <p:spPr>
            <a:xfrm>
              <a:off x="1939141" y="1911898"/>
              <a:ext cx="1316736" cy="1316736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2" tIns="45716" rIns="91432" bIns="45716" rtlCol="0" anchor="ctr"/>
            <a:lstStyle/>
            <a:p>
              <a:pPr algn="ctr"/>
              <a:endParaRPr lang="en-US" dirty="0"/>
            </a:p>
          </p:txBody>
        </p:sp>
        <p:pic>
          <p:nvPicPr>
            <p:cNvPr id="49" name="Picture 48"/>
            <p:cNvPicPr/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58615" y="2179475"/>
              <a:ext cx="722091" cy="814490"/>
            </a:xfrm>
            <a:prstGeom prst="rect">
              <a:avLst/>
            </a:prstGeom>
            <a:grpFill/>
          </p:spPr>
        </p:pic>
      </p:grpSp>
      <p:grpSp>
        <p:nvGrpSpPr>
          <p:cNvPr id="33" name="Group 32"/>
          <p:cNvGrpSpPr/>
          <p:nvPr/>
        </p:nvGrpSpPr>
        <p:grpSpPr>
          <a:xfrm>
            <a:off x="5326927" y="217596"/>
            <a:ext cx="474595" cy="474719"/>
            <a:chOff x="7142218" y="1140002"/>
            <a:chExt cx="1316736" cy="1316736"/>
          </a:xfrm>
          <a:solidFill>
            <a:srgbClr val="00B0F0"/>
          </a:solidFill>
        </p:grpSpPr>
        <p:sp>
          <p:nvSpPr>
            <p:cNvPr id="37" name="Oval 36"/>
            <p:cNvSpPr>
              <a:spLocks noChangeAspect="1"/>
            </p:cNvSpPr>
            <p:nvPr/>
          </p:nvSpPr>
          <p:spPr>
            <a:xfrm>
              <a:off x="7142218" y="1140002"/>
              <a:ext cx="1316736" cy="1316736"/>
            </a:xfrm>
            <a:prstGeom prst="ellipse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2" tIns="45716" rIns="91432" bIns="45716" rtlCol="0" anchor="ctr"/>
            <a:lstStyle/>
            <a:p>
              <a:pPr algn="ctr"/>
              <a:endParaRPr lang="en-US" dirty="0"/>
            </a:p>
          </p:txBody>
        </p:sp>
        <p:sp>
          <p:nvSpPr>
            <p:cNvPr id="38" name="Rounded Rectangle 37"/>
            <p:cNvSpPr/>
            <p:nvPr/>
          </p:nvSpPr>
          <p:spPr>
            <a:xfrm>
              <a:off x="7512513" y="1351174"/>
              <a:ext cx="576147" cy="894392"/>
            </a:xfrm>
            <a:custGeom>
              <a:avLst/>
              <a:gdLst/>
              <a:ahLst/>
              <a:cxnLst/>
              <a:rect l="l" t="t" r="r" b="b"/>
              <a:pathLst>
                <a:path w="2069260" h="3212259">
                  <a:moveTo>
                    <a:pt x="1099537" y="1834749"/>
                  </a:moveTo>
                  <a:lnTo>
                    <a:pt x="1389236" y="2126059"/>
                  </a:lnTo>
                  <a:lnTo>
                    <a:pt x="1099537" y="2443566"/>
                  </a:lnTo>
                  <a:close/>
                  <a:moveTo>
                    <a:pt x="1099537" y="887313"/>
                  </a:moveTo>
                  <a:lnTo>
                    <a:pt x="1361062" y="1173941"/>
                  </a:lnTo>
                  <a:lnTo>
                    <a:pt x="1099537" y="1436920"/>
                  </a:lnTo>
                  <a:close/>
                  <a:moveTo>
                    <a:pt x="934459" y="447790"/>
                  </a:moveTo>
                  <a:lnTo>
                    <a:pt x="925801" y="1412863"/>
                  </a:lnTo>
                  <a:lnTo>
                    <a:pt x="568003" y="1053076"/>
                  </a:lnTo>
                  <a:lnTo>
                    <a:pt x="444413" y="1175982"/>
                  </a:lnTo>
                  <a:lnTo>
                    <a:pt x="901722" y="1635834"/>
                  </a:lnTo>
                  <a:lnTo>
                    <a:pt x="442273" y="2097839"/>
                  </a:lnTo>
                  <a:lnTo>
                    <a:pt x="565864" y="2220745"/>
                  </a:lnTo>
                  <a:lnTo>
                    <a:pt x="925801" y="1858806"/>
                  </a:lnTo>
                  <a:lnTo>
                    <a:pt x="925801" y="2333555"/>
                  </a:lnTo>
                  <a:lnTo>
                    <a:pt x="925818" y="2333555"/>
                  </a:lnTo>
                  <a:lnTo>
                    <a:pt x="925818" y="2892557"/>
                  </a:lnTo>
                  <a:lnTo>
                    <a:pt x="1626870" y="2124213"/>
                  </a:lnTo>
                  <a:lnTo>
                    <a:pt x="1594981" y="2095116"/>
                  </a:lnTo>
                  <a:lnTo>
                    <a:pt x="1599657" y="2090467"/>
                  </a:lnTo>
                  <a:lnTo>
                    <a:pt x="1147539" y="1635835"/>
                  </a:lnTo>
                  <a:lnTo>
                    <a:pt x="1597517" y="1183355"/>
                  </a:lnTo>
                  <a:lnTo>
                    <a:pt x="1592870" y="1178733"/>
                  </a:lnTo>
                  <a:lnTo>
                    <a:pt x="1597517" y="1174493"/>
                  </a:lnTo>
                  <a:close/>
                  <a:moveTo>
                    <a:pt x="1034630" y="0"/>
                  </a:moveTo>
                  <a:cubicBezTo>
                    <a:pt x="1606040" y="0"/>
                    <a:pt x="2069260" y="463220"/>
                    <a:pt x="2069260" y="1034630"/>
                  </a:cubicBezTo>
                  <a:cubicBezTo>
                    <a:pt x="2069260" y="1415630"/>
                    <a:pt x="2069259" y="1796629"/>
                    <a:pt x="2069259" y="2177629"/>
                  </a:cubicBezTo>
                  <a:cubicBezTo>
                    <a:pt x="2069259" y="2749039"/>
                    <a:pt x="1606039" y="3212259"/>
                    <a:pt x="1034629" y="3212259"/>
                  </a:cubicBezTo>
                  <a:lnTo>
                    <a:pt x="1034630" y="3212258"/>
                  </a:lnTo>
                  <a:cubicBezTo>
                    <a:pt x="463220" y="3212258"/>
                    <a:pt x="0" y="2749038"/>
                    <a:pt x="0" y="2177628"/>
                  </a:cubicBezTo>
                  <a:lnTo>
                    <a:pt x="0" y="1034630"/>
                  </a:lnTo>
                  <a:cubicBezTo>
                    <a:pt x="0" y="463220"/>
                    <a:pt x="463220" y="0"/>
                    <a:pt x="103463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endParaRPr>
            </a:p>
          </p:txBody>
        </p:sp>
      </p:grpSp>
      <p:pic>
        <p:nvPicPr>
          <p:cNvPr id="45" name="Picture 44"/>
          <p:cNvPicPr/>
          <p:nvPr/>
        </p:nvPicPr>
        <p:blipFill>
          <a:blip r:embed="rId5"/>
          <a:stretch>
            <a:fillRect/>
          </a:stretch>
        </p:blipFill>
        <p:spPr>
          <a:xfrm>
            <a:off x="5481179" y="1663661"/>
            <a:ext cx="1434896" cy="87404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517149" y="2193652"/>
            <a:ext cx="725050" cy="600162"/>
          </a:xfrm>
          <a:prstGeom prst="rect">
            <a:avLst/>
          </a:prstGeom>
          <a:noFill/>
          <a:ln>
            <a:noFill/>
          </a:ln>
        </p:spPr>
        <p:txBody>
          <a:bodyPr wrap="square" lIns="91438" tIns="45719" rIns="91438" bIns="45719" rtlCol="0">
            <a:spAutoFit/>
          </a:bodyPr>
          <a:lstStyle/>
          <a:p>
            <a:pPr algn="ctr">
              <a:spcBef>
                <a:spcPts val="450"/>
              </a:spcBef>
            </a:pPr>
            <a:r>
              <a:rPr lang="en-US" sz="1100" dirty="0">
                <a:solidFill>
                  <a:schemeClr val="bg1"/>
                </a:solidFill>
              </a:rPr>
              <a:t>Cisco Virtual Beacon</a:t>
            </a:r>
          </a:p>
        </p:txBody>
      </p:sp>
    </p:spTree>
    <p:extLst>
      <p:ext uri="{BB962C8B-B14F-4D97-AF65-F5344CB8AC3E}">
        <p14:creationId xmlns:p14="http://schemas.microsoft.com/office/powerpoint/2010/main" val="106934397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0464671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oup 25"/>
          <p:cNvGrpSpPr/>
          <p:nvPr/>
        </p:nvGrpSpPr>
        <p:grpSpPr>
          <a:xfrm>
            <a:off x="3610384" y="1572427"/>
            <a:ext cx="2005938" cy="2005938"/>
            <a:chOff x="3610384" y="1572427"/>
            <a:chExt cx="2005938" cy="2005938"/>
          </a:xfrm>
        </p:grpSpPr>
        <p:sp>
          <p:nvSpPr>
            <p:cNvPr id="16" name="Oval 15"/>
            <p:cNvSpPr/>
            <p:nvPr/>
          </p:nvSpPr>
          <p:spPr>
            <a:xfrm>
              <a:off x="3610384" y="1572427"/>
              <a:ext cx="2005938" cy="2005938"/>
            </a:xfrm>
            <a:prstGeom prst="ellipse">
              <a:avLst/>
            </a:prstGeom>
            <a:solidFill>
              <a:schemeClr val="tx1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/>
            </a:p>
          </p:txBody>
        </p:sp>
        <p:sp>
          <p:nvSpPr>
            <p:cNvPr id="17" name="Oval 16"/>
            <p:cNvSpPr/>
            <p:nvPr/>
          </p:nvSpPr>
          <p:spPr>
            <a:xfrm>
              <a:off x="3747680" y="1709723"/>
              <a:ext cx="1731344" cy="1731344"/>
            </a:xfrm>
            <a:prstGeom prst="ellipse">
              <a:avLst/>
            </a:prstGeom>
            <a:gradFill>
              <a:gsLst>
                <a:gs pos="0">
                  <a:srgbClr val="215A9C"/>
                </a:gs>
                <a:gs pos="100000">
                  <a:schemeClr val="tx2"/>
                </a:gs>
              </a:gsLst>
            </a:gradFill>
            <a:ln w="22225">
              <a:solidFill>
                <a:schemeClr val="bg1"/>
              </a:solidFill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8" tIns="45714" rIns="91428" bIns="45714" rtlCol="0" anchor="ctr"/>
            <a:lstStyle/>
            <a:p>
              <a:pPr algn="ctr" defTabSz="457127"/>
              <a:endParaRPr lang="en-US" dirty="0"/>
            </a:p>
          </p:txBody>
        </p:sp>
        <p:pic>
          <p:nvPicPr>
            <p:cNvPr id="18" name="Picture 17" descr="wireless_Icon_wht.psd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57117" y="1919160"/>
              <a:ext cx="1312470" cy="1312470"/>
            </a:xfrm>
            <a:prstGeom prst="rect">
              <a:avLst/>
            </a:prstGeom>
            <a:effectLst/>
          </p:spPr>
        </p:pic>
      </p:grpSp>
      <p:grpSp>
        <p:nvGrpSpPr>
          <p:cNvPr id="15" name="Group 14"/>
          <p:cNvGrpSpPr/>
          <p:nvPr/>
        </p:nvGrpSpPr>
        <p:grpSpPr>
          <a:xfrm>
            <a:off x="7320242" y="1850051"/>
            <a:ext cx="465324" cy="465324"/>
            <a:chOff x="7320242" y="1850051"/>
            <a:chExt cx="465324" cy="465324"/>
          </a:xfrm>
        </p:grpSpPr>
        <p:sp>
          <p:nvSpPr>
            <p:cNvPr id="149" name="Oval 148"/>
            <p:cNvSpPr/>
            <p:nvPr/>
          </p:nvSpPr>
          <p:spPr>
            <a:xfrm>
              <a:off x="7320242" y="1850051"/>
              <a:ext cx="465324" cy="465324"/>
            </a:xfrm>
            <a:prstGeom prst="ellipse">
              <a:avLst/>
            </a:prstGeom>
            <a:gradFill>
              <a:gsLst>
                <a:gs pos="0">
                  <a:srgbClr val="215A9C"/>
                </a:gs>
                <a:gs pos="100000">
                  <a:schemeClr val="tx2"/>
                </a:gs>
              </a:gsLst>
            </a:gradFill>
            <a:ln w="25400">
              <a:solidFill>
                <a:srgbClr val="E2E2E2"/>
              </a:solidFill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8" tIns="45714" rIns="91428" bIns="45714" rtlCol="0" anchor="ctr"/>
            <a:lstStyle/>
            <a:p>
              <a:pPr algn="ctr" defTabSz="457127"/>
              <a:endParaRPr lang="en-US" dirty="0"/>
            </a:p>
          </p:txBody>
        </p:sp>
        <p:pic>
          <p:nvPicPr>
            <p:cNvPr id="150" name="Picture 149" descr="tablet_sillouette.psd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95102" y="1924393"/>
              <a:ext cx="316639" cy="316639"/>
            </a:xfrm>
            <a:prstGeom prst="rect">
              <a:avLst/>
            </a:prstGeom>
            <a:effectLst/>
          </p:spPr>
        </p:pic>
      </p:grpSp>
      <p:grpSp>
        <p:nvGrpSpPr>
          <p:cNvPr id="23" name="Group 22"/>
          <p:cNvGrpSpPr/>
          <p:nvPr/>
        </p:nvGrpSpPr>
        <p:grpSpPr>
          <a:xfrm>
            <a:off x="5670454" y="2672393"/>
            <a:ext cx="377087" cy="377087"/>
            <a:chOff x="5670454" y="2672393"/>
            <a:chExt cx="377087" cy="377087"/>
          </a:xfrm>
        </p:grpSpPr>
        <p:sp>
          <p:nvSpPr>
            <p:cNvPr id="164" name="Oval 163"/>
            <p:cNvSpPr/>
            <p:nvPr/>
          </p:nvSpPr>
          <p:spPr>
            <a:xfrm>
              <a:off x="5670454" y="2672393"/>
              <a:ext cx="377087" cy="377087"/>
            </a:xfrm>
            <a:prstGeom prst="ellipse">
              <a:avLst/>
            </a:prstGeom>
            <a:gradFill>
              <a:gsLst>
                <a:gs pos="0">
                  <a:srgbClr val="215A9C"/>
                </a:gs>
                <a:gs pos="100000">
                  <a:schemeClr val="tx2"/>
                </a:gs>
              </a:gsLst>
            </a:gradFill>
            <a:ln w="25400">
              <a:solidFill>
                <a:srgbClr val="E2E2E2"/>
              </a:solidFill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8" tIns="45714" rIns="91428" bIns="45714" rtlCol="0" anchor="ctr"/>
            <a:lstStyle/>
            <a:p>
              <a:pPr algn="ctr" defTabSz="457127"/>
              <a:endParaRPr lang="en-US" dirty="0"/>
            </a:p>
          </p:txBody>
        </p:sp>
        <p:grpSp>
          <p:nvGrpSpPr>
            <p:cNvPr id="165" name="Group 164"/>
            <p:cNvGrpSpPr/>
            <p:nvPr/>
          </p:nvGrpSpPr>
          <p:grpSpPr>
            <a:xfrm>
              <a:off x="5759649" y="2771188"/>
              <a:ext cx="198697" cy="179497"/>
              <a:chOff x="3474003" y="4554828"/>
              <a:chExt cx="320565" cy="289588"/>
            </a:xfrm>
            <a:effectLst/>
          </p:grpSpPr>
          <p:sp>
            <p:nvSpPr>
              <p:cNvPr id="166" name="Freeform 8"/>
              <p:cNvSpPr>
                <a:spLocks noEditPoints="1"/>
              </p:cNvSpPr>
              <p:nvPr/>
            </p:nvSpPr>
            <p:spPr bwMode="auto">
              <a:xfrm>
                <a:off x="3474003" y="4603640"/>
                <a:ext cx="320565" cy="240776"/>
              </a:xfrm>
              <a:custGeom>
                <a:avLst/>
                <a:gdLst>
                  <a:gd name="T0" fmla="*/ 460 w 1156"/>
                  <a:gd name="T1" fmla="*/ 0 h 868"/>
                  <a:gd name="T2" fmla="*/ 299 w 1156"/>
                  <a:gd name="T3" fmla="*/ 804 h 868"/>
                  <a:gd name="T4" fmla="*/ 80 w 1156"/>
                  <a:gd name="T5" fmla="*/ 644 h 868"/>
                  <a:gd name="T6" fmla="*/ 19 w 1156"/>
                  <a:gd name="T7" fmla="*/ 0 h 868"/>
                  <a:gd name="T8" fmla="*/ 0 w 1156"/>
                  <a:gd name="T9" fmla="*/ 852 h 868"/>
                  <a:gd name="T10" fmla="*/ 1139 w 1156"/>
                  <a:gd name="T11" fmla="*/ 868 h 868"/>
                  <a:gd name="T12" fmla="*/ 1156 w 1156"/>
                  <a:gd name="T13" fmla="*/ 15 h 868"/>
                  <a:gd name="T14" fmla="*/ 604 w 1156"/>
                  <a:gd name="T15" fmla="*/ 788 h 868"/>
                  <a:gd name="T16" fmla="*/ 552 w 1156"/>
                  <a:gd name="T17" fmla="*/ 724 h 868"/>
                  <a:gd name="T18" fmla="*/ 604 w 1156"/>
                  <a:gd name="T19" fmla="*/ 788 h 868"/>
                  <a:gd name="T20" fmla="*/ 552 w 1156"/>
                  <a:gd name="T21" fmla="*/ 672 h 868"/>
                  <a:gd name="T22" fmla="*/ 604 w 1156"/>
                  <a:gd name="T23" fmla="*/ 612 h 868"/>
                  <a:gd name="T24" fmla="*/ 604 w 1156"/>
                  <a:gd name="T25" fmla="*/ 552 h 868"/>
                  <a:gd name="T26" fmla="*/ 552 w 1156"/>
                  <a:gd name="T27" fmla="*/ 488 h 868"/>
                  <a:gd name="T28" fmla="*/ 604 w 1156"/>
                  <a:gd name="T29" fmla="*/ 552 h 868"/>
                  <a:gd name="T30" fmla="*/ 652 w 1156"/>
                  <a:gd name="T31" fmla="*/ 788 h 868"/>
                  <a:gd name="T32" fmla="*/ 704 w 1156"/>
                  <a:gd name="T33" fmla="*/ 724 h 868"/>
                  <a:gd name="T34" fmla="*/ 704 w 1156"/>
                  <a:gd name="T35" fmla="*/ 672 h 868"/>
                  <a:gd name="T36" fmla="*/ 652 w 1156"/>
                  <a:gd name="T37" fmla="*/ 612 h 868"/>
                  <a:gd name="T38" fmla="*/ 704 w 1156"/>
                  <a:gd name="T39" fmla="*/ 672 h 868"/>
                  <a:gd name="T40" fmla="*/ 652 w 1156"/>
                  <a:gd name="T41" fmla="*/ 552 h 868"/>
                  <a:gd name="T42" fmla="*/ 704 w 1156"/>
                  <a:gd name="T43" fmla="*/ 488 h 868"/>
                  <a:gd name="T44" fmla="*/ 804 w 1156"/>
                  <a:gd name="T45" fmla="*/ 788 h 868"/>
                  <a:gd name="T46" fmla="*/ 752 w 1156"/>
                  <a:gd name="T47" fmla="*/ 724 h 868"/>
                  <a:gd name="T48" fmla="*/ 804 w 1156"/>
                  <a:gd name="T49" fmla="*/ 788 h 868"/>
                  <a:gd name="T50" fmla="*/ 752 w 1156"/>
                  <a:gd name="T51" fmla="*/ 672 h 868"/>
                  <a:gd name="T52" fmla="*/ 804 w 1156"/>
                  <a:gd name="T53" fmla="*/ 612 h 868"/>
                  <a:gd name="T54" fmla="*/ 804 w 1156"/>
                  <a:gd name="T55" fmla="*/ 552 h 868"/>
                  <a:gd name="T56" fmla="*/ 752 w 1156"/>
                  <a:gd name="T57" fmla="*/ 488 h 868"/>
                  <a:gd name="T58" fmla="*/ 804 w 1156"/>
                  <a:gd name="T59" fmla="*/ 552 h 868"/>
                  <a:gd name="T60" fmla="*/ 860 w 1156"/>
                  <a:gd name="T61" fmla="*/ 788 h 868"/>
                  <a:gd name="T62" fmla="*/ 1048 w 1156"/>
                  <a:gd name="T63" fmla="*/ 724 h 868"/>
                  <a:gd name="T64" fmla="*/ 1048 w 1156"/>
                  <a:gd name="T65" fmla="*/ 672 h 868"/>
                  <a:gd name="T66" fmla="*/ 860 w 1156"/>
                  <a:gd name="T67" fmla="*/ 612 h 868"/>
                  <a:gd name="T68" fmla="*/ 1048 w 1156"/>
                  <a:gd name="T69" fmla="*/ 672 h 868"/>
                  <a:gd name="T70" fmla="*/ 860 w 1156"/>
                  <a:gd name="T71" fmla="*/ 552 h 868"/>
                  <a:gd name="T72" fmla="*/ 1048 w 1156"/>
                  <a:gd name="T73" fmla="*/ 488 h 868"/>
                  <a:gd name="T74" fmla="*/ 1048 w 1156"/>
                  <a:gd name="T75" fmla="*/ 397 h 868"/>
                  <a:gd name="T76" fmla="*/ 563 w 1156"/>
                  <a:gd name="T77" fmla="*/ 404 h 868"/>
                  <a:gd name="T78" fmla="*/ 556 w 1156"/>
                  <a:gd name="T79" fmla="*/ 107 h 868"/>
                  <a:gd name="T80" fmla="*/ 1041 w 1156"/>
                  <a:gd name="T81" fmla="*/ 100 h 868"/>
                  <a:gd name="T82" fmla="*/ 1048 w 1156"/>
                  <a:gd name="T83" fmla="*/ 397 h 8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156" h="868">
                    <a:moveTo>
                      <a:pt x="1139" y="0"/>
                    </a:moveTo>
                    <a:cubicBezTo>
                      <a:pt x="460" y="0"/>
                      <a:pt x="460" y="0"/>
                      <a:pt x="460" y="0"/>
                    </a:cubicBezTo>
                    <a:cubicBezTo>
                      <a:pt x="460" y="644"/>
                      <a:pt x="460" y="644"/>
                      <a:pt x="460" y="644"/>
                    </a:cubicBezTo>
                    <a:cubicBezTo>
                      <a:pt x="460" y="733"/>
                      <a:pt x="388" y="804"/>
                      <a:pt x="299" y="804"/>
                    </a:cubicBezTo>
                    <a:cubicBezTo>
                      <a:pt x="243" y="804"/>
                      <a:pt x="243" y="804"/>
                      <a:pt x="243" y="804"/>
                    </a:cubicBezTo>
                    <a:cubicBezTo>
                      <a:pt x="154" y="804"/>
                      <a:pt x="80" y="733"/>
                      <a:pt x="80" y="644"/>
                    </a:cubicBezTo>
                    <a:cubicBezTo>
                      <a:pt x="80" y="0"/>
                      <a:pt x="80" y="0"/>
                      <a:pt x="80" y="0"/>
                    </a:cubicBezTo>
                    <a:cubicBezTo>
                      <a:pt x="19" y="0"/>
                      <a:pt x="19" y="0"/>
                      <a:pt x="19" y="0"/>
                    </a:cubicBezTo>
                    <a:cubicBezTo>
                      <a:pt x="9" y="0"/>
                      <a:pt x="0" y="6"/>
                      <a:pt x="0" y="15"/>
                    </a:cubicBezTo>
                    <a:cubicBezTo>
                      <a:pt x="0" y="852"/>
                      <a:pt x="0" y="852"/>
                      <a:pt x="0" y="852"/>
                    </a:cubicBezTo>
                    <a:cubicBezTo>
                      <a:pt x="0" y="861"/>
                      <a:pt x="9" y="868"/>
                      <a:pt x="19" y="868"/>
                    </a:cubicBezTo>
                    <a:cubicBezTo>
                      <a:pt x="1139" y="868"/>
                      <a:pt x="1139" y="868"/>
                      <a:pt x="1139" y="868"/>
                    </a:cubicBezTo>
                    <a:cubicBezTo>
                      <a:pt x="1148" y="868"/>
                      <a:pt x="1156" y="861"/>
                      <a:pt x="1156" y="852"/>
                    </a:cubicBezTo>
                    <a:cubicBezTo>
                      <a:pt x="1156" y="15"/>
                      <a:pt x="1156" y="15"/>
                      <a:pt x="1156" y="15"/>
                    </a:cubicBezTo>
                    <a:cubicBezTo>
                      <a:pt x="1156" y="6"/>
                      <a:pt x="1148" y="0"/>
                      <a:pt x="1139" y="0"/>
                    </a:cubicBezTo>
                    <a:close/>
                    <a:moveTo>
                      <a:pt x="604" y="788"/>
                    </a:moveTo>
                    <a:cubicBezTo>
                      <a:pt x="552" y="788"/>
                      <a:pt x="552" y="788"/>
                      <a:pt x="552" y="788"/>
                    </a:cubicBezTo>
                    <a:cubicBezTo>
                      <a:pt x="552" y="724"/>
                      <a:pt x="552" y="724"/>
                      <a:pt x="552" y="724"/>
                    </a:cubicBezTo>
                    <a:cubicBezTo>
                      <a:pt x="604" y="724"/>
                      <a:pt x="604" y="724"/>
                      <a:pt x="604" y="724"/>
                    </a:cubicBezTo>
                    <a:lnTo>
                      <a:pt x="604" y="788"/>
                    </a:lnTo>
                    <a:close/>
                    <a:moveTo>
                      <a:pt x="604" y="672"/>
                    </a:moveTo>
                    <a:cubicBezTo>
                      <a:pt x="552" y="672"/>
                      <a:pt x="552" y="672"/>
                      <a:pt x="552" y="672"/>
                    </a:cubicBezTo>
                    <a:cubicBezTo>
                      <a:pt x="552" y="612"/>
                      <a:pt x="552" y="612"/>
                      <a:pt x="552" y="612"/>
                    </a:cubicBezTo>
                    <a:cubicBezTo>
                      <a:pt x="604" y="612"/>
                      <a:pt x="604" y="612"/>
                      <a:pt x="604" y="612"/>
                    </a:cubicBezTo>
                    <a:lnTo>
                      <a:pt x="604" y="672"/>
                    </a:lnTo>
                    <a:close/>
                    <a:moveTo>
                      <a:pt x="604" y="552"/>
                    </a:moveTo>
                    <a:cubicBezTo>
                      <a:pt x="552" y="552"/>
                      <a:pt x="552" y="552"/>
                      <a:pt x="552" y="552"/>
                    </a:cubicBezTo>
                    <a:cubicBezTo>
                      <a:pt x="552" y="488"/>
                      <a:pt x="552" y="488"/>
                      <a:pt x="552" y="488"/>
                    </a:cubicBezTo>
                    <a:cubicBezTo>
                      <a:pt x="604" y="488"/>
                      <a:pt x="604" y="488"/>
                      <a:pt x="604" y="488"/>
                    </a:cubicBezTo>
                    <a:lnTo>
                      <a:pt x="604" y="552"/>
                    </a:lnTo>
                    <a:close/>
                    <a:moveTo>
                      <a:pt x="704" y="788"/>
                    </a:moveTo>
                    <a:cubicBezTo>
                      <a:pt x="652" y="788"/>
                      <a:pt x="652" y="788"/>
                      <a:pt x="652" y="788"/>
                    </a:cubicBezTo>
                    <a:cubicBezTo>
                      <a:pt x="652" y="724"/>
                      <a:pt x="652" y="724"/>
                      <a:pt x="652" y="724"/>
                    </a:cubicBezTo>
                    <a:cubicBezTo>
                      <a:pt x="704" y="724"/>
                      <a:pt x="704" y="724"/>
                      <a:pt x="704" y="724"/>
                    </a:cubicBezTo>
                    <a:lnTo>
                      <a:pt x="704" y="788"/>
                    </a:lnTo>
                    <a:close/>
                    <a:moveTo>
                      <a:pt x="704" y="672"/>
                    </a:moveTo>
                    <a:cubicBezTo>
                      <a:pt x="652" y="672"/>
                      <a:pt x="652" y="672"/>
                      <a:pt x="652" y="672"/>
                    </a:cubicBezTo>
                    <a:cubicBezTo>
                      <a:pt x="652" y="612"/>
                      <a:pt x="652" y="612"/>
                      <a:pt x="652" y="612"/>
                    </a:cubicBezTo>
                    <a:cubicBezTo>
                      <a:pt x="704" y="612"/>
                      <a:pt x="704" y="612"/>
                      <a:pt x="704" y="612"/>
                    </a:cubicBezTo>
                    <a:lnTo>
                      <a:pt x="704" y="672"/>
                    </a:lnTo>
                    <a:close/>
                    <a:moveTo>
                      <a:pt x="704" y="552"/>
                    </a:moveTo>
                    <a:cubicBezTo>
                      <a:pt x="652" y="552"/>
                      <a:pt x="652" y="552"/>
                      <a:pt x="652" y="552"/>
                    </a:cubicBezTo>
                    <a:cubicBezTo>
                      <a:pt x="652" y="488"/>
                      <a:pt x="652" y="488"/>
                      <a:pt x="652" y="488"/>
                    </a:cubicBezTo>
                    <a:cubicBezTo>
                      <a:pt x="704" y="488"/>
                      <a:pt x="704" y="488"/>
                      <a:pt x="704" y="488"/>
                    </a:cubicBezTo>
                    <a:lnTo>
                      <a:pt x="704" y="552"/>
                    </a:lnTo>
                    <a:close/>
                    <a:moveTo>
                      <a:pt x="804" y="788"/>
                    </a:moveTo>
                    <a:cubicBezTo>
                      <a:pt x="752" y="788"/>
                      <a:pt x="752" y="788"/>
                      <a:pt x="752" y="788"/>
                    </a:cubicBezTo>
                    <a:cubicBezTo>
                      <a:pt x="752" y="724"/>
                      <a:pt x="752" y="724"/>
                      <a:pt x="752" y="724"/>
                    </a:cubicBezTo>
                    <a:cubicBezTo>
                      <a:pt x="804" y="724"/>
                      <a:pt x="804" y="724"/>
                      <a:pt x="804" y="724"/>
                    </a:cubicBezTo>
                    <a:lnTo>
                      <a:pt x="804" y="788"/>
                    </a:lnTo>
                    <a:close/>
                    <a:moveTo>
                      <a:pt x="804" y="672"/>
                    </a:moveTo>
                    <a:cubicBezTo>
                      <a:pt x="752" y="672"/>
                      <a:pt x="752" y="672"/>
                      <a:pt x="752" y="672"/>
                    </a:cubicBezTo>
                    <a:cubicBezTo>
                      <a:pt x="752" y="612"/>
                      <a:pt x="752" y="612"/>
                      <a:pt x="752" y="612"/>
                    </a:cubicBezTo>
                    <a:cubicBezTo>
                      <a:pt x="804" y="612"/>
                      <a:pt x="804" y="612"/>
                      <a:pt x="804" y="612"/>
                    </a:cubicBezTo>
                    <a:lnTo>
                      <a:pt x="804" y="672"/>
                    </a:lnTo>
                    <a:close/>
                    <a:moveTo>
                      <a:pt x="804" y="552"/>
                    </a:moveTo>
                    <a:cubicBezTo>
                      <a:pt x="752" y="552"/>
                      <a:pt x="752" y="552"/>
                      <a:pt x="752" y="552"/>
                    </a:cubicBezTo>
                    <a:cubicBezTo>
                      <a:pt x="752" y="488"/>
                      <a:pt x="752" y="488"/>
                      <a:pt x="752" y="488"/>
                    </a:cubicBezTo>
                    <a:cubicBezTo>
                      <a:pt x="804" y="488"/>
                      <a:pt x="804" y="488"/>
                      <a:pt x="804" y="488"/>
                    </a:cubicBezTo>
                    <a:lnTo>
                      <a:pt x="804" y="552"/>
                    </a:lnTo>
                    <a:close/>
                    <a:moveTo>
                      <a:pt x="1048" y="788"/>
                    </a:moveTo>
                    <a:cubicBezTo>
                      <a:pt x="860" y="788"/>
                      <a:pt x="860" y="788"/>
                      <a:pt x="860" y="788"/>
                    </a:cubicBezTo>
                    <a:cubicBezTo>
                      <a:pt x="860" y="724"/>
                      <a:pt x="860" y="724"/>
                      <a:pt x="860" y="724"/>
                    </a:cubicBezTo>
                    <a:cubicBezTo>
                      <a:pt x="1048" y="724"/>
                      <a:pt x="1048" y="724"/>
                      <a:pt x="1048" y="724"/>
                    </a:cubicBezTo>
                    <a:lnTo>
                      <a:pt x="1048" y="788"/>
                    </a:lnTo>
                    <a:close/>
                    <a:moveTo>
                      <a:pt x="1048" y="672"/>
                    </a:moveTo>
                    <a:cubicBezTo>
                      <a:pt x="860" y="672"/>
                      <a:pt x="860" y="672"/>
                      <a:pt x="860" y="672"/>
                    </a:cubicBezTo>
                    <a:cubicBezTo>
                      <a:pt x="860" y="612"/>
                      <a:pt x="860" y="612"/>
                      <a:pt x="860" y="612"/>
                    </a:cubicBezTo>
                    <a:cubicBezTo>
                      <a:pt x="1048" y="612"/>
                      <a:pt x="1048" y="612"/>
                      <a:pt x="1048" y="612"/>
                    </a:cubicBezTo>
                    <a:lnTo>
                      <a:pt x="1048" y="672"/>
                    </a:lnTo>
                    <a:close/>
                    <a:moveTo>
                      <a:pt x="1048" y="552"/>
                    </a:moveTo>
                    <a:cubicBezTo>
                      <a:pt x="860" y="552"/>
                      <a:pt x="860" y="552"/>
                      <a:pt x="860" y="552"/>
                    </a:cubicBezTo>
                    <a:cubicBezTo>
                      <a:pt x="860" y="488"/>
                      <a:pt x="860" y="488"/>
                      <a:pt x="860" y="488"/>
                    </a:cubicBezTo>
                    <a:cubicBezTo>
                      <a:pt x="1048" y="488"/>
                      <a:pt x="1048" y="488"/>
                      <a:pt x="1048" y="488"/>
                    </a:cubicBezTo>
                    <a:lnTo>
                      <a:pt x="1048" y="552"/>
                    </a:lnTo>
                    <a:close/>
                    <a:moveTo>
                      <a:pt x="1048" y="397"/>
                    </a:moveTo>
                    <a:cubicBezTo>
                      <a:pt x="1048" y="401"/>
                      <a:pt x="1045" y="404"/>
                      <a:pt x="1041" y="404"/>
                    </a:cubicBezTo>
                    <a:cubicBezTo>
                      <a:pt x="563" y="404"/>
                      <a:pt x="563" y="404"/>
                      <a:pt x="563" y="404"/>
                    </a:cubicBezTo>
                    <a:cubicBezTo>
                      <a:pt x="559" y="404"/>
                      <a:pt x="556" y="401"/>
                      <a:pt x="556" y="397"/>
                    </a:cubicBezTo>
                    <a:cubicBezTo>
                      <a:pt x="556" y="107"/>
                      <a:pt x="556" y="107"/>
                      <a:pt x="556" y="107"/>
                    </a:cubicBezTo>
                    <a:cubicBezTo>
                      <a:pt x="556" y="103"/>
                      <a:pt x="559" y="100"/>
                      <a:pt x="563" y="100"/>
                    </a:cubicBezTo>
                    <a:cubicBezTo>
                      <a:pt x="1041" y="100"/>
                      <a:pt x="1041" y="100"/>
                      <a:pt x="1041" y="100"/>
                    </a:cubicBezTo>
                    <a:cubicBezTo>
                      <a:pt x="1045" y="100"/>
                      <a:pt x="1048" y="103"/>
                      <a:pt x="1048" y="107"/>
                    </a:cubicBezTo>
                    <a:lnTo>
                      <a:pt x="1048" y="39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85845">
                  <a:lnSpc>
                    <a:spcPct val="130000"/>
                  </a:lnSpc>
                </a:pPr>
                <a:endParaRPr lang="en-US" spc="-200" baseline="-25000">
                  <a:solidFill>
                    <a:srgbClr val="676767"/>
                  </a:solidFill>
                </a:endParaRPr>
              </a:p>
            </p:txBody>
          </p:sp>
          <p:sp>
            <p:nvSpPr>
              <p:cNvPr id="167" name="Freeform 9"/>
              <p:cNvSpPr>
                <a:spLocks/>
              </p:cNvSpPr>
              <p:nvPr/>
            </p:nvSpPr>
            <p:spPr bwMode="auto">
              <a:xfrm>
                <a:off x="3503924" y="4554828"/>
                <a:ext cx="89880" cy="264008"/>
              </a:xfrm>
              <a:custGeom>
                <a:avLst/>
                <a:gdLst>
                  <a:gd name="T0" fmla="*/ 0 w 324"/>
                  <a:gd name="T1" fmla="*/ 820 h 952"/>
                  <a:gd name="T2" fmla="*/ 135 w 324"/>
                  <a:gd name="T3" fmla="*/ 952 h 952"/>
                  <a:gd name="T4" fmla="*/ 191 w 324"/>
                  <a:gd name="T5" fmla="*/ 952 h 952"/>
                  <a:gd name="T6" fmla="*/ 324 w 324"/>
                  <a:gd name="T7" fmla="*/ 820 h 952"/>
                  <a:gd name="T8" fmla="*/ 324 w 324"/>
                  <a:gd name="T9" fmla="*/ 176 h 952"/>
                  <a:gd name="T10" fmla="*/ 324 w 324"/>
                  <a:gd name="T11" fmla="*/ 172 h 952"/>
                  <a:gd name="T12" fmla="*/ 324 w 324"/>
                  <a:gd name="T13" fmla="*/ 133 h 952"/>
                  <a:gd name="T14" fmla="*/ 191 w 324"/>
                  <a:gd name="T15" fmla="*/ 0 h 952"/>
                  <a:gd name="T16" fmla="*/ 135 w 324"/>
                  <a:gd name="T17" fmla="*/ 0 h 952"/>
                  <a:gd name="T18" fmla="*/ 0 w 324"/>
                  <a:gd name="T19" fmla="*/ 133 h 952"/>
                  <a:gd name="T20" fmla="*/ 0 w 324"/>
                  <a:gd name="T21" fmla="*/ 172 h 952"/>
                  <a:gd name="T22" fmla="*/ 0 w 324"/>
                  <a:gd name="T23" fmla="*/ 176 h 952"/>
                  <a:gd name="T24" fmla="*/ 0 w 324"/>
                  <a:gd name="T25" fmla="*/ 820 h 9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24" h="952">
                    <a:moveTo>
                      <a:pt x="0" y="820"/>
                    </a:moveTo>
                    <a:cubicBezTo>
                      <a:pt x="0" y="893"/>
                      <a:pt x="62" y="952"/>
                      <a:pt x="135" y="952"/>
                    </a:cubicBezTo>
                    <a:cubicBezTo>
                      <a:pt x="191" y="952"/>
                      <a:pt x="191" y="952"/>
                      <a:pt x="191" y="952"/>
                    </a:cubicBezTo>
                    <a:cubicBezTo>
                      <a:pt x="264" y="952"/>
                      <a:pt x="324" y="893"/>
                      <a:pt x="324" y="820"/>
                    </a:cubicBezTo>
                    <a:cubicBezTo>
                      <a:pt x="324" y="176"/>
                      <a:pt x="324" y="176"/>
                      <a:pt x="324" y="176"/>
                    </a:cubicBezTo>
                    <a:cubicBezTo>
                      <a:pt x="324" y="172"/>
                      <a:pt x="324" y="172"/>
                      <a:pt x="324" y="172"/>
                    </a:cubicBezTo>
                    <a:cubicBezTo>
                      <a:pt x="324" y="133"/>
                      <a:pt x="324" y="133"/>
                      <a:pt x="324" y="133"/>
                    </a:cubicBezTo>
                    <a:cubicBezTo>
                      <a:pt x="324" y="60"/>
                      <a:pt x="264" y="0"/>
                      <a:pt x="191" y="0"/>
                    </a:cubicBezTo>
                    <a:cubicBezTo>
                      <a:pt x="135" y="0"/>
                      <a:pt x="135" y="0"/>
                      <a:pt x="135" y="0"/>
                    </a:cubicBezTo>
                    <a:cubicBezTo>
                      <a:pt x="62" y="0"/>
                      <a:pt x="0" y="60"/>
                      <a:pt x="0" y="133"/>
                    </a:cubicBezTo>
                    <a:cubicBezTo>
                      <a:pt x="0" y="172"/>
                      <a:pt x="0" y="172"/>
                      <a:pt x="0" y="172"/>
                    </a:cubicBezTo>
                    <a:cubicBezTo>
                      <a:pt x="0" y="176"/>
                      <a:pt x="0" y="176"/>
                      <a:pt x="0" y="176"/>
                    </a:cubicBezTo>
                    <a:lnTo>
                      <a:pt x="0" y="82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85845">
                  <a:lnSpc>
                    <a:spcPct val="130000"/>
                  </a:lnSpc>
                </a:pPr>
                <a:endParaRPr lang="en-US" spc="-200" baseline="-25000">
                  <a:solidFill>
                    <a:srgbClr val="676767"/>
                  </a:solidFill>
                </a:endParaRPr>
              </a:p>
            </p:txBody>
          </p:sp>
        </p:grpSp>
      </p:grpSp>
      <p:grpSp>
        <p:nvGrpSpPr>
          <p:cNvPr id="12" name="Group 11"/>
          <p:cNvGrpSpPr/>
          <p:nvPr/>
        </p:nvGrpSpPr>
        <p:grpSpPr>
          <a:xfrm>
            <a:off x="3087880" y="1826771"/>
            <a:ext cx="381620" cy="381619"/>
            <a:chOff x="3087880" y="1826771"/>
            <a:chExt cx="381620" cy="381619"/>
          </a:xfrm>
        </p:grpSpPr>
        <p:sp>
          <p:nvSpPr>
            <p:cNvPr id="188" name="Oval 187"/>
            <p:cNvSpPr/>
            <p:nvPr/>
          </p:nvSpPr>
          <p:spPr>
            <a:xfrm>
              <a:off x="3087880" y="1826771"/>
              <a:ext cx="381620" cy="381619"/>
            </a:xfrm>
            <a:prstGeom prst="ellipse">
              <a:avLst/>
            </a:prstGeom>
            <a:gradFill>
              <a:gsLst>
                <a:gs pos="0">
                  <a:srgbClr val="215A9C"/>
                </a:gs>
                <a:gs pos="100000">
                  <a:schemeClr val="tx2"/>
                </a:gs>
              </a:gsLst>
            </a:gradFill>
            <a:ln w="25400">
              <a:solidFill>
                <a:srgbClr val="E2E2E2"/>
              </a:solidFill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8" tIns="45714" rIns="91428" bIns="45714" rtlCol="0" anchor="ctr"/>
            <a:lstStyle/>
            <a:p>
              <a:pPr algn="ctr" defTabSz="457127"/>
              <a:endParaRPr lang="en-US" dirty="0"/>
            </a:p>
          </p:txBody>
        </p:sp>
        <p:grpSp>
          <p:nvGrpSpPr>
            <p:cNvPr id="189" name="Group 188"/>
            <p:cNvGrpSpPr/>
            <p:nvPr/>
          </p:nvGrpSpPr>
          <p:grpSpPr>
            <a:xfrm>
              <a:off x="3188392" y="1893659"/>
              <a:ext cx="180598" cy="247843"/>
              <a:chOff x="3490334" y="5010874"/>
              <a:chExt cx="287903" cy="395105"/>
            </a:xfrm>
            <a:effectLst/>
          </p:grpSpPr>
          <p:sp>
            <p:nvSpPr>
              <p:cNvPr id="190" name="Freeform 14"/>
              <p:cNvSpPr>
                <a:spLocks noEditPoints="1"/>
              </p:cNvSpPr>
              <p:nvPr/>
            </p:nvSpPr>
            <p:spPr bwMode="auto">
              <a:xfrm>
                <a:off x="3490334" y="5038181"/>
                <a:ext cx="287903" cy="258141"/>
              </a:xfrm>
              <a:custGeom>
                <a:avLst/>
                <a:gdLst>
                  <a:gd name="T0" fmla="*/ 1085 w 1142"/>
                  <a:gd name="T1" fmla="*/ 135 h 1024"/>
                  <a:gd name="T2" fmla="*/ 1085 w 1142"/>
                  <a:gd name="T3" fmla="*/ 56 h 1024"/>
                  <a:gd name="T4" fmla="*/ 1028 w 1142"/>
                  <a:gd name="T5" fmla="*/ 0 h 1024"/>
                  <a:gd name="T6" fmla="*/ 114 w 1142"/>
                  <a:gd name="T7" fmla="*/ 0 h 1024"/>
                  <a:gd name="T8" fmla="*/ 57 w 1142"/>
                  <a:gd name="T9" fmla="*/ 56 h 1024"/>
                  <a:gd name="T10" fmla="*/ 57 w 1142"/>
                  <a:gd name="T11" fmla="*/ 134 h 1024"/>
                  <a:gd name="T12" fmla="*/ 0 w 1142"/>
                  <a:gd name="T13" fmla="*/ 513 h 1024"/>
                  <a:gd name="T14" fmla="*/ 57 w 1142"/>
                  <a:gd name="T15" fmla="*/ 891 h 1024"/>
                  <a:gd name="T16" fmla="*/ 57 w 1142"/>
                  <a:gd name="T17" fmla="*/ 970 h 1024"/>
                  <a:gd name="T18" fmla="*/ 114 w 1142"/>
                  <a:gd name="T19" fmla="*/ 1024 h 1024"/>
                  <a:gd name="T20" fmla="*/ 1028 w 1142"/>
                  <a:gd name="T21" fmla="*/ 1024 h 1024"/>
                  <a:gd name="T22" fmla="*/ 1085 w 1142"/>
                  <a:gd name="T23" fmla="*/ 970 h 1024"/>
                  <a:gd name="T24" fmla="*/ 1085 w 1142"/>
                  <a:gd name="T25" fmla="*/ 892 h 1024"/>
                  <a:gd name="T26" fmla="*/ 1142 w 1142"/>
                  <a:gd name="T27" fmla="*/ 513 h 1024"/>
                  <a:gd name="T28" fmla="*/ 1085 w 1142"/>
                  <a:gd name="T29" fmla="*/ 135 h 1024"/>
                  <a:gd name="T30" fmla="*/ 253 w 1142"/>
                  <a:gd name="T31" fmla="*/ 722 h 1024"/>
                  <a:gd name="T32" fmla="*/ 253 w 1142"/>
                  <a:gd name="T33" fmla="*/ 298 h 1024"/>
                  <a:gd name="T34" fmla="*/ 279 w 1142"/>
                  <a:gd name="T35" fmla="*/ 272 h 1024"/>
                  <a:gd name="T36" fmla="*/ 871 w 1142"/>
                  <a:gd name="T37" fmla="*/ 272 h 1024"/>
                  <a:gd name="T38" fmla="*/ 897 w 1142"/>
                  <a:gd name="T39" fmla="*/ 298 h 1024"/>
                  <a:gd name="T40" fmla="*/ 897 w 1142"/>
                  <a:gd name="T41" fmla="*/ 722 h 1024"/>
                  <a:gd name="T42" fmla="*/ 871 w 1142"/>
                  <a:gd name="T43" fmla="*/ 748 h 1024"/>
                  <a:gd name="T44" fmla="*/ 279 w 1142"/>
                  <a:gd name="T45" fmla="*/ 748 h 1024"/>
                  <a:gd name="T46" fmla="*/ 253 w 1142"/>
                  <a:gd name="T47" fmla="*/ 722 h 1024"/>
                  <a:gd name="T48" fmla="*/ 89 w 1142"/>
                  <a:gd name="T49" fmla="*/ 541 h 1024"/>
                  <a:gd name="T50" fmla="*/ 59 w 1142"/>
                  <a:gd name="T51" fmla="*/ 511 h 1024"/>
                  <a:gd name="T52" fmla="*/ 89 w 1142"/>
                  <a:gd name="T53" fmla="*/ 482 h 1024"/>
                  <a:gd name="T54" fmla="*/ 119 w 1142"/>
                  <a:gd name="T55" fmla="*/ 511 h 1024"/>
                  <a:gd name="T56" fmla="*/ 89 w 1142"/>
                  <a:gd name="T57" fmla="*/ 541 h 1024"/>
                  <a:gd name="T58" fmla="*/ 1057 w 1142"/>
                  <a:gd name="T59" fmla="*/ 541 h 1024"/>
                  <a:gd name="T60" fmla="*/ 1027 w 1142"/>
                  <a:gd name="T61" fmla="*/ 511 h 1024"/>
                  <a:gd name="T62" fmla="*/ 1057 w 1142"/>
                  <a:gd name="T63" fmla="*/ 482 h 1024"/>
                  <a:gd name="T64" fmla="*/ 1087 w 1142"/>
                  <a:gd name="T65" fmla="*/ 511 h 1024"/>
                  <a:gd name="T66" fmla="*/ 1057 w 1142"/>
                  <a:gd name="T67" fmla="*/ 541 h 10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142" h="1024">
                    <a:moveTo>
                      <a:pt x="1085" y="135"/>
                    </a:moveTo>
                    <a:cubicBezTo>
                      <a:pt x="1085" y="56"/>
                      <a:pt x="1085" y="56"/>
                      <a:pt x="1085" y="56"/>
                    </a:cubicBezTo>
                    <a:cubicBezTo>
                      <a:pt x="1085" y="26"/>
                      <a:pt x="1058" y="0"/>
                      <a:pt x="1028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84" y="0"/>
                      <a:pt x="57" y="26"/>
                      <a:pt x="57" y="56"/>
                    </a:cubicBezTo>
                    <a:cubicBezTo>
                      <a:pt x="57" y="134"/>
                      <a:pt x="57" y="134"/>
                      <a:pt x="57" y="134"/>
                    </a:cubicBezTo>
                    <a:cubicBezTo>
                      <a:pt x="21" y="239"/>
                      <a:pt x="0" y="370"/>
                      <a:pt x="0" y="513"/>
                    </a:cubicBezTo>
                    <a:cubicBezTo>
                      <a:pt x="0" y="656"/>
                      <a:pt x="21" y="787"/>
                      <a:pt x="57" y="891"/>
                    </a:cubicBezTo>
                    <a:cubicBezTo>
                      <a:pt x="57" y="970"/>
                      <a:pt x="57" y="970"/>
                      <a:pt x="57" y="970"/>
                    </a:cubicBezTo>
                    <a:cubicBezTo>
                      <a:pt x="57" y="1001"/>
                      <a:pt x="84" y="1024"/>
                      <a:pt x="114" y="1024"/>
                    </a:cubicBezTo>
                    <a:cubicBezTo>
                      <a:pt x="1028" y="1024"/>
                      <a:pt x="1028" y="1024"/>
                      <a:pt x="1028" y="1024"/>
                    </a:cubicBezTo>
                    <a:cubicBezTo>
                      <a:pt x="1058" y="1024"/>
                      <a:pt x="1085" y="1001"/>
                      <a:pt x="1085" y="970"/>
                    </a:cubicBezTo>
                    <a:cubicBezTo>
                      <a:pt x="1085" y="892"/>
                      <a:pt x="1085" y="892"/>
                      <a:pt x="1085" y="892"/>
                    </a:cubicBezTo>
                    <a:cubicBezTo>
                      <a:pt x="1121" y="787"/>
                      <a:pt x="1142" y="656"/>
                      <a:pt x="1142" y="513"/>
                    </a:cubicBezTo>
                    <a:cubicBezTo>
                      <a:pt x="1142" y="370"/>
                      <a:pt x="1121" y="239"/>
                      <a:pt x="1085" y="135"/>
                    </a:cubicBezTo>
                    <a:close/>
                    <a:moveTo>
                      <a:pt x="253" y="722"/>
                    </a:moveTo>
                    <a:cubicBezTo>
                      <a:pt x="253" y="298"/>
                      <a:pt x="253" y="298"/>
                      <a:pt x="253" y="298"/>
                    </a:cubicBezTo>
                    <a:cubicBezTo>
                      <a:pt x="253" y="284"/>
                      <a:pt x="265" y="272"/>
                      <a:pt x="279" y="272"/>
                    </a:cubicBezTo>
                    <a:cubicBezTo>
                      <a:pt x="871" y="272"/>
                      <a:pt x="871" y="272"/>
                      <a:pt x="871" y="272"/>
                    </a:cubicBezTo>
                    <a:cubicBezTo>
                      <a:pt x="885" y="272"/>
                      <a:pt x="897" y="284"/>
                      <a:pt x="897" y="298"/>
                    </a:cubicBezTo>
                    <a:cubicBezTo>
                      <a:pt x="897" y="722"/>
                      <a:pt x="897" y="722"/>
                      <a:pt x="897" y="722"/>
                    </a:cubicBezTo>
                    <a:cubicBezTo>
                      <a:pt x="897" y="736"/>
                      <a:pt x="885" y="748"/>
                      <a:pt x="871" y="748"/>
                    </a:cubicBezTo>
                    <a:cubicBezTo>
                      <a:pt x="279" y="748"/>
                      <a:pt x="279" y="748"/>
                      <a:pt x="279" y="748"/>
                    </a:cubicBezTo>
                    <a:cubicBezTo>
                      <a:pt x="265" y="748"/>
                      <a:pt x="253" y="736"/>
                      <a:pt x="253" y="722"/>
                    </a:cubicBezTo>
                    <a:close/>
                    <a:moveTo>
                      <a:pt x="89" y="541"/>
                    </a:moveTo>
                    <a:cubicBezTo>
                      <a:pt x="72" y="541"/>
                      <a:pt x="59" y="528"/>
                      <a:pt x="59" y="511"/>
                    </a:cubicBezTo>
                    <a:cubicBezTo>
                      <a:pt x="59" y="495"/>
                      <a:pt x="72" y="482"/>
                      <a:pt x="89" y="482"/>
                    </a:cubicBezTo>
                    <a:cubicBezTo>
                      <a:pt x="105" y="482"/>
                      <a:pt x="119" y="495"/>
                      <a:pt x="119" y="511"/>
                    </a:cubicBezTo>
                    <a:cubicBezTo>
                      <a:pt x="119" y="528"/>
                      <a:pt x="105" y="541"/>
                      <a:pt x="89" y="541"/>
                    </a:cubicBezTo>
                    <a:close/>
                    <a:moveTo>
                      <a:pt x="1057" y="541"/>
                    </a:moveTo>
                    <a:cubicBezTo>
                      <a:pt x="1040" y="541"/>
                      <a:pt x="1027" y="528"/>
                      <a:pt x="1027" y="511"/>
                    </a:cubicBezTo>
                    <a:cubicBezTo>
                      <a:pt x="1027" y="495"/>
                      <a:pt x="1040" y="482"/>
                      <a:pt x="1057" y="482"/>
                    </a:cubicBezTo>
                    <a:cubicBezTo>
                      <a:pt x="1073" y="482"/>
                      <a:pt x="1087" y="495"/>
                      <a:pt x="1087" y="511"/>
                    </a:cubicBezTo>
                    <a:cubicBezTo>
                      <a:pt x="1087" y="528"/>
                      <a:pt x="1073" y="541"/>
                      <a:pt x="1057" y="54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85845">
                  <a:lnSpc>
                    <a:spcPct val="130000"/>
                  </a:lnSpc>
                </a:pPr>
                <a:endParaRPr lang="en-US" spc="-200" baseline="-25000">
                  <a:solidFill>
                    <a:srgbClr val="676767"/>
                  </a:solidFill>
                </a:endParaRPr>
              </a:p>
            </p:txBody>
          </p:sp>
          <p:sp>
            <p:nvSpPr>
              <p:cNvPr id="191" name="Rectangle 15"/>
              <p:cNvSpPr>
                <a:spLocks noChangeArrowheads="1"/>
              </p:cNvSpPr>
              <p:nvPr/>
            </p:nvSpPr>
            <p:spPr bwMode="auto">
              <a:xfrm>
                <a:off x="3538016" y="5010874"/>
                <a:ext cx="38294" cy="2421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85845">
                  <a:lnSpc>
                    <a:spcPct val="130000"/>
                  </a:lnSpc>
                </a:pPr>
                <a:endParaRPr lang="en-US" spc="-200" baseline="-25000">
                  <a:solidFill>
                    <a:srgbClr val="676767"/>
                  </a:solidFill>
                </a:endParaRPr>
              </a:p>
            </p:txBody>
          </p:sp>
          <p:sp>
            <p:nvSpPr>
              <p:cNvPr id="192" name="Rectangle 16"/>
              <p:cNvSpPr>
                <a:spLocks noChangeArrowheads="1"/>
              </p:cNvSpPr>
              <p:nvPr/>
            </p:nvSpPr>
            <p:spPr bwMode="auto">
              <a:xfrm>
                <a:off x="3595511" y="5010874"/>
                <a:ext cx="39255" cy="2421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85845">
                  <a:lnSpc>
                    <a:spcPct val="130000"/>
                  </a:lnSpc>
                </a:pPr>
                <a:endParaRPr lang="en-US" spc="-200" baseline="-25000">
                  <a:solidFill>
                    <a:srgbClr val="676767"/>
                  </a:solidFill>
                </a:endParaRPr>
              </a:p>
            </p:txBody>
          </p:sp>
          <p:sp>
            <p:nvSpPr>
              <p:cNvPr id="193" name="Freeform 17"/>
              <p:cNvSpPr>
                <a:spLocks/>
              </p:cNvSpPr>
              <p:nvPr/>
            </p:nvSpPr>
            <p:spPr bwMode="auto">
              <a:xfrm>
                <a:off x="3615138" y="5300376"/>
                <a:ext cx="39041" cy="105603"/>
              </a:xfrm>
              <a:custGeom>
                <a:avLst/>
                <a:gdLst>
                  <a:gd name="T0" fmla="*/ 11 w 155"/>
                  <a:gd name="T1" fmla="*/ 354 h 419"/>
                  <a:gd name="T2" fmla="*/ 78 w 155"/>
                  <a:gd name="T3" fmla="*/ 419 h 419"/>
                  <a:gd name="T4" fmla="*/ 145 w 155"/>
                  <a:gd name="T5" fmla="*/ 354 h 419"/>
                  <a:gd name="T6" fmla="*/ 155 w 155"/>
                  <a:gd name="T7" fmla="*/ 0 h 419"/>
                  <a:gd name="T8" fmla="*/ 0 w 155"/>
                  <a:gd name="T9" fmla="*/ 0 h 419"/>
                  <a:gd name="T10" fmla="*/ 11 w 155"/>
                  <a:gd name="T11" fmla="*/ 354 h 4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5" h="419">
                    <a:moveTo>
                      <a:pt x="11" y="354"/>
                    </a:moveTo>
                    <a:cubicBezTo>
                      <a:pt x="12" y="390"/>
                      <a:pt x="41" y="419"/>
                      <a:pt x="78" y="419"/>
                    </a:cubicBezTo>
                    <a:cubicBezTo>
                      <a:pt x="114" y="419"/>
                      <a:pt x="144" y="390"/>
                      <a:pt x="145" y="354"/>
                    </a:cubicBezTo>
                    <a:cubicBezTo>
                      <a:pt x="155" y="0"/>
                      <a:pt x="155" y="0"/>
                      <a:pt x="155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1" y="35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85845">
                  <a:lnSpc>
                    <a:spcPct val="130000"/>
                  </a:lnSpc>
                </a:pPr>
                <a:endParaRPr lang="en-US" spc="-200" baseline="-25000">
                  <a:solidFill>
                    <a:srgbClr val="676767"/>
                  </a:solidFill>
                </a:endParaRPr>
              </a:p>
            </p:txBody>
          </p:sp>
        </p:grpSp>
      </p:grpSp>
      <p:grpSp>
        <p:nvGrpSpPr>
          <p:cNvPr id="11" name="Group 10"/>
          <p:cNvGrpSpPr/>
          <p:nvPr/>
        </p:nvGrpSpPr>
        <p:grpSpPr>
          <a:xfrm>
            <a:off x="2006057" y="2368663"/>
            <a:ext cx="381619" cy="381619"/>
            <a:chOff x="2006057" y="2368663"/>
            <a:chExt cx="381619" cy="381619"/>
          </a:xfrm>
        </p:grpSpPr>
        <p:sp>
          <p:nvSpPr>
            <p:cNvPr id="196" name="Oval 195"/>
            <p:cNvSpPr/>
            <p:nvPr/>
          </p:nvSpPr>
          <p:spPr>
            <a:xfrm>
              <a:off x="2006057" y="2368663"/>
              <a:ext cx="381619" cy="381619"/>
            </a:xfrm>
            <a:prstGeom prst="ellipse">
              <a:avLst/>
            </a:prstGeom>
            <a:gradFill>
              <a:gsLst>
                <a:gs pos="0">
                  <a:srgbClr val="215A9C"/>
                </a:gs>
                <a:gs pos="100000">
                  <a:schemeClr val="tx2"/>
                </a:gs>
              </a:gsLst>
            </a:gradFill>
            <a:ln w="25400">
              <a:solidFill>
                <a:srgbClr val="E2E2E2"/>
              </a:solidFill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8" tIns="45714" rIns="91428" bIns="45714" rtlCol="0" anchor="ctr"/>
            <a:lstStyle/>
            <a:p>
              <a:pPr algn="ctr" defTabSz="457127"/>
              <a:endParaRPr lang="en-US" dirty="0"/>
            </a:p>
          </p:txBody>
        </p:sp>
        <p:sp>
          <p:nvSpPr>
            <p:cNvPr id="197" name="Freeform 12"/>
            <p:cNvSpPr>
              <a:spLocks noEditPoints="1"/>
            </p:cNvSpPr>
            <p:nvPr/>
          </p:nvSpPr>
          <p:spPr bwMode="auto">
            <a:xfrm>
              <a:off x="2081601" y="2473174"/>
              <a:ext cx="230531" cy="172598"/>
            </a:xfrm>
            <a:custGeom>
              <a:avLst/>
              <a:gdLst>
                <a:gd name="T0" fmla="*/ 1504 w 1544"/>
                <a:gd name="T1" fmla="*/ 0 h 1156"/>
                <a:gd name="T2" fmla="*/ 40 w 1544"/>
                <a:gd name="T3" fmla="*/ 0 h 1156"/>
                <a:gd name="T4" fmla="*/ 0 w 1544"/>
                <a:gd name="T5" fmla="*/ 40 h 1156"/>
                <a:gd name="T6" fmla="*/ 0 w 1544"/>
                <a:gd name="T7" fmla="*/ 1116 h 1156"/>
                <a:gd name="T8" fmla="*/ 40 w 1544"/>
                <a:gd name="T9" fmla="*/ 1156 h 1156"/>
                <a:gd name="T10" fmla="*/ 1504 w 1544"/>
                <a:gd name="T11" fmla="*/ 1156 h 1156"/>
                <a:gd name="T12" fmla="*/ 1544 w 1544"/>
                <a:gd name="T13" fmla="*/ 1116 h 1156"/>
                <a:gd name="T14" fmla="*/ 1544 w 1544"/>
                <a:gd name="T15" fmla="*/ 40 h 1156"/>
                <a:gd name="T16" fmla="*/ 1504 w 1544"/>
                <a:gd name="T17" fmla="*/ 0 h 1156"/>
                <a:gd name="T18" fmla="*/ 1330 w 1544"/>
                <a:gd name="T19" fmla="*/ 318 h 1156"/>
                <a:gd name="T20" fmla="*/ 1455 w 1544"/>
                <a:gd name="T21" fmla="*/ 536 h 1156"/>
                <a:gd name="T22" fmla="*/ 1204 w 1544"/>
                <a:gd name="T23" fmla="*/ 536 h 1156"/>
                <a:gd name="T24" fmla="*/ 1330 w 1544"/>
                <a:gd name="T25" fmla="*/ 318 h 1156"/>
                <a:gd name="T26" fmla="*/ 1092 w 1544"/>
                <a:gd name="T27" fmla="*/ 770 h 1156"/>
                <a:gd name="T28" fmla="*/ 1066 w 1544"/>
                <a:gd name="T29" fmla="*/ 796 h 1156"/>
                <a:gd name="T30" fmla="*/ 198 w 1544"/>
                <a:gd name="T31" fmla="*/ 796 h 1156"/>
                <a:gd name="T32" fmla="*/ 172 w 1544"/>
                <a:gd name="T33" fmla="*/ 770 h 1156"/>
                <a:gd name="T34" fmla="*/ 172 w 1544"/>
                <a:gd name="T35" fmla="*/ 214 h 1156"/>
                <a:gd name="T36" fmla="*/ 198 w 1544"/>
                <a:gd name="T37" fmla="*/ 188 h 1156"/>
                <a:gd name="T38" fmla="*/ 1066 w 1544"/>
                <a:gd name="T39" fmla="*/ 188 h 1156"/>
                <a:gd name="T40" fmla="*/ 1092 w 1544"/>
                <a:gd name="T41" fmla="*/ 214 h 1156"/>
                <a:gd name="T42" fmla="*/ 1092 w 1544"/>
                <a:gd name="T43" fmla="*/ 770 h 1156"/>
                <a:gd name="T44" fmla="*/ 280 w 1544"/>
                <a:gd name="T45" fmla="*/ 1059 h 1156"/>
                <a:gd name="T46" fmla="*/ 202 w 1544"/>
                <a:gd name="T47" fmla="*/ 981 h 1156"/>
                <a:gd name="T48" fmla="*/ 280 w 1544"/>
                <a:gd name="T49" fmla="*/ 902 h 1156"/>
                <a:gd name="T50" fmla="*/ 359 w 1544"/>
                <a:gd name="T51" fmla="*/ 981 h 1156"/>
                <a:gd name="T52" fmla="*/ 280 w 1544"/>
                <a:gd name="T53" fmla="*/ 1059 h 1156"/>
                <a:gd name="T54" fmla="*/ 620 w 1544"/>
                <a:gd name="T55" fmla="*/ 1059 h 1156"/>
                <a:gd name="T56" fmla="*/ 542 w 1544"/>
                <a:gd name="T57" fmla="*/ 981 h 1156"/>
                <a:gd name="T58" fmla="*/ 620 w 1544"/>
                <a:gd name="T59" fmla="*/ 902 h 1156"/>
                <a:gd name="T60" fmla="*/ 699 w 1544"/>
                <a:gd name="T61" fmla="*/ 981 h 1156"/>
                <a:gd name="T62" fmla="*/ 620 w 1544"/>
                <a:gd name="T63" fmla="*/ 1059 h 1156"/>
                <a:gd name="T64" fmla="*/ 960 w 1544"/>
                <a:gd name="T65" fmla="*/ 1059 h 1156"/>
                <a:gd name="T66" fmla="*/ 882 w 1544"/>
                <a:gd name="T67" fmla="*/ 981 h 1156"/>
                <a:gd name="T68" fmla="*/ 960 w 1544"/>
                <a:gd name="T69" fmla="*/ 902 h 1156"/>
                <a:gd name="T70" fmla="*/ 1039 w 1544"/>
                <a:gd name="T71" fmla="*/ 981 h 1156"/>
                <a:gd name="T72" fmla="*/ 960 w 1544"/>
                <a:gd name="T73" fmla="*/ 1059 h 1156"/>
                <a:gd name="T74" fmla="*/ 1330 w 1544"/>
                <a:gd name="T75" fmla="*/ 840 h 1156"/>
                <a:gd name="T76" fmla="*/ 1204 w 1544"/>
                <a:gd name="T77" fmla="*/ 624 h 1156"/>
                <a:gd name="T78" fmla="*/ 1455 w 1544"/>
                <a:gd name="T79" fmla="*/ 624 h 1156"/>
                <a:gd name="T80" fmla="*/ 1330 w 1544"/>
                <a:gd name="T81" fmla="*/ 840 h 1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44" h="1156">
                  <a:moveTo>
                    <a:pt x="1504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1116"/>
                    <a:pt x="0" y="1116"/>
                    <a:pt x="0" y="1116"/>
                  </a:cubicBezTo>
                  <a:cubicBezTo>
                    <a:pt x="0" y="1138"/>
                    <a:pt x="18" y="1156"/>
                    <a:pt x="40" y="1156"/>
                  </a:cubicBezTo>
                  <a:cubicBezTo>
                    <a:pt x="1504" y="1156"/>
                    <a:pt x="1504" y="1156"/>
                    <a:pt x="1504" y="1156"/>
                  </a:cubicBezTo>
                  <a:cubicBezTo>
                    <a:pt x="1526" y="1156"/>
                    <a:pt x="1544" y="1138"/>
                    <a:pt x="1544" y="1116"/>
                  </a:cubicBezTo>
                  <a:cubicBezTo>
                    <a:pt x="1544" y="40"/>
                    <a:pt x="1544" y="40"/>
                    <a:pt x="1544" y="40"/>
                  </a:cubicBezTo>
                  <a:cubicBezTo>
                    <a:pt x="1544" y="18"/>
                    <a:pt x="1526" y="0"/>
                    <a:pt x="1504" y="0"/>
                  </a:cubicBezTo>
                  <a:close/>
                  <a:moveTo>
                    <a:pt x="1330" y="318"/>
                  </a:moveTo>
                  <a:cubicBezTo>
                    <a:pt x="1455" y="536"/>
                    <a:pt x="1455" y="536"/>
                    <a:pt x="1455" y="536"/>
                  </a:cubicBezTo>
                  <a:cubicBezTo>
                    <a:pt x="1204" y="536"/>
                    <a:pt x="1204" y="536"/>
                    <a:pt x="1204" y="536"/>
                  </a:cubicBezTo>
                  <a:lnTo>
                    <a:pt x="1330" y="318"/>
                  </a:lnTo>
                  <a:close/>
                  <a:moveTo>
                    <a:pt x="1092" y="770"/>
                  </a:moveTo>
                  <a:cubicBezTo>
                    <a:pt x="1092" y="784"/>
                    <a:pt x="1080" y="796"/>
                    <a:pt x="1066" y="796"/>
                  </a:cubicBezTo>
                  <a:cubicBezTo>
                    <a:pt x="198" y="796"/>
                    <a:pt x="198" y="796"/>
                    <a:pt x="198" y="796"/>
                  </a:cubicBezTo>
                  <a:cubicBezTo>
                    <a:pt x="184" y="796"/>
                    <a:pt x="172" y="784"/>
                    <a:pt x="172" y="770"/>
                  </a:cubicBezTo>
                  <a:cubicBezTo>
                    <a:pt x="172" y="214"/>
                    <a:pt x="172" y="214"/>
                    <a:pt x="172" y="214"/>
                  </a:cubicBezTo>
                  <a:cubicBezTo>
                    <a:pt x="172" y="200"/>
                    <a:pt x="184" y="188"/>
                    <a:pt x="198" y="188"/>
                  </a:cubicBezTo>
                  <a:cubicBezTo>
                    <a:pt x="1066" y="188"/>
                    <a:pt x="1066" y="188"/>
                    <a:pt x="1066" y="188"/>
                  </a:cubicBezTo>
                  <a:cubicBezTo>
                    <a:pt x="1080" y="188"/>
                    <a:pt x="1092" y="200"/>
                    <a:pt x="1092" y="214"/>
                  </a:cubicBezTo>
                  <a:lnTo>
                    <a:pt x="1092" y="770"/>
                  </a:lnTo>
                  <a:close/>
                  <a:moveTo>
                    <a:pt x="280" y="1059"/>
                  </a:moveTo>
                  <a:cubicBezTo>
                    <a:pt x="237" y="1059"/>
                    <a:pt x="202" y="1024"/>
                    <a:pt x="202" y="981"/>
                  </a:cubicBezTo>
                  <a:cubicBezTo>
                    <a:pt x="202" y="937"/>
                    <a:pt x="237" y="902"/>
                    <a:pt x="280" y="902"/>
                  </a:cubicBezTo>
                  <a:cubicBezTo>
                    <a:pt x="324" y="902"/>
                    <a:pt x="359" y="937"/>
                    <a:pt x="359" y="981"/>
                  </a:cubicBezTo>
                  <a:cubicBezTo>
                    <a:pt x="359" y="1024"/>
                    <a:pt x="324" y="1059"/>
                    <a:pt x="280" y="1059"/>
                  </a:cubicBezTo>
                  <a:close/>
                  <a:moveTo>
                    <a:pt x="620" y="1059"/>
                  </a:moveTo>
                  <a:cubicBezTo>
                    <a:pt x="577" y="1059"/>
                    <a:pt x="542" y="1024"/>
                    <a:pt x="542" y="981"/>
                  </a:cubicBezTo>
                  <a:cubicBezTo>
                    <a:pt x="542" y="937"/>
                    <a:pt x="577" y="902"/>
                    <a:pt x="620" y="902"/>
                  </a:cubicBezTo>
                  <a:cubicBezTo>
                    <a:pt x="664" y="902"/>
                    <a:pt x="699" y="937"/>
                    <a:pt x="699" y="981"/>
                  </a:cubicBezTo>
                  <a:cubicBezTo>
                    <a:pt x="699" y="1024"/>
                    <a:pt x="664" y="1059"/>
                    <a:pt x="620" y="1059"/>
                  </a:cubicBezTo>
                  <a:close/>
                  <a:moveTo>
                    <a:pt x="960" y="1059"/>
                  </a:moveTo>
                  <a:cubicBezTo>
                    <a:pt x="917" y="1059"/>
                    <a:pt x="882" y="1024"/>
                    <a:pt x="882" y="981"/>
                  </a:cubicBezTo>
                  <a:cubicBezTo>
                    <a:pt x="882" y="937"/>
                    <a:pt x="917" y="902"/>
                    <a:pt x="960" y="902"/>
                  </a:cubicBezTo>
                  <a:cubicBezTo>
                    <a:pt x="1004" y="902"/>
                    <a:pt x="1039" y="937"/>
                    <a:pt x="1039" y="981"/>
                  </a:cubicBezTo>
                  <a:cubicBezTo>
                    <a:pt x="1039" y="1024"/>
                    <a:pt x="1004" y="1059"/>
                    <a:pt x="960" y="1059"/>
                  </a:cubicBezTo>
                  <a:close/>
                  <a:moveTo>
                    <a:pt x="1330" y="840"/>
                  </a:moveTo>
                  <a:cubicBezTo>
                    <a:pt x="1204" y="624"/>
                    <a:pt x="1204" y="624"/>
                    <a:pt x="1204" y="624"/>
                  </a:cubicBezTo>
                  <a:cubicBezTo>
                    <a:pt x="1455" y="624"/>
                    <a:pt x="1455" y="624"/>
                    <a:pt x="1455" y="624"/>
                  </a:cubicBezTo>
                  <a:lnTo>
                    <a:pt x="1330" y="84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85845"/>
              <a:endParaRPr lang="en-US">
                <a:solidFill>
                  <a:srgbClr val="676767"/>
                </a:solidFill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2600397" y="2017581"/>
            <a:ext cx="297793" cy="297793"/>
            <a:chOff x="2600397" y="2017581"/>
            <a:chExt cx="297793" cy="297793"/>
          </a:xfrm>
        </p:grpSpPr>
        <p:sp>
          <p:nvSpPr>
            <p:cNvPr id="200" name="Oval 199"/>
            <p:cNvSpPr/>
            <p:nvPr/>
          </p:nvSpPr>
          <p:spPr>
            <a:xfrm>
              <a:off x="2600397" y="2017581"/>
              <a:ext cx="297793" cy="297793"/>
            </a:xfrm>
            <a:prstGeom prst="ellipse">
              <a:avLst/>
            </a:prstGeom>
            <a:gradFill>
              <a:gsLst>
                <a:gs pos="0">
                  <a:srgbClr val="215A9C"/>
                </a:gs>
                <a:gs pos="100000">
                  <a:schemeClr val="tx2"/>
                </a:gs>
              </a:gsLst>
            </a:gradFill>
            <a:ln w="25400">
              <a:solidFill>
                <a:srgbClr val="E2E2E2"/>
              </a:solidFill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8" tIns="45714" rIns="91428" bIns="45714" rtlCol="0" anchor="ctr"/>
            <a:lstStyle/>
            <a:p>
              <a:pPr algn="ctr" defTabSz="457127"/>
              <a:endParaRPr lang="en-US" dirty="0"/>
            </a:p>
          </p:txBody>
        </p:sp>
        <p:sp>
          <p:nvSpPr>
            <p:cNvPr id="201" name="Freeform 13"/>
            <p:cNvSpPr>
              <a:spLocks noEditPoints="1"/>
            </p:cNvSpPr>
            <p:nvPr/>
          </p:nvSpPr>
          <p:spPr bwMode="auto">
            <a:xfrm>
              <a:off x="2664604" y="2109472"/>
              <a:ext cx="169379" cy="114010"/>
            </a:xfrm>
            <a:custGeom>
              <a:avLst/>
              <a:gdLst>
                <a:gd name="T0" fmla="*/ 1208 w 1248"/>
                <a:gd name="T1" fmla="*/ 0 h 840"/>
                <a:gd name="T2" fmla="*/ 40 w 1248"/>
                <a:gd name="T3" fmla="*/ 0 h 840"/>
                <a:gd name="T4" fmla="*/ 0 w 1248"/>
                <a:gd name="T5" fmla="*/ 40 h 840"/>
                <a:gd name="T6" fmla="*/ 0 w 1248"/>
                <a:gd name="T7" fmla="*/ 800 h 840"/>
                <a:gd name="T8" fmla="*/ 40 w 1248"/>
                <a:gd name="T9" fmla="*/ 840 h 840"/>
                <a:gd name="T10" fmla="*/ 1208 w 1248"/>
                <a:gd name="T11" fmla="*/ 840 h 840"/>
                <a:gd name="T12" fmla="*/ 1248 w 1248"/>
                <a:gd name="T13" fmla="*/ 800 h 840"/>
                <a:gd name="T14" fmla="*/ 1248 w 1248"/>
                <a:gd name="T15" fmla="*/ 40 h 840"/>
                <a:gd name="T16" fmla="*/ 1208 w 1248"/>
                <a:gd name="T17" fmla="*/ 0 h 840"/>
                <a:gd name="T18" fmla="*/ 428 w 1248"/>
                <a:gd name="T19" fmla="*/ 68 h 840"/>
                <a:gd name="T20" fmla="*/ 860 w 1248"/>
                <a:gd name="T21" fmla="*/ 68 h 840"/>
                <a:gd name="T22" fmla="*/ 860 w 1248"/>
                <a:gd name="T23" fmla="*/ 120 h 840"/>
                <a:gd name="T24" fmla="*/ 428 w 1248"/>
                <a:gd name="T25" fmla="*/ 120 h 840"/>
                <a:gd name="T26" fmla="*/ 428 w 1248"/>
                <a:gd name="T27" fmla="*/ 68 h 840"/>
                <a:gd name="T28" fmla="*/ 346 w 1248"/>
                <a:gd name="T29" fmla="*/ 714 h 840"/>
                <a:gd name="T30" fmla="*/ 168 w 1248"/>
                <a:gd name="T31" fmla="*/ 694 h 840"/>
                <a:gd name="T32" fmla="*/ 176 w 1248"/>
                <a:gd name="T33" fmla="*/ 581 h 840"/>
                <a:gd name="T34" fmla="*/ 257 w 1248"/>
                <a:gd name="T35" fmla="*/ 489 h 840"/>
                <a:gd name="T36" fmla="*/ 297 w 1248"/>
                <a:gd name="T37" fmla="*/ 470 h 840"/>
                <a:gd name="T38" fmla="*/ 308 w 1248"/>
                <a:gd name="T39" fmla="*/ 461 h 840"/>
                <a:gd name="T40" fmla="*/ 315 w 1248"/>
                <a:gd name="T41" fmla="*/ 454 h 840"/>
                <a:gd name="T42" fmla="*/ 269 w 1248"/>
                <a:gd name="T43" fmla="*/ 364 h 840"/>
                <a:gd name="T44" fmla="*/ 266 w 1248"/>
                <a:gd name="T45" fmla="*/ 292 h 840"/>
                <a:gd name="T46" fmla="*/ 294 w 1248"/>
                <a:gd name="T47" fmla="*/ 262 h 840"/>
                <a:gd name="T48" fmla="*/ 308 w 1248"/>
                <a:gd name="T49" fmla="*/ 261 h 840"/>
                <a:gd name="T50" fmla="*/ 335 w 1248"/>
                <a:gd name="T51" fmla="*/ 259 h 840"/>
                <a:gd name="T52" fmla="*/ 388 w 1248"/>
                <a:gd name="T53" fmla="*/ 258 h 840"/>
                <a:gd name="T54" fmla="*/ 414 w 1248"/>
                <a:gd name="T55" fmla="*/ 276 h 840"/>
                <a:gd name="T56" fmla="*/ 424 w 1248"/>
                <a:gd name="T57" fmla="*/ 290 h 840"/>
                <a:gd name="T58" fmla="*/ 423 w 1248"/>
                <a:gd name="T59" fmla="*/ 358 h 840"/>
                <a:gd name="T60" fmla="*/ 374 w 1248"/>
                <a:gd name="T61" fmla="*/ 456 h 840"/>
                <a:gd name="T62" fmla="*/ 382 w 1248"/>
                <a:gd name="T63" fmla="*/ 463 h 840"/>
                <a:gd name="T64" fmla="*/ 394 w 1248"/>
                <a:gd name="T65" fmla="*/ 472 h 840"/>
                <a:gd name="T66" fmla="*/ 435 w 1248"/>
                <a:gd name="T67" fmla="*/ 489 h 840"/>
                <a:gd name="T68" fmla="*/ 516 w 1248"/>
                <a:gd name="T69" fmla="*/ 581 h 840"/>
                <a:gd name="T70" fmla="*/ 523 w 1248"/>
                <a:gd name="T71" fmla="*/ 694 h 840"/>
                <a:gd name="T72" fmla="*/ 346 w 1248"/>
                <a:gd name="T73" fmla="*/ 714 h 840"/>
                <a:gd name="T74" fmla="*/ 1104 w 1248"/>
                <a:gd name="T75" fmla="*/ 428 h 840"/>
                <a:gd name="T76" fmla="*/ 712 w 1248"/>
                <a:gd name="T77" fmla="*/ 428 h 840"/>
                <a:gd name="T78" fmla="*/ 697 w 1248"/>
                <a:gd name="T79" fmla="*/ 414 h 840"/>
                <a:gd name="T80" fmla="*/ 712 w 1248"/>
                <a:gd name="T81" fmla="*/ 400 h 840"/>
                <a:gd name="T82" fmla="*/ 1104 w 1248"/>
                <a:gd name="T83" fmla="*/ 400 h 840"/>
                <a:gd name="T84" fmla="*/ 1118 w 1248"/>
                <a:gd name="T85" fmla="*/ 414 h 840"/>
                <a:gd name="T86" fmla="*/ 1104 w 1248"/>
                <a:gd name="T87" fmla="*/ 428 h 840"/>
                <a:gd name="T88" fmla="*/ 1101 w 1248"/>
                <a:gd name="T89" fmla="*/ 332 h 840"/>
                <a:gd name="T90" fmla="*/ 714 w 1248"/>
                <a:gd name="T91" fmla="*/ 332 h 840"/>
                <a:gd name="T92" fmla="*/ 697 w 1248"/>
                <a:gd name="T93" fmla="*/ 314 h 840"/>
                <a:gd name="T94" fmla="*/ 714 w 1248"/>
                <a:gd name="T95" fmla="*/ 296 h 840"/>
                <a:gd name="T96" fmla="*/ 1101 w 1248"/>
                <a:gd name="T97" fmla="*/ 296 h 840"/>
                <a:gd name="T98" fmla="*/ 1118 w 1248"/>
                <a:gd name="T99" fmla="*/ 314 h 840"/>
                <a:gd name="T100" fmla="*/ 1101 w 1248"/>
                <a:gd name="T101" fmla="*/ 332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248" h="840">
                  <a:moveTo>
                    <a:pt x="1208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18" y="0"/>
                    <a:pt x="0" y="18"/>
                    <a:pt x="0" y="40"/>
                  </a:cubicBezTo>
                  <a:cubicBezTo>
                    <a:pt x="0" y="800"/>
                    <a:pt x="0" y="800"/>
                    <a:pt x="0" y="800"/>
                  </a:cubicBezTo>
                  <a:cubicBezTo>
                    <a:pt x="0" y="822"/>
                    <a:pt x="18" y="840"/>
                    <a:pt x="40" y="840"/>
                  </a:cubicBezTo>
                  <a:cubicBezTo>
                    <a:pt x="1208" y="840"/>
                    <a:pt x="1208" y="840"/>
                    <a:pt x="1208" y="840"/>
                  </a:cubicBezTo>
                  <a:cubicBezTo>
                    <a:pt x="1230" y="840"/>
                    <a:pt x="1248" y="822"/>
                    <a:pt x="1248" y="800"/>
                  </a:cubicBezTo>
                  <a:cubicBezTo>
                    <a:pt x="1248" y="40"/>
                    <a:pt x="1248" y="40"/>
                    <a:pt x="1248" y="40"/>
                  </a:cubicBezTo>
                  <a:cubicBezTo>
                    <a:pt x="1248" y="18"/>
                    <a:pt x="1230" y="0"/>
                    <a:pt x="1208" y="0"/>
                  </a:cubicBezTo>
                  <a:close/>
                  <a:moveTo>
                    <a:pt x="428" y="68"/>
                  </a:moveTo>
                  <a:cubicBezTo>
                    <a:pt x="860" y="68"/>
                    <a:pt x="860" y="68"/>
                    <a:pt x="860" y="68"/>
                  </a:cubicBezTo>
                  <a:cubicBezTo>
                    <a:pt x="860" y="120"/>
                    <a:pt x="860" y="120"/>
                    <a:pt x="860" y="120"/>
                  </a:cubicBezTo>
                  <a:cubicBezTo>
                    <a:pt x="428" y="120"/>
                    <a:pt x="428" y="120"/>
                    <a:pt x="428" y="120"/>
                  </a:cubicBezTo>
                  <a:lnTo>
                    <a:pt x="428" y="68"/>
                  </a:lnTo>
                  <a:close/>
                  <a:moveTo>
                    <a:pt x="346" y="714"/>
                  </a:moveTo>
                  <a:cubicBezTo>
                    <a:pt x="242" y="714"/>
                    <a:pt x="168" y="694"/>
                    <a:pt x="168" y="694"/>
                  </a:cubicBezTo>
                  <a:cubicBezTo>
                    <a:pt x="176" y="581"/>
                    <a:pt x="176" y="581"/>
                    <a:pt x="176" y="581"/>
                  </a:cubicBezTo>
                  <a:cubicBezTo>
                    <a:pt x="179" y="535"/>
                    <a:pt x="214" y="502"/>
                    <a:pt x="257" y="489"/>
                  </a:cubicBezTo>
                  <a:cubicBezTo>
                    <a:pt x="273" y="485"/>
                    <a:pt x="285" y="480"/>
                    <a:pt x="297" y="470"/>
                  </a:cubicBezTo>
                  <a:cubicBezTo>
                    <a:pt x="300" y="467"/>
                    <a:pt x="304" y="464"/>
                    <a:pt x="308" y="461"/>
                  </a:cubicBezTo>
                  <a:cubicBezTo>
                    <a:pt x="311" y="459"/>
                    <a:pt x="313" y="457"/>
                    <a:pt x="315" y="454"/>
                  </a:cubicBezTo>
                  <a:cubicBezTo>
                    <a:pt x="290" y="439"/>
                    <a:pt x="272" y="405"/>
                    <a:pt x="269" y="364"/>
                  </a:cubicBezTo>
                  <a:cubicBezTo>
                    <a:pt x="267" y="359"/>
                    <a:pt x="261" y="310"/>
                    <a:pt x="266" y="292"/>
                  </a:cubicBezTo>
                  <a:cubicBezTo>
                    <a:pt x="271" y="274"/>
                    <a:pt x="285" y="263"/>
                    <a:pt x="294" y="262"/>
                  </a:cubicBezTo>
                  <a:cubicBezTo>
                    <a:pt x="299" y="261"/>
                    <a:pt x="304" y="261"/>
                    <a:pt x="308" y="261"/>
                  </a:cubicBezTo>
                  <a:cubicBezTo>
                    <a:pt x="319" y="262"/>
                    <a:pt x="323" y="263"/>
                    <a:pt x="335" y="259"/>
                  </a:cubicBezTo>
                  <a:cubicBezTo>
                    <a:pt x="347" y="256"/>
                    <a:pt x="370" y="253"/>
                    <a:pt x="388" y="258"/>
                  </a:cubicBezTo>
                  <a:cubicBezTo>
                    <a:pt x="400" y="261"/>
                    <a:pt x="406" y="273"/>
                    <a:pt x="414" y="276"/>
                  </a:cubicBezTo>
                  <a:cubicBezTo>
                    <a:pt x="417" y="278"/>
                    <a:pt x="422" y="276"/>
                    <a:pt x="424" y="290"/>
                  </a:cubicBezTo>
                  <a:cubicBezTo>
                    <a:pt x="426" y="306"/>
                    <a:pt x="425" y="345"/>
                    <a:pt x="423" y="358"/>
                  </a:cubicBezTo>
                  <a:cubicBezTo>
                    <a:pt x="422" y="402"/>
                    <a:pt x="401" y="440"/>
                    <a:pt x="374" y="456"/>
                  </a:cubicBezTo>
                  <a:cubicBezTo>
                    <a:pt x="376" y="458"/>
                    <a:pt x="379" y="461"/>
                    <a:pt x="382" y="463"/>
                  </a:cubicBezTo>
                  <a:cubicBezTo>
                    <a:pt x="386" y="466"/>
                    <a:pt x="391" y="469"/>
                    <a:pt x="394" y="472"/>
                  </a:cubicBezTo>
                  <a:cubicBezTo>
                    <a:pt x="406" y="481"/>
                    <a:pt x="420" y="486"/>
                    <a:pt x="435" y="489"/>
                  </a:cubicBezTo>
                  <a:cubicBezTo>
                    <a:pt x="478" y="498"/>
                    <a:pt x="513" y="534"/>
                    <a:pt x="516" y="581"/>
                  </a:cubicBezTo>
                  <a:cubicBezTo>
                    <a:pt x="523" y="694"/>
                    <a:pt x="523" y="694"/>
                    <a:pt x="523" y="694"/>
                  </a:cubicBezTo>
                  <a:cubicBezTo>
                    <a:pt x="523" y="694"/>
                    <a:pt x="447" y="714"/>
                    <a:pt x="346" y="714"/>
                  </a:cubicBezTo>
                  <a:close/>
                  <a:moveTo>
                    <a:pt x="1104" y="428"/>
                  </a:moveTo>
                  <a:cubicBezTo>
                    <a:pt x="712" y="428"/>
                    <a:pt x="712" y="428"/>
                    <a:pt x="712" y="428"/>
                  </a:cubicBezTo>
                  <a:cubicBezTo>
                    <a:pt x="704" y="428"/>
                    <a:pt x="697" y="422"/>
                    <a:pt x="697" y="414"/>
                  </a:cubicBezTo>
                  <a:cubicBezTo>
                    <a:pt x="697" y="406"/>
                    <a:pt x="704" y="400"/>
                    <a:pt x="712" y="400"/>
                  </a:cubicBezTo>
                  <a:cubicBezTo>
                    <a:pt x="1104" y="400"/>
                    <a:pt x="1104" y="400"/>
                    <a:pt x="1104" y="400"/>
                  </a:cubicBezTo>
                  <a:cubicBezTo>
                    <a:pt x="1112" y="400"/>
                    <a:pt x="1118" y="406"/>
                    <a:pt x="1118" y="414"/>
                  </a:cubicBezTo>
                  <a:cubicBezTo>
                    <a:pt x="1118" y="422"/>
                    <a:pt x="1112" y="428"/>
                    <a:pt x="1104" y="428"/>
                  </a:cubicBezTo>
                  <a:close/>
                  <a:moveTo>
                    <a:pt x="1101" y="332"/>
                  </a:moveTo>
                  <a:cubicBezTo>
                    <a:pt x="714" y="332"/>
                    <a:pt x="714" y="332"/>
                    <a:pt x="714" y="332"/>
                  </a:cubicBezTo>
                  <a:cubicBezTo>
                    <a:pt x="705" y="332"/>
                    <a:pt x="697" y="324"/>
                    <a:pt x="697" y="314"/>
                  </a:cubicBezTo>
                  <a:cubicBezTo>
                    <a:pt x="697" y="304"/>
                    <a:pt x="705" y="296"/>
                    <a:pt x="714" y="296"/>
                  </a:cubicBezTo>
                  <a:cubicBezTo>
                    <a:pt x="1101" y="296"/>
                    <a:pt x="1101" y="296"/>
                    <a:pt x="1101" y="296"/>
                  </a:cubicBezTo>
                  <a:cubicBezTo>
                    <a:pt x="1111" y="296"/>
                    <a:pt x="1118" y="304"/>
                    <a:pt x="1118" y="314"/>
                  </a:cubicBezTo>
                  <a:cubicBezTo>
                    <a:pt x="1118" y="324"/>
                    <a:pt x="1111" y="332"/>
                    <a:pt x="1101" y="332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85845"/>
              <a:endParaRPr lang="en-US">
                <a:solidFill>
                  <a:srgbClr val="676767"/>
                </a:solidFill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653916" y="2609031"/>
            <a:ext cx="381619" cy="381619"/>
            <a:chOff x="6653916" y="2609031"/>
            <a:chExt cx="381619" cy="381619"/>
          </a:xfrm>
        </p:grpSpPr>
        <p:sp>
          <p:nvSpPr>
            <p:cNvPr id="207" name="Oval 206"/>
            <p:cNvSpPr/>
            <p:nvPr/>
          </p:nvSpPr>
          <p:spPr>
            <a:xfrm>
              <a:off x="6653916" y="2609031"/>
              <a:ext cx="381619" cy="381619"/>
            </a:xfrm>
            <a:prstGeom prst="ellipse">
              <a:avLst/>
            </a:prstGeom>
            <a:solidFill>
              <a:schemeClr val="tx2"/>
            </a:solidFill>
            <a:ln>
              <a:solidFill>
                <a:srgbClr val="E1E1E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>
                <a:solidFill>
                  <a:schemeClr val="lt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208" name="Group 207"/>
            <p:cNvGrpSpPr/>
            <p:nvPr/>
          </p:nvGrpSpPr>
          <p:grpSpPr>
            <a:xfrm>
              <a:off x="6713322" y="2712297"/>
              <a:ext cx="262806" cy="175087"/>
              <a:chOff x="7001589" y="-2823906"/>
              <a:chExt cx="418958" cy="279119"/>
            </a:xfrm>
            <a:effectLst/>
          </p:grpSpPr>
          <p:sp>
            <p:nvSpPr>
              <p:cNvPr id="209" name="Freeform 47"/>
              <p:cNvSpPr>
                <a:spLocks noEditPoints="1"/>
              </p:cNvSpPr>
              <p:nvPr/>
            </p:nvSpPr>
            <p:spPr bwMode="auto">
              <a:xfrm>
                <a:off x="7001589" y="-2823906"/>
                <a:ext cx="418958" cy="279119"/>
              </a:xfrm>
              <a:custGeom>
                <a:avLst/>
                <a:gdLst>
                  <a:gd name="T0" fmla="*/ 1847 w 1904"/>
                  <a:gd name="T1" fmla="*/ 0 h 1268"/>
                  <a:gd name="T2" fmla="*/ 57 w 1904"/>
                  <a:gd name="T3" fmla="*/ 0 h 1268"/>
                  <a:gd name="T4" fmla="*/ 0 w 1904"/>
                  <a:gd name="T5" fmla="*/ 54 h 1268"/>
                  <a:gd name="T6" fmla="*/ 0 w 1904"/>
                  <a:gd name="T7" fmla="*/ 1080 h 1268"/>
                  <a:gd name="T8" fmla="*/ 57 w 1904"/>
                  <a:gd name="T9" fmla="*/ 1136 h 1268"/>
                  <a:gd name="T10" fmla="*/ 860 w 1904"/>
                  <a:gd name="T11" fmla="*/ 1136 h 1268"/>
                  <a:gd name="T12" fmla="*/ 860 w 1904"/>
                  <a:gd name="T13" fmla="*/ 1212 h 1268"/>
                  <a:gd name="T14" fmla="*/ 468 w 1904"/>
                  <a:gd name="T15" fmla="*/ 1212 h 1268"/>
                  <a:gd name="T16" fmla="*/ 412 w 1904"/>
                  <a:gd name="T17" fmla="*/ 1268 h 1268"/>
                  <a:gd name="T18" fmla="*/ 1492 w 1904"/>
                  <a:gd name="T19" fmla="*/ 1268 h 1268"/>
                  <a:gd name="T20" fmla="*/ 1434 w 1904"/>
                  <a:gd name="T21" fmla="*/ 1212 h 1268"/>
                  <a:gd name="T22" fmla="*/ 1040 w 1904"/>
                  <a:gd name="T23" fmla="*/ 1212 h 1268"/>
                  <a:gd name="T24" fmla="*/ 1040 w 1904"/>
                  <a:gd name="T25" fmla="*/ 1136 h 1268"/>
                  <a:gd name="T26" fmla="*/ 1041 w 1904"/>
                  <a:gd name="T27" fmla="*/ 1136 h 1268"/>
                  <a:gd name="T28" fmla="*/ 1847 w 1904"/>
                  <a:gd name="T29" fmla="*/ 1136 h 1268"/>
                  <a:gd name="T30" fmla="*/ 1904 w 1904"/>
                  <a:gd name="T31" fmla="*/ 1080 h 1268"/>
                  <a:gd name="T32" fmla="*/ 1904 w 1904"/>
                  <a:gd name="T33" fmla="*/ 54 h 1268"/>
                  <a:gd name="T34" fmla="*/ 1847 w 1904"/>
                  <a:gd name="T35" fmla="*/ 0 h 1268"/>
                  <a:gd name="T36" fmla="*/ 92 w 1904"/>
                  <a:gd name="T37" fmla="*/ 1026 h 1268"/>
                  <a:gd name="T38" fmla="*/ 92 w 1904"/>
                  <a:gd name="T39" fmla="*/ 106 h 1268"/>
                  <a:gd name="T40" fmla="*/ 106 w 1904"/>
                  <a:gd name="T41" fmla="*/ 92 h 1268"/>
                  <a:gd name="T42" fmla="*/ 1798 w 1904"/>
                  <a:gd name="T43" fmla="*/ 92 h 1268"/>
                  <a:gd name="T44" fmla="*/ 1812 w 1904"/>
                  <a:gd name="T45" fmla="*/ 106 h 1268"/>
                  <a:gd name="T46" fmla="*/ 1812 w 1904"/>
                  <a:gd name="T47" fmla="*/ 1026 h 1268"/>
                  <a:gd name="T48" fmla="*/ 1798 w 1904"/>
                  <a:gd name="T49" fmla="*/ 1040 h 1268"/>
                  <a:gd name="T50" fmla="*/ 106 w 1904"/>
                  <a:gd name="T51" fmla="*/ 1040 h 1268"/>
                  <a:gd name="T52" fmla="*/ 92 w 1904"/>
                  <a:gd name="T53" fmla="*/ 1026 h 1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904" h="1268">
                    <a:moveTo>
                      <a:pt x="1847" y="0"/>
                    </a:moveTo>
                    <a:cubicBezTo>
                      <a:pt x="57" y="0"/>
                      <a:pt x="57" y="0"/>
                      <a:pt x="57" y="0"/>
                    </a:cubicBezTo>
                    <a:cubicBezTo>
                      <a:pt x="26" y="0"/>
                      <a:pt x="0" y="23"/>
                      <a:pt x="0" y="54"/>
                    </a:cubicBezTo>
                    <a:cubicBezTo>
                      <a:pt x="0" y="1080"/>
                      <a:pt x="0" y="1080"/>
                      <a:pt x="0" y="1080"/>
                    </a:cubicBezTo>
                    <a:cubicBezTo>
                      <a:pt x="0" y="1111"/>
                      <a:pt x="26" y="1136"/>
                      <a:pt x="57" y="1136"/>
                    </a:cubicBezTo>
                    <a:cubicBezTo>
                      <a:pt x="860" y="1136"/>
                      <a:pt x="860" y="1136"/>
                      <a:pt x="860" y="1136"/>
                    </a:cubicBezTo>
                    <a:cubicBezTo>
                      <a:pt x="860" y="1212"/>
                      <a:pt x="860" y="1212"/>
                      <a:pt x="860" y="1212"/>
                    </a:cubicBezTo>
                    <a:cubicBezTo>
                      <a:pt x="468" y="1212"/>
                      <a:pt x="468" y="1212"/>
                      <a:pt x="468" y="1212"/>
                    </a:cubicBezTo>
                    <a:cubicBezTo>
                      <a:pt x="437" y="1212"/>
                      <a:pt x="412" y="1237"/>
                      <a:pt x="412" y="1268"/>
                    </a:cubicBezTo>
                    <a:cubicBezTo>
                      <a:pt x="1492" y="1268"/>
                      <a:pt x="1492" y="1268"/>
                      <a:pt x="1492" y="1268"/>
                    </a:cubicBezTo>
                    <a:cubicBezTo>
                      <a:pt x="1492" y="1237"/>
                      <a:pt x="1465" y="1212"/>
                      <a:pt x="1434" y="1212"/>
                    </a:cubicBezTo>
                    <a:cubicBezTo>
                      <a:pt x="1040" y="1212"/>
                      <a:pt x="1040" y="1212"/>
                      <a:pt x="1040" y="1212"/>
                    </a:cubicBezTo>
                    <a:cubicBezTo>
                      <a:pt x="1040" y="1136"/>
                      <a:pt x="1040" y="1136"/>
                      <a:pt x="1040" y="1136"/>
                    </a:cubicBezTo>
                    <a:cubicBezTo>
                      <a:pt x="1041" y="1136"/>
                      <a:pt x="1041" y="1136"/>
                      <a:pt x="1041" y="1136"/>
                    </a:cubicBezTo>
                    <a:cubicBezTo>
                      <a:pt x="1847" y="1136"/>
                      <a:pt x="1847" y="1136"/>
                      <a:pt x="1847" y="1136"/>
                    </a:cubicBezTo>
                    <a:cubicBezTo>
                      <a:pt x="1878" y="1136"/>
                      <a:pt x="1904" y="1111"/>
                      <a:pt x="1904" y="1080"/>
                    </a:cubicBezTo>
                    <a:cubicBezTo>
                      <a:pt x="1904" y="54"/>
                      <a:pt x="1904" y="54"/>
                      <a:pt x="1904" y="54"/>
                    </a:cubicBezTo>
                    <a:cubicBezTo>
                      <a:pt x="1904" y="23"/>
                      <a:pt x="1878" y="0"/>
                      <a:pt x="1847" y="0"/>
                    </a:cubicBezTo>
                    <a:close/>
                    <a:moveTo>
                      <a:pt x="92" y="1026"/>
                    </a:moveTo>
                    <a:cubicBezTo>
                      <a:pt x="92" y="106"/>
                      <a:pt x="92" y="106"/>
                      <a:pt x="92" y="106"/>
                    </a:cubicBezTo>
                    <a:cubicBezTo>
                      <a:pt x="92" y="98"/>
                      <a:pt x="98" y="92"/>
                      <a:pt x="106" y="92"/>
                    </a:cubicBezTo>
                    <a:cubicBezTo>
                      <a:pt x="1798" y="92"/>
                      <a:pt x="1798" y="92"/>
                      <a:pt x="1798" y="92"/>
                    </a:cubicBezTo>
                    <a:cubicBezTo>
                      <a:pt x="1806" y="92"/>
                      <a:pt x="1812" y="98"/>
                      <a:pt x="1812" y="106"/>
                    </a:cubicBezTo>
                    <a:cubicBezTo>
                      <a:pt x="1812" y="1026"/>
                      <a:pt x="1812" y="1026"/>
                      <a:pt x="1812" y="1026"/>
                    </a:cubicBezTo>
                    <a:cubicBezTo>
                      <a:pt x="1812" y="1034"/>
                      <a:pt x="1806" y="1040"/>
                      <a:pt x="1798" y="1040"/>
                    </a:cubicBezTo>
                    <a:cubicBezTo>
                      <a:pt x="106" y="1040"/>
                      <a:pt x="106" y="1040"/>
                      <a:pt x="106" y="1040"/>
                    </a:cubicBezTo>
                    <a:cubicBezTo>
                      <a:pt x="98" y="1040"/>
                      <a:pt x="92" y="1034"/>
                      <a:pt x="92" y="102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85845"/>
                <a:endParaRPr lang="en-US">
                  <a:solidFill>
                    <a:srgbClr val="676767"/>
                  </a:solidFill>
                </a:endParaRPr>
              </a:p>
            </p:txBody>
          </p:sp>
          <p:grpSp>
            <p:nvGrpSpPr>
              <p:cNvPr id="210" name="Group 209"/>
              <p:cNvGrpSpPr/>
              <p:nvPr/>
            </p:nvGrpSpPr>
            <p:grpSpPr>
              <a:xfrm>
                <a:off x="7122420" y="-2782716"/>
                <a:ext cx="177595" cy="151867"/>
                <a:chOff x="7122420" y="-2782716"/>
                <a:chExt cx="177595" cy="151867"/>
              </a:xfrm>
            </p:grpSpPr>
            <p:sp>
              <p:nvSpPr>
                <p:cNvPr id="211" name="Freeform 50"/>
                <p:cNvSpPr>
                  <a:spLocks/>
                </p:cNvSpPr>
                <p:nvPr/>
              </p:nvSpPr>
              <p:spPr bwMode="auto">
                <a:xfrm>
                  <a:off x="7122420" y="-2782716"/>
                  <a:ext cx="177595" cy="66710"/>
                </a:xfrm>
                <a:custGeom>
                  <a:avLst/>
                  <a:gdLst>
                    <a:gd name="T0" fmla="*/ 469 w 501"/>
                    <a:gd name="T1" fmla="*/ 171 h 171"/>
                    <a:gd name="T2" fmla="*/ 501 w 501"/>
                    <a:gd name="T3" fmla="*/ 139 h 171"/>
                    <a:gd name="T4" fmla="*/ 0 w 501"/>
                    <a:gd name="T5" fmla="*/ 139 h 171"/>
                    <a:gd name="T6" fmla="*/ 31 w 501"/>
                    <a:gd name="T7" fmla="*/ 171 h 171"/>
                    <a:gd name="T8" fmla="*/ 469 w 501"/>
                    <a:gd name="T9" fmla="*/ 171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01" h="171">
                      <a:moveTo>
                        <a:pt x="469" y="171"/>
                      </a:moveTo>
                      <a:cubicBezTo>
                        <a:pt x="501" y="139"/>
                        <a:pt x="501" y="139"/>
                        <a:pt x="501" y="139"/>
                      </a:cubicBezTo>
                      <a:cubicBezTo>
                        <a:pt x="362" y="0"/>
                        <a:pt x="138" y="0"/>
                        <a:pt x="0" y="139"/>
                      </a:cubicBezTo>
                      <a:cubicBezTo>
                        <a:pt x="31" y="171"/>
                        <a:pt x="31" y="171"/>
                        <a:pt x="31" y="171"/>
                      </a:cubicBezTo>
                      <a:cubicBezTo>
                        <a:pt x="151" y="51"/>
                        <a:pt x="347" y="49"/>
                        <a:pt x="469" y="17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45"/>
                  <a:endParaRPr lang="en-US">
                    <a:solidFill>
                      <a:srgbClr val="676767"/>
                    </a:solidFill>
                  </a:endParaRPr>
                </a:p>
              </p:txBody>
            </p:sp>
            <p:sp>
              <p:nvSpPr>
                <p:cNvPr id="212" name="Freeform 51"/>
                <p:cNvSpPr>
                  <a:spLocks/>
                </p:cNvSpPr>
                <p:nvPr/>
              </p:nvSpPr>
              <p:spPr bwMode="auto">
                <a:xfrm>
                  <a:off x="7146978" y="-2740220"/>
                  <a:ext cx="128179" cy="51227"/>
                </a:xfrm>
                <a:custGeom>
                  <a:avLst/>
                  <a:gdLst>
                    <a:gd name="T0" fmla="*/ 0 w 362"/>
                    <a:gd name="T1" fmla="*/ 99 h 131"/>
                    <a:gd name="T2" fmla="*/ 32 w 362"/>
                    <a:gd name="T3" fmla="*/ 131 h 131"/>
                    <a:gd name="T4" fmla="*/ 331 w 362"/>
                    <a:gd name="T5" fmla="*/ 131 h 131"/>
                    <a:gd name="T6" fmla="*/ 362 w 362"/>
                    <a:gd name="T7" fmla="*/ 99 h 131"/>
                    <a:gd name="T8" fmla="*/ 0 w 362"/>
                    <a:gd name="T9" fmla="*/ 99 h 1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62" h="131">
                      <a:moveTo>
                        <a:pt x="0" y="99"/>
                      </a:moveTo>
                      <a:cubicBezTo>
                        <a:pt x="32" y="131"/>
                        <a:pt x="32" y="131"/>
                        <a:pt x="32" y="131"/>
                      </a:cubicBezTo>
                      <a:cubicBezTo>
                        <a:pt x="115" y="49"/>
                        <a:pt x="248" y="49"/>
                        <a:pt x="331" y="131"/>
                      </a:cubicBezTo>
                      <a:cubicBezTo>
                        <a:pt x="362" y="99"/>
                        <a:pt x="362" y="99"/>
                        <a:pt x="362" y="99"/>
                      </a:cubicBezTo>
                      <a:cubicBezTo>
                        <a:pt x="263" y="1"/>
                        <a:pt x="100" y="0"/>
                        <a:pt x="0" y="99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45"/>
                  <a:endParaRPr lang="en-US">
                    <a:solidFill>
                      <a:srgbClr val="676767"/>
                    </a:solidFill>
                  </a:endParaRPr>
                </a:p>
              </p:txBody>
            </p:sp>
            <p:sp>
              <p:nvSpPr>
                <p:cNvPr id="213" name="Freeform 52"/>
                <p:cNvSpPr>
                  <a:spLocks/>
                </p:cNvSpPr>
                <p:nvPr/>
              </p:nvSpPr>
              <p:spPr bwMode="auto">
                <a:xfrm>
                  <a:off x="7170937" y="-2699205"/>
                  <a:ext cx="80561" cy="36732"/>
                </a:xfrm>
                <a:custGeom>
                  <a:avLst/>
                  <a:gdLst>
                    <a:gd name="T0" fmla="*/ 0 w 227"/>
                    <a:gd name="T1" fmla="*/ 62 h 94"/>
                    <a:gd name="T2" fmla="*/ 32 w 227"/>
                    <a:gd name="T3" fmla="*/ 94 h 94"/>
                    <a:gd name="T4" fmla="*/ 195 w 227"/>
                    <a:gd name="T5" fmla="*/ 94 h 94"/>
                    <a:gd name="T6" fmla="*/ 227 w 227"/>
                    <a:gd name="T7" fmla="*/ 62 h 94"/>
                    <a:gd name="T8" fmla="*/ 0 w 227"/>
                    <a:gd name="T9" fmla="*/ 62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27" h="94">
                      <a:moveTo>
                        <a:pt x="0" y="62"/>
                      </a:moveTo>
                      <a:cubicBezTo>
                        <a:pt x="32" y="94"/>
                        <a:pt x="32" y="94"/>
                        <a:pt x="32" y="94"/>
                      </a:cubicBezTo>
                      <a:cubicBezTo>
                        <a:pt x="77" y="49"/>
                        <a:pt x="149" y="50"/>
                        <a:pt x="195" y="94"/>
                      </a:cubicBezTo>
                      <a:cubicBezTo>
                        <a:pt x="227" y="62"/>
                        <a:pt x="227" y="62"/>
                        <a:pt x="227" y="62"/>
                      </a:cubicBezTo>
                      <a:cubicBezTo>
                        <a:pt x="164" y="1"/>
                        <a:pt x="62" y="0"/>
                        <a:pt x="0" y="6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45"/>
                  <a:endParaRPr lang="en-US">
                    <a:solidFill>
                      <a:srgbClr val="676767"/>
                    </a:solidFill>
                  </a:endParaRPr>
                </a:p>
              </p:txBody>
            </p:sp>
            <p:sp>
              <p:nvSpPr>
                <p:cNvPr id="214" name="Freeform 53"/>
                <p:cNvSpPr>
                  <a:spLocks/>
                </p:cNvSpPr>
                <p:nvPr/>
              </p:nvSpPr>
              <p:spPr bwMode="auto">
                <a:xfrm>
                  <a:off x="7194745" y="-2659015"/>
                  <a:ext cx="32943" cy="28166"/>
                </a:xfrm>
                <a:custGeom>
                  <a:avLst/>
                  <a:gdLst>
                    <a:gd name="T0" fmla="*/ 0 w 93"/>
                    <a:gd name="T1" fmla="*/ 26 h 72"/>
                    <a:gd name="T2" fmla="*/ 46 w 93"/>
                    <a:gd name="T3" fmla="*/ 72 h 72"/>
                    <a:gd name="T4" fmla="*/ 93 w 93"/>
                    <a:gd name="T5" fmla="*/ 26 h 72"/>
                    <a:gd name="T6" fmla="*/ 0 w 93"/>
                    <a:gd name="T7" fmla="*/ 2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3" h="72">
                      <a:moveTo>
                        <a:pt x="0" y="26"/>
                      </a:moveTo>
                      <a:cubicBezTo>
                        <a:pt x="46" y="72"/>
                        <a:pt x="46" y="72"/>
                        <a:pt x="46" y="72"/>
                      </a:cubicBezTo>
                      <a:cubicBezTo>
                        <a:pt x="93" y="26"/>
                        <a:pt x="93" y="26"/>
                        <a:pt x="93" y="26"/>
                      </a:cubicBezTo>
                      <a:cubicBezTo>
                        <a:pt x="66" y="0"/>
                        <a:pt x="26" y="0"/>
                        <a:pt x="0" y="2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21920" tIns="60960" rIns="121920" bIns="6096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685845"/>
                  <a:endParaRPr lang="en-US">
                    <a:solidFill>
                      <a:srgbClr val="676767"/>
                    </a:solidFill>
                  </a:endParaRPr>
                </a:p>
              </p:txBody>
            </p:sp>
          </p:grpSp>
        </p:grpSp>
      </p:grpSp>
      <p:grpSp>
        <p:nvGrpSpPr>
          <p:cNvPr id="8" name="Group 7"/>
          <p:cNvGrpSpPr/>
          <p:nvPr/>
        </p:nvGrpSpPr>
        <p:grpSpPr>
          <a:xfrm>
            <a:off x="2948492" y="2499206"/>
            <a:ext cx="525056" cy="525056"/>
            <a:chOff x="2948492" y="2499206"/>
            <a:chExt cx="525056" cy="525056"/>
          </a:xfrm>
        </p:grpSpPr>
        <p:sp>
          <p:nvSpPr>
            <p:cNvPr id="221" name="Oval 220"/>
            <p:cNvSpPr/>
            <p:nvPr/>
          </p:nvSpPr>
          <p:spPr>
            <a:xfrm>
              <a:off x="2948492" y="2499206"/>
              <a:ext cx="525056" cy="525056"/>
            </a:xfrm>
            <a:prstGeom prst="ellipse">
              <a:avLst/>
            </a:prstGeom>
            <a:gradFill>
              <a:gsLst>
                <a:gs pos="0">
                  <a:srgbClr val="215A9C"/>
                </a:gs>
                <a:gs pos="100000">
                  <a:schemeClr val="tx2"/>
                </a:gs>
              </a:gsLst>
            </a:gradFill>
            <a:ln w="25400">
              <a:solidFill>
                <a:srgbClr val="E2E2E2"/>
              </a:solidFill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8" tIns="45714" rIns="91428" bIns="45714" rtlCol="0" anchor="ctr"/>
            <a:lstStyle/>
            <a:p>
              <a:pPr algn="ctr" defTabSz="457127"/>
              <a:endParaRPr lang="en-US" dirty="0"/>
            </a:p>
          </p:txBody>
        </p:sp>
        <p:grpSp>
          <p:nvGrpSpPr>
            <p:cNvPr id="218" name="Group 217"/>
            <p:cNvGrpSpPr/>
            <p:nvPr/>
          </p:nvGrpSpPr>
          <p:grpSpPr>
            <a:xfrm>
              <a:off x="3121145" y="2581125"/>
              <a:ext cx="179778" cy="361219"/>
              <a:chOff x="6616973" y="5359390"/>
              <a:chExt cx="208303" cy="418534"/>
            </a:xfrm>
            <a:effectLst/>
          </p:grpSpPr>
          <p:sp>
            <p:nvSpPr>
              <p:cNvPr id="219" name="Freeform 113"/>
              <p:cNvSpPr>
                <a:spLocks noEditPoints="1"/>
              </p:cNvSpPr>
              <p:nvPr/>
            </p:nvSpPr>
            <p:spPr bwMode="auto">
              <a:xfrm>
                <a:off x="6642734" y="5489234"/>
                <a:ext cx="156782" cy="288690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411"/>
                  </a:cxn>
                  <a:cxn ang="0">
                    <a:pos x="77" y="341"/>
                  </a:cxn>
                  <a:cxn ang="0">
                    <a:pos x="146" y="411"/>
                  </a:cxn>
                  <a:cxn ang="0">
                    <a:pos x="223" y="9"/>
                  </a:cxn>
                  <a:cxn ang="0">
                    <a:pos x="69" y="317"/>
                  </a:cxn>
                  <a:cxn ang="0">
                    <a:pos x="18" y="282"/>
                  </a:cxn>
                  <a:cxn ang="0">
                    <a:pos x="69" y="317"/>
                  </a:cxn>
                  <a:cxn ang="0">
                    <a:pos x="18" y="222"/>
                  </a:cxn>
                  <a:cxn ang="0">
                    <a:pos x="69" y="257"/>
                  </a:cxn>
                  <a:cxn ang="0">
                    <a:pos x="69" y="197"/>
                  </a:cxn>
                  <a:cxn ang="0">
                    <a:pos x="18" y="163"/>
                  </a:cxn>
                  <a:cxn ang="0">
                    <a:pos x="69" y="197"/>
                  </a:cxn>
                  <a:cxn ang="0">
                    <a:pos x="18" y="137"/>
                  </a:cxn>
                  <a:cxn ang="0">
                    <a:pos x="69" y="103"/>
                  </a:cxn>
                  <a:cxn ang="0">
                    <a:pos x="69" y="77"/>
                  </a:cxn>
                  <a:cxn ang="0">
                    <a:pos x="18" y="43"/>
                  </a:cxn>
                  <a:cxn ang="0">
                    <a:pos x="69" y="77"/>
                  </a:cxn>
                  <a:cxn ang="0">
                    <a:pos x="86" y="317"/>
                  </a:cxn>
                  <a:cxn ang="0">
                    <a:pos x="137" y="282"/>
                  </a:cxn>
                  <a:cxn ang="0">
                    <a:pos x="86" y="257"/>
                  </a:cxn>
                  <a:cxn ang="0">
                    <a:pos x="137" y="222"/>
                  </a:cxn>
                  <a:cxn ang="0">
                    <a:pos x="86" y="257"/>
                  </a:cxn>
                  <a:cxn ang="0">
                    <a:pos x="86" y="197"/>
                  </a:cxn>
                  <a:cxn ang="0">
                    <a:pos x="137" y="163"/>
                  </a:cxn>
                  <a:cxn ang="0">
                    <a:pos x="137" y="137"/>
                  </a:cxn>
                  <a:cxn ang="0">
                    <a:pos x="86" y="103"/>
                  </a:cxn>
                  <a:cxn ang="0">
                    <a:pos x="137" y="137"/>
                  </a:cxn>
                  <a:cxn ang="0">
                    <a:pos x="86" y="77"/>
                  </a:cxn>
                  <a:cxn ang="0">
                    <a:pos x="137" y="43"/>
                  </a:cxn>
                  <a:cxn ang="0">
                    <a:pos x="206" y="317"/>
                  </a:cxn>
                  <a:cxn ang="0">
                    <a:pos x="154" y="282"/>
                  </a:cxn>
                  <a:cxn ang="0">
                    <a:pos x="206" y="317"/>
                  </a:cxn>
                  <a:cxn ang="0">
                    <a:pos x="154" y="222"/>
                  </a:cxn>
                  <a:cxn ang="0">
                    <a:pos x="206" y="257"/>
                  </a:cxn>
                  <a:cxn ang="0">
                    <a:pos x="206" y="197"/>
                  </a:cxn>
                  <a:cxn ang="0">
                    <a:pos x="154" y="163"/>
                  </a:cxn>
                  <a:cxn ang="0">
                    <a:pos x="206" y="197"/>
                  </a:cxn>
                  <a:cxn ang="0">
                    <a:pos x="154" y="137"/>
                  </a:cxn>
                  <a:cxn ang="0">
                    <a:pos x="206" y="103"/>
                  </a:cxn>
                  <a:cxn ang="0">
                    <a:pos x="206" y="77"/>
                  </a:cxn>
                  <a:cxn ang="0">
                    <a:pos x="154" y="43"/>
                  </a:cxn>
                  <a:cxn ang="0">
                    <a:pos x="206" y="77"/>
                  </a:cxn>
                </a:cxnLst>
                <a:rect l="0" t="0" r="r" b="b"/>
                <a:pathLst>
                  <a:path w="223" h="411">
                    <a:moveTo>
                      <a:pt x="214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411"/>
                      <a:pt x="0" y="411"/>
                      <a:pt x="0" y="411"/>
                    </a:cubicBezTo>
                    <a:cubicBezTo>
                      <a:pt x="77" y="411"/>
                      <a:pt x="77" y="411"/>
                      <a:pt x="77" y="411"/>
                    </a:cubicBezTo>
                    <a:cubicBezTo>
                      <a:pt x="77" y="341"/>
                      <a:pt x="77" y="341"/>
                      <a:pt x="77" y="341"/>
                    </a:cubicBezTo>
                    <a:cubicBezTo>
                      <a:pt x="146" y="341"/>
                      <a:pt x="146" y="341"/>
                      <a:pt x="146" y="341"/>
                    </a:cubicBezTo>
                    <a:cubicBezTo>
                      <a:pt x="146" y="411"/>
                      <a:pt x="146" y="411"/>
                      <a:pt x="146" y="411"/>
                    </a:cubicBezTo>
                    <a:cubicBezTo>
                      <a:pt x="223" y="411"/>
                      <a:pt x="223" y="411"/>
                      <a:pt x="223" y="411"/>
                    </a:cubicBezTo>
                    <a:cubicBezTo>
                      <a:pt x="223" y="9"/>
                      <a:pt x="223" y="9"/>
                      <a:pt x="223" y="9"/>
                    </a:cubicBezTo>
                    <a:cubicBezTo>
                      <a:pt x="223" y="4"/>
                      <a:pt x="219" y="0"/>
                      <a:pt x="214" y="0"/>
                    </a:cubicBezTo>
                    <a:close/>
                    <a:moveTo>
                      <a:pt x="69" y="317"/>
                    </a:moveTo>
                    <a:cubicBezTo>
                      <a:pt x="18" y="317"/>
                      <a:pt x="18" y="317"/>
                      <a:pt x="18" y="317"/>
                    </a:cubicBezTo>
                    <a:cubicBezTo>
                      <a:pt x="18" y="282"/>
                      <a:pt x="18" y="282"/>
                      <a:pt x="18" y="282"/>
                    </a:cubicBezTo>
                    <a:cubicBezTo>
                      <a:pt x="69" y="282"/>
                      <a:pt x="69" y="282"/>
                      <a:pt x="69" y="282"/>
                    </a:cubicBezTo>
                    <a:lnTo>
                      <a:pt x="69" y="317"/>
                    </a:lnTo>
                    <a:close/>
                    <a:moveTo>
                      <a:pt x="18" y="257"/>
                    </a:moveTo>
                    <a:cubicBezTo>
                      <a:pt x="18" y="222"/>
                      <a:pt x="18" y="222"/>
                      <a:pt x="18" y="222"/>
                    </a:cubicBezTo>
                    <a:cubicBezTo>
                      <a:pt x="69" y="222"/>
                      <a:pt x="69" y="222"/>
                      <a:pt x="69" y="222"/>
                    </a:cubicBezTo>
                    <a:cubicBezTo>
                      <a:pt x="69" y="257"/>
                      <a:pt x="69" y="257"/>
                      <a:pt x="69" y="257"/>
                    </a:cubicBezTo>
                    <a:lnTo>
                      <a:pt x="18" y="257"/>
                    </a:lnTo>
                    <a:close/>
                    <a:moveTo>
                      <a:pt x="69" y="197"/>
                    </a:moveTo>
                    <a:cubicBezTo>
                      <a:pt x="18" y="197"/>
                      <a:pt x="18" y="197"/>
                      <a:pt x="18" y="197"/>
                    </a:cubicBezTo>
                    <a:cubicBezTo>
                      <a:pt x="18" y="163"/>
                      <a:pt x="18" y="163"/>
                      <a:pt x="18" y="163"/>
                    </a:cubicBezTo>
                    <a:cubicBezTo>
                      <a:pt x="69" y="163"/>
                      <a:pt x="69" y="163"/>
                      <a:pt x="69" y="163"/>
                    </a:cubicBezTo>
                    <a:lnTo>
                      <a:pt x="69" y="197"/>
                    </a:lnTo>
                    <a:close/>
                    <a:moveTo>
                      <a:pt x="69" y="137"/>
                    </a:moveTo>
                    <a:cubicBezTo>
                      <a:pt x="18" y="137"/>
                      <a:pt x="18" y="137"/>
                      <a:pt x="18" y="137"/>
                    </a:cubicBezTo>
                    <a:cubicBezTo>
                      <a:pt x="18" y="103"/>
                      <a:pt x="18" y="103"/>
                      <a:pt x="18" y="103"/>
                    </a:cubicBezTo>
                    <a:cubicBezTo>
                      <a:pt x="69" y="103"/>
                      <a:pt x="69" y="103"/>
                      <a:pt x="69" y="103"/>
                    </a:cubicBezTo>
                    <a:lnTo>
                      <a:pt x="69" y="137"/>
                    </a:lnTo>
                    <a:close/>
                    <a:moveTo>
                      <a:pt x="69" y="77"/>
                    </a:moveTo>
                    <a:cubicBezTo>
                      <a:pt x="18" y="77"/>
                      <a:pt x="18" y="77"/>
                      <a:pt x="18" y="77"/>
                    </a:cubicBezTo>
                    <a:cubicBezTo>
                      <a:pt x="18" y="43"/>
                      <a:pt x="18" y="43"/>
                      <a:pt x="18" y="43"/>
                    </a:cubicBezTo>
                    <a:cubicBezTo>
                      <a:pt x="69" y="43"/>
                      <a:pt x="69" y="43"/>
                      <a:pt x="69" y="43"/>
                    </a:cubicBezTo>
                    <a:lnTo>
                      <a:pt x="69" y="77"/>
                    </a:lnTo>
                    <a:close/>
                    <a:moveTo>
                      <a:pt x="137" y="317"/>
                    </a:moveTo>
                    <a:cubicBezTo>
                      <a:pt x="86" y="317"/>
                      <a:pt x="86" y="317"/>
                      <a:pt x="86" y="317"/>
                    </a:cubicBezTo>
                    <a:cubicBezTo>
                      <a:pt x="86" y="282"/>
                      <a:pt x="86" y="282"/>
                      <a:pt x="86" y="282"/>
                    </a:cubicBezTo>
                    <a:cubicBezTo>
                      <a:pt x="137" y="282"/>
                      <a:pt x="137" y="282"/>
                      <a:pt x="137" y="282"/>
                    </a:cubicBezTo>
                    <a:lnTo>
                      <a:pt x="137" y="317"/>
                    </a:lnTo>
                    <a:close/>
                    <a:moveTo>
                      <a:pt x="86" y="257"/>
                    </a:moveTo>
                    <a:cubicBezTo>
                      <a:pt x="86" y="222"/>
                      <a:pt x="86" y="222"/>
                      <a:pt x="86" y="222"/>
                    </a:cubicBezTo>
                    <a:cubicBezTo>
                      <a:pt x="137" y="222"/>
                      <a:pt x="137" y="222"/>
                      <a:pt x="137" y="222"/>
                    </a:cubicBezTo>
                    <a:cubicBezTo>
                      <a:pt x="137" y="257"/>
                      <a:pt x="137" y="257"/>
                      <a:pt x="137" y="257"/>
                    </a:cubicBezTo>
                    <a:lnTo>
                      <a:pt x="86" y="257"/>
                    </a:lnTo>
                    <a:close/>
                    <a:moveTo>
                      <a:pt x="137" y="197"/>
                    </a:moveTo>
                    <a:cubicBezTo>
                      <a:pt x="86" y="197"/>
                      <a:pt x="86" y="197"/>
                      <a:pt x="86" y="197"/>
                    </a:cubicBezTo>
                    <a:cubicBezTo>
                      <a:pt x="86" y="163"/>
                      <a:pt x="86" y="163"/>
                      <a:pt x="86" y="163"/>
                    </a:cubicBezTo>
                    <a:cubicBezTo>
                      <a:pt x="137" y="163"/>
                      <a:pt x="137" y="163"/>
                      <a:pt x="137" y="163"/>
                    </a:cubicBezTo>
                    <a:lnTo>
                      <a:pt x="137" y="197"/>
                    </a:lnTo>
                    <a:close/>
                    <a:moveTo>
                      <a:pt x="137" y="137"/>
                    </a:moveTo>
                    <a:cubicBezTo>
                      <a:pt x="86" y="137"/>
                      <a:pt x="86" y="137"/>
                      <a:pt x="86" y="137"/>
                    </a:cubicBezTo>
                    <a:cubicBezTo>
                      <a:pt x="86" y="103"/>
                      <a:pt x="86" y="103"/>
                      <a:pt x="86" y="103"/>
                    </a:cubicBezTo>
                    <a:cubicBezTo>
                      <a:pt x="137" y="103"/>
                      <a:pt x="137" y="103"/>
                      <a:pt x="137" y="103"/>
                    </a:cubicBezTo>
                    <a:lnTo>
                      <a:pt x="137" y="137"/>
                    </a:lnTo>
                    <a:close/>
                    <a:moveTo>
                      <a:pt x="137" y="77"/>
                    </a:moveTo>
                    <a:cubicBezTo>
                      <a:pt x="86" y="77"/>
                      <a:pt x="86" y="77"/>
                      <a:pt x="86" y="77"/>
                    </a:cubicBezTo>
                    <a:cubicBezTo>
                      <a:pt x="86" y="43"/>
                      <a:pt x="86" y="43"/>
                      <a:pt x="86" y="43"/>
                    </a:cubicBezTo>
                    <a:cubicBezTo>
                      <a:pt x="137" y="43"/>
                      <a:pt x="137" y="43"/>
                      <a:pt x="137" y="43"/>
                    </a:cubicBezTo>
                    <a:lnTo>
                      <a:pt x="137" y="77"/>
                    </a:lnTo>
                    <a:close/>
                    <a:moveTo>
                      <a:pt x="206" y="317"/>
                    </a:moveTo>
                    <a:cubicBezTo>
                      <a:pt x="154" y="317"/>
                      <a:pt x="154" y="317"/>
                      <a:pt x="154" y="317"/>
                    </a:cubicBezTo>
                    <a:cubicBezTo>
                      <a:pt x="154" y="282"/>
                      <a:pt x="154" y="282"/>
                      <a:pt x="154" y="282"/>
                    </a:cubicBezTo>
                    <a:cubicBezTo>
                      <a:pt x="206" y="282"/>
                      <a:pt x="206" y="282"/>
                      <a:pt x="206" y="282"/>
                    </a:cubicBezTo>
                    <a:lnTo>
                      <a:pt x="206" y="317"/>
                    </a:lnTo>
                    <a:close/>
                    <a:moveTo>
                      <a:pt x="154" y="257"/>
                    </a:moveTo>
                    <a:cubicBezTo>
                      <a:pt x="154" y="222"/>
                      <a:pt x="154" y="222"/>
                      <a:pt x="154" y="222"/>
                    </a:cubicBezTo>
                    <a:cubicBezTo>
                      <a:pt x="206" y="222"/>
                      <a:pt x="206" y="222"/>
                      <a:pt x="206" y="222"/>
                    </a:cubicBezTo>
                    <a:cubicBezTo>
                      <a:pt x="206" y="257"/>
                      <a:pt x="206" y="257"/>
                      <a:pt x="206" y="257"/>
                    </a:cubicBezTo>
                    <a:lnTo>
                      <a:pt x="154" y="257"/>
                    </a:lnTo>
                    <a:close/>
                    <a:moveTo>
                      <a:pt x="206" y="197"/>
                    </a:moveTo>
                    <a:cubicBezTo>
                      <a:pt x="154" y="197"/>
                      <a:pt x="154" y="197"/>
                      <a:pt x="154" y="197"/>
                    </a:cubicBezTo>
                    <a:cubicBezTo>
                      <a:pt x="154" y="163"/>
                      <a:pt x="154" y="163"/>
                      <a:pt x="154" y="163"/>
                    </a:cubicBezTo>
                    <a:cubicBezTo>
                      <a:pt x="206" y="163"/>
                      <a:pt x="206" y="163"/>
                      <a:pt x="206" y="163"/>
                    </a:cubicBezTo>
                    <a:lnTo>
                      <a:pt x="206" y="197"/>
                    </a:lnTo>
                    <a:close/>
                    <a:moveTo>
                      <a:pt x="206" y="137"/>
                    </a:moveTo>
                    <a:cubicBezTo>
                      <a:pt x="154" y="137"/>
                      <a:pt x="154" y="137"/>
                      <a:pt x="154" y="137"/>
                    </a:cubicBezTo>
                    <a:cubicBezTo>
                      <a:pt x="154" y="103"/>
                      <a:pt x="154" y="103"/>
                      <a:pt x="154" y="103"/>
                    </a:cubicBezTo>
                    <a:cubicBezTo>
                      <a:pt x="206" y="103"/>
                      <a:pt x="206" y="103"/>
                      <a:pt x="206" y="103"/>
                    </a:cubicBezTo>
                    <a:lnTo>
                      <a:pt x="206" y="137"/>
                    </a:lnTo>
                    <a:close/>
                    <a:moveTo>
                      <a:pt x="206" y="77"/>
                    </a:moveTo>
                    <a:cubicBezTo>
                      <a:pt x="154" y="77"/>
                      <a:pt x="154" y="77"/>
                      <a:pt x="154" y="77"/>
                    </a:cubicBezTo>
                    <a:cubicBezTo>
                      <a:pt x="154" y="43"/>
                      <a:pt x="154" y="43"/>
                      <a:pt x="154" y="43"/>
                    </a:cubicBezTo>
                    <a:cubicBezTo>
                      <a:pt x="206" y="43"/>
                      <a:pt x="206" y="43"/>
                      <a:pt x="206" y="43"/>
                    </a:cubicBezTo>
                    <a:lnTo>
                      <a:pt x="206" y="77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85845"/>
                <a:endParaRPr lang="en-US">
                  <a:solidFill>
                    <a:srgbClr val="676767"/>
                  </a:solidFill>
                </a:endParaRPr>
              </a:p>
            </p:txBody>
          </p:sp>
          <p:sp>
            <p:nvSpPr>
              <p:cNvPr id="220" name="Freeform 27"/>
              <p:cNvSpPr>
                <a:spLocks noEditPoints="1"/>
              </p:cNvSpPr>
              <p:nvPr/>
            </p:nvSpPr>
            <p:spPr bwMode="auto">
              <a:xfrm>
                <a:off x="6616973" y="5359390"/>
                <a:ext cx="208303" cy="142678"/>
              </a:xfrm>
              <a:custGeom>
                <a:avLst/>
                <a:gdLst/>
                <a:ahLst/>
                <a:cxnLst>
                  <a:cxn ang="0">
                    <a:pos x="236" y="237"/>
                  </a:cxn>
                  <a:cxn ang="0">
                    <a:pos x="190" y="283"/>
                  </a:cxn>
                  <a:cxn ang="0">
                    <a:pos x="236" y="329"/>
                  </a:cxn>
                  <a:cxn ang="0">
                    <a:pos x="282" y="283"/>
                  </a:cxn>
                  <a:cxn ang="0">
                    <a:pos x="236" y="237"/>
                  </a:cxn>
                  <a:cxn ang="0">
                    <a:pos x="239" y="0"/>
                  </a:cxn>
                  <a:cxn ang="0">
                    <a:pos x="0" y="127"/>
                  </a:cxn>
                  <a:cxn ang="0">
                    <a:pos x="26" y="154"/>
                  </a:cxn>
                  <a:cxn ang="0">
                    <a:pos x="241" y="30"/>
                  </a:cxn>
                  <a:cxn ang="0">
                    <a:pos x="455" y="153"/>
                  </a:cxn>
                  <a:cxn ang="0">
                    <a:pos x="479" y="129"/>
                  </a:cxn>
                  <a:cxn ang="0">
                    <a:pos x="239" y="0"/>
                  </a:cxn>
                  <a:cxn ang="0">
                    <a:pos x="236" y="71"/>
                  </a:cxn>
                  <a:cxn ang="0">
                    <a:pos x="53" y="181"/>
                  </a:cxn>
                  <a:cxn ang="0">
                    <a:pos x="78" y="208"/>
                  </a:cxn>
                  <a:cxn ang="0">
                    <a:pos x="237" y="107"/>
                  </a:cxn>
                  <a:cxn ang="0">
                    <a:pos x="397" y="209"/>
                  </a:cxn>
                  <a:cxn ang="0">
                    <a:pos x="421" y="185"/>
                  </a:cxn>
                  <a:cxn ang="0">
                    <a:pos x="236" y="71"/>
                  </a:cxn>
                  <a:cxn ang="0">
                    <a:pos x="236" y="144"/>
                  </a:cxn>
                  <a:cxn ang="0">
                    <a:pos x="104" y="234"/>
                  </a:cxn>
                  <a:cxn ang="0">
                    <a:pos x="130" y="260"/>
                  </a:cxn>
                  <a:cxn ang="0">
                    <a:pos x="237" y="175"/>
                  </a:cxn>
                  <a:cxn ang="0">
                    <a:pos x="343" y="260"/>
                  </a:cxn>
                  <a:cxn ang="0">
                    <a:pos x="369" y="236"/>
                  </a:cxn>
                  <a:cxn ang="0">
                    <a:pos x="236" y="144"/>
                  </a:cxn>
                </a:cxnLst>
                <a:rect l="0" t="0" r="r" b="b"/>
                <a:pathLst>
                  <a:path w="479" h="329">
                    <a:moveTo>
                      <a:pt x="236" y="237"/>
                    </a:moveTo>
                    <a:cubicBezTo>
                      <a:pt x="211" y="237"/>
                      <a:pt x="190" y="258"/>
                      <a:pt x="190" y="283"/>
                    </a:cubicBezTo>
                    <a:cubicBezTo>
                      <a:pt x="190" y="309"/>
                      <a:pt x="211" y="329"/>
                      <a:pt x="236" y="329"/>
                    </a:cubicBezTo>
                    <a:cubicBezTo>
                      <a:pt x="262" y="329"/>
                      <a:pt x="282" y="309"/>
                      <a:pt x="282" y="283"/>
                    </a:cubicBezTo>
                    <a:cubicBezTo>
                      <a:pt x="282" y="258"/>
                      <a:pt x="262" y="237"/>
                      <a:pt x="236" y="237"/>
                    </a:cubicBezTo>
                    <a:close/>
                    <a:moveTo>
                      <a:pt x="239" y="0"/>
                    </a:moveTo>
                    <a:cubicBezTo>
                      <a:pt x="140" y="0"/>
                      <a:pt x="52" y="51"/>
                      <a:pt x="0" y="127"/>
                    </a:cubicBezTo>
                    <a:cubicBezTo>
                      <a:pt x="26" y="154"/>
                      <a:pt x="26" y="154"/>
                      <a:pt x="26" y="154"/>
                    </a:cubicBezTo>
                    <a:cubicBezTo>
                      <a:pt x="71" y="79"/>
                      <a:pt x="150" y="30"/>
                      <a:pt x="241" y="30"/>
                    </a:cubicBezTo>
                    <a:cubicBezTo>
                      <a:pt x="330" y="30"/>
                      <a:pt x="409" y="79"/>
                      <a:pt x="455" y="153"/>
                    </a:cubicBezTo>
                    <a:cubicBezTo>
                      <a:pt x="479" y="129"/>
                      <a:pt x="479" y="129"/>
                      <a:pt x="479" y="129"/>
                    </a:cubicBezTo>
                    <a:cubicBezTo>
                      <a:pt x="427" y="51"/>
                      <a:pt x="339" y="0"/>
                      <a:pt x="239" y="0"/>
                    </a:cubicBezTo>
                    <a:close/>
                    <a:moveTo>
                      <a:pt x="236" y="71"/>
                    </a:moveTo>
                    <a:cubicBezTo>
                      <a:pt x="158" y="71"/>
                      <a:pt x="90" y="116"/>
                      <a:pt x="53" y="181"/>
                    </a:cubicBezTo>
                    <a:cubicBezTo>
                      <a:pt x="78" y="208"/>
                      <a:pt x="78" y="208"/>
                      <a:pt x="78" y="208"/>
                    </a:cubicBezTo>
                    <a:cubicBezTo>
                      <a:pt x="111" y="147"/>
                      <a:pt x="170" y="107"/>
                      <a:pt x="237" y="107"/>
                    </a:cubicBezTo>
                    <a:cubicBezTo>
                      <a:pt x="305" y="107"/>
                      <a:pt x="364" y="148"/>
                      <a:pt x="397" y="209"/>
                    </a:cubicBezTo>
                    <a:cubicBezTo>
                      <a:pt x="421" y="185"/>
                      <a:pt x="421" y="185"/>
                      <a:pt x="421" y="185"/>
                    </a:cubicBezTo>
                    <a:cubicBezTo>
                      <a:pt x="384" y="117"/>
                      <a:pt x="315" y="71"/>
                      <a:pt x="236" y="71"/>
                    </a:cubicBezTo>
                    <a:close/>
                    <a:moveTo>
                      <a:pt x="236" y="144"/>
                    </a:moveTo>
                    <a:cubicBezTo>
                      <a:pt x="176" y="144"/>
                      <a:pt x="125" y="182"/>
                      <a:pt x="104" y="234"/>
                    </a:cubicBezTo>
                    <a:cubicBezTo>
                      <a:pt x="130" y="260"/>
                      <a:pt x="130" y="260"/>
                      <a:pt x="130" y="260"/>
                    </a:cubicBezTo>
                    <a:cubicBezTo>
                      <a:pt x="148" y="210"/>
                      <a:pt x="189" y="175"/>
                      <a:pt x="237" y="175"/>
                    </a:cubicBezTo>
                    <a:cubicBezTo>
                      <a:pt x="284" y="175"/>
                      <a:pt x="325" y="210"/>
                      <a:pt x="343" y="260"/>
                    </a:cubicBezTo>
                    <a:cubicBezTo>
                      <a:pt x="369" y="236"/>
                      <a:pt x="369" y="236"/>
                      <a:pt x="369" y="236"/>
                    </a:cubicBezTo>
                    <a:cubicBezTo>
                      <a:pt x="349" y="182"/>
                      <a:pt x="297" y="144"/>
                      <a:pt x="236" y="14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  <a:effec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85845"/>
                <a:endParaRPr lang="en-US">
                  <a:solidFill>
                    <a:srgbClr val="676767"/>
                  </a:solidFill>
                </a:endParaRPr>
              </a:p>
            </p:txBody>
          </p:sp>
        </p:grpSp>
      </p:grpSp>
      <p:grpSp>
        <p:nvGrpSpPr>
          <p:cNvPr id="4" name="Group 3"/>
          <p:cNvGrpSpPr/>
          <p:nvPr/>
        </p:nvGrpSpPr>
        <p:grpSpPr>
          <a:xfrm>
            <a:off x="3901818" y="1128920"/>
            <a:ext cx="377087" cy="377087"/>
            <a:chOff x="3901818" y="1128920"/>
            <a:chExt cx="377087" cy="377087"/>
          </a:xfrm>
        </p:grpSpPr>
        <p:sp>
          <p:nvSpPr>
            <p:cNvPr id="184" name="Oval 183"/>
            <p:cNvSpPr/>
            <p:nvPr/>
          </p:nvSpPr>
          <p:spPr>
            <a:xfrm>
              <a:off x="3901818" y="1128920"/>
              <a:ext cx="377087" cy="377087"/>
            </a:xfrm>
            <a:prstGeom prst="ellipse">
              <a:avLst/>
            </a:prstGeom>
            <a:gradFill>
              <a:gsLst>
                <a:gs pos="0">
                  <a:srgbClr val="215A9C"/>
                </a:gs>
                <a:gs pos="100000">
                  <a:schemeClr val="tx2"/>
                </a:gs>
              </a:gsLst>
            </a:gradFill>
            <a:ln w="25400">
              <a:solidFill>
                <a:srgbClr val="E2E2E2"/>
              </a:solidFill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8" tIns="45714" rIns="91428" bIns="45714" rtlCol="0" anchor="ctr"/>
            <a:lstStyle/>
            <a:p>
              <a:pPr algn="ctr" defTabSz="457127"/>
              <a:endParaRPr lang="en-US" dirty="0"/>
            </a:p>
          </p:txBody>
        </p:sp>
        <p:grpSp>
          <p:nvGrpSpPr>
            <p:cNvPr id="225" name="Group 224"/>
            <p:cNvGrpSpPr/>
            <p:nvPr/>
          </p:nvGrpSpPr>
          <p:grpSpPr>
            <a:xfrm>
              <a:off x="3996085" y="1244986"/>
              <a:ext cx="185785" cy="144954"/>
              <a:chOff x="8379740" y="278497"/>
              <a:chExt cx="224800" cy="175394"/>
            </a:xfrm>
            <a:effectLst/>
          </p:grpSpPr>
          <p:sp>
            <p:nvSpPr>
              <p:cNvPr id="228" name="Freeform 72"/>
              <p:cNvSpPr>
                <a:spLocks noEditPoints="1"/>
              </p:cNvSpPr>
              <p:nvPr/>
            </p:nvSpPr>
            <p:spPr bwMode="auto">
              <a:xfrm>
                <a:off x="8379740" y="278497"/>
                <a:ext cx="224800" cy="175394"/>
              </a:xfrm>
              <a:custGeom>
                <a:avLst/>
                <a:gdLst>
                  <a:gd name="T0" fmla="*/ 1176 w 1254"/>
                  <a:gd name="T1" fmla="*/ 0 h 979"/>
                  <a:gd name="T2" fmla="*/ 79 w 1254"/>
                  <a:gd name="T3" fmla="*/ 0 h 979"/>
                  <a:gd name="T4" fmla="*/ 0 w 1254"/>
                  <a:gd name="T5" fmla="*/ 78 h 979"/>
                  <a:gd name="T6" fmla="*/ 0 w 1254"/>
                  <a:gd name="T7" fmla="*/ 901 h 979"/>
                  <a:gd name="T8" fmla="*/ 79 w 1254"/>
                  <a:gd name="T9" fmla="*/ 979 h 979"/>
                  <a:gd name="T10" fmla="*/ 1176 w 1254"/>
                  <a:gd name="T11" fmla="*/ 979 h 979"/>
                  <a:gd name="T12" fmla="*/ 1254 w 1254"/>
                  <a:gd name="T13" fmla="*/ 901 h 979"/>
                  <a:gd name="T14" fmla="*/ 1254 w 1254"/>
                  <a:gd name="T15" fmla="*/ 78 h 979"/>
                  <a:gd name="T16" fmla="*/ 1176 w 1254"/>
                  <a:gd name="T17" fmla="*/ 0 h 979"/>
                  <a:gd name="T18" fmla="*/ 1137 w 1254"/>
                  <a:gd name="T19" fmla="*/ 117 h 979"/>
                  <a:gd name="T20" fmla="*/ 1137 w 1254"/>
                  <a:gd name="T21" fmla="*/ 862 h 979"/>
                  <a:gd name="T22" fmla="*/ 118 w 1254"/>
                  <a:gd name="T23" fmla="*/ 862 h 979"/>
                  <a:gd name="T24" fmla="*/ 118 w 1254"/>
                  <a:gd name="T25" fmla="*/ 114 h 979"/>
                  <a:gd name="T26" fmla="*/ 1137 w 1254"/>
                  <a:gd name="T27" fmla="*/ 114 h 979"/>
                  <a:gd name="T28" fmla="*/ 1137 w 1254"/>
                  <a:gd name="T29" fmla="*/ 117 h 9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54" h="979">
                    <a:moveTo>
                      <a:pt x="1176" y="0"/>
                    </a:moveTo>
                    <a:cubicBezTo>
                      <a:pt x="79" y="0"/>
                      <a:pt x="79" y="0"/>
                      <a:pt x="79" y="0"/>
                    </a:cubicBezTo>
                    <a:cubicBezTo>
                      <a:pt x="36" y="0"/>
                      <a:pt x="0" y="35"/>
                      <a:pt x="0" y="78"/>
                    </a:cubicBezTo>
                    <a:cubicBezTo>
                      <a:pt x="0" y="901"/>
                      <a:pt x="0" y="901"/>
                      <a:pt x="0" y="901"/>
                    </a:cubicBezTo>
                    <a:cubicBezTo>
                      <a:pt x="0" y="944"/>
                      <a:pt x="36" y="979"/>
                      <a:pt x="79" y="979"/>
                    </a:cubicBezTo>
                    <a:cubicBezTo>
                      <a:pt x="1176" y="979"/>
                      <a:pt x="1176" y="979"/>
                      <a:pt x="1176" y="979"/>
                    </a:cubicBezTo>
                    <a:cubicBezTo>
                      <a:pt x="1219" y="979"/>
                      <a:pt x="1254" y="944"/>
                      <a:pt x="1254" y="901"/>
                    </a:cubicBezTo>
                    <a:cubicBezTo>
                      <a:pt x="1254" y="78"/>
                      <a:pt x="1254" y="78"/>
                      <a:pt x="1254" y="78"/>
                    </a:cubicBezTo>
                    <a:cubicBezTo>
                      <a:pt x="1254" y="35"/>
                      <a:pt x="1219" y="0"/>
                      <a:pt x="1176" y="0"/>
                    </a:cubicBezTo>
                    <a:close/>
                    <a:moveTo>
                      <a:pt x="1137" y="117"/>
                    </a:moveTo>
                    <a:cubicBezTo>
                      <a:pt x="1137" y="862"/>
                      <a:pt x="1137" y="862"/>
                      <a:pt x="1137" y="862"/>
                    </a:cubicBezTo>
                    <a:cubicBezTo>
                      <a:pt x="118" y="862"/>
                      <a:pt x="118" y="862"/>
                      <a:pt x="118" y="862"/>
                    </a:cubicBezTo>
                    <a:cubicBezTo>
                      <a:pt x="118" y="114"/>
                      <a:pt x="118" y="114"/>
                      <a:pt x="118" y="114"/>
                    </a:cubicBezTo>
                    <a:cubicBezTo>
                      <a:pt x="1137" y="114"/>
                      <a:pt x="1137" y="114"/>
                      <a:pt x="1137" y="114"/>
                    </a:cubicBezTo>
                    <a:lnTo>
                      <a:pt x="1137" y="117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  <a:effectLst>
                <a:outerShdw blurRad="63500" algn="ctr" rotWithShape="0">
                  <a:prstClr val="black">
                    <a:alpha val="20000"/>
                  </a:prstClr>
                </a:outerShdw>
              </a:effectLst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85845"/>
                <a:endParaRPr lang="en-US">
                  <a:solidFill>
                    <a:srgbClr val="676767"/>
                  </a:solidFill>
                </a:endParaRPr>
              </a:p>
            </p:txBody>
          </p:sp>
          <p:sp>
            <p:nvSpPr>
              <p:cNvPr id="227" name="Freeform 11"/>
              <p:cNvSpPr>
                <a:spLocks/>
              </p:cNvSpPr>
              <p:nvPr/>
            </p:nvSpPr>
            <p:spPr bwMode="auto">
              <a:xfrm>
                <a:off x="8451402" y="319021"/>
                <a:ext cx="77874" cy="101304"/>
              </a:xfrm>
              <a:custGeom>
                <a:avLst/>
                <a:gdLst>
                  <a:gd name="T0" fmla="*/ 597 w 597"/>
                  <a:gd name="T1" fmla="*/ 744 h 777"/>
                  <a:gd name="T2" fmla="*/ 299 w 597"/>
                  <a:gd name="T3" fmla="*/ 777 h 777"/>
                  <a:gd name="T4" fmla="*/ 0 w 597"/>
                  <a:gd name="T5" fmla="*/ 744 h 777"/>
                  <a:gd name="T6" fmla="*/ 13 w 597"/>
                  <a:gd name="T7" fmla="*/ 552 h 777"/>
                  <a:gd name="T8" fmla="*/ 149 w 597"/>
                  <a:gd name="T9" fmla="*/ 398 h 777"/>
                  <a:gd name="T10" fmla="*/ 216 w 597"/>
                  <a:gd name="T11" fmla="*/ 366 h 777"/>
                  <a:gd name="T12" fmla="*/ 236 w 597"/>
                  <a:gd name="T13" fmla="*/ 350 h 777"/>
                  <a:gd name="T14" fmla="*/ 247 w 597"/>
                  <a:gd name="T15" fmla="*/ 339 h 777"/>
                  <a:gd name="T16" fmla="*/ 169 w 597"/>
                  <a:gd name="T17" fmla="*/ 187 h 777"/>
                  <a:gd name="T18" fmla="*/ 169 w 597"/>
                  <a:gd name="T19" fmla="*/ 187 h 777"/>
                  <a:gd name="T20" fmla="*/ 169 w 597"/>
                  <a:gd name="T21" fmla="*/ 187 h 777"/>
                  <a:gd name="T22" fmla="*/ 165 w 597"/>
                  <a:gd name="T23" fmla="*/ 66 h 777"/>
                  <a:gd name="T24" fmla="*/ 212 w 597"/>
                  <a:gd name="T25" fmla="*/ 14 h 777"/>
                  <a:gd name="T26" fmla="*/ 235 w 597"/>
                  <a:gd name="T27" fmla="*/ 13 h 777"/>
                  <a:gd name="T28" fmla="*/ 280 w 597"/>
                  <a:gd name="T29" fmla="*/ 10 h 777"/>
                  <a:gd name="T30" fmla="*/ 369 w 597"/>
                  <a:gd name="T31" fmla="*/ 8 h 777"/>
                  <a:gd name="T32" fmla="*/ 413 w 597"/>
                  <a:gd name="T33" fmla="*/ 39 h 777"/>
                  <a:gd name="T34" fmla="*/ 430 w 597"/>
                  <a:gd name="T35" fmla="*/ 62 h 777"/>
                  <a:gd name="T36" fmla="*/ 429 w 597"/>
                  <a:gd name="T37" fmla="*/ 176 h 777"/>
                  <a:gd name="T38" fmla="*/ 346 w 597"/>
                  <a:gd name="T39" fmla="*/ 342 h 777"/>
                  <a:gd name="T40" fmla="*/ 359 w 597"/>
                  <a:gd name="T41" fmla="*/ 354 h 777"/>
                  <a:gd name="T42" fmla="*/ 380 w 597"/>
                  <a:gd name="T43" fmla="*/ 369 h 777"/>
                  <a:gd name="T44" fmla="*/ 448 w 597"/>
                  <a:gd name="T45" fmla="*/ 398 h 777"/>
                  <a:gd name="T46" fmla="*/ 584 w 597"/>
                  <a:gd name="T47" fmla="*/ 552 h 777"/>
                  <a:gd name="T48" fmla="*/ 597 w 597"/>
                  <a:gd name="T49" fmla="*/ 744 h 7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97" h="777">
                    <a:moveTo>
                      <a:pt x="597" y="744"/>
                    </a:moveTo>
                    <a:cubicBezTo>
                      <a:pt x="597" y="744"/>
                      <a:pt x="468" y="777"/>
                      <a:pt x="299" y="777"/>
                    </a:cubicBezTo>
                    <a:cubicBezTo>
                      <a:pt x="125" y="777"/>
                      <a:pt x="0" y="744"/>
                      <a:pt x="0" y="744"/>
                    </a:cubicBezTo>
                    <a:cubicBezTo>
                      <a:pt x="13" y="552"/>
                      <a:pt x="13" y="552"/>
                      <a:pt x="13" y="552"/>
                    </a:cubicBezTo>
                    <a:cubicBezTo>
                      <a:pt x="19" y="475"/>
                      <a:pt x="77" y="419"/>
                      <a:pt x="149" y="398"/>
                    </a:cubicBezTo>
                    <a:cubicBezTo>
                      <a:pt x="176" y="390"/>
                      <a:pt x="197" y="382"/>
                      <a:pt x="216" y="366"/>
                    </a:cubicBezTo>
                    <a:cubicBezTo>
                      <a:pt x="222" y="361"/>
                      <a:pt x="229" y="356"/>
                      <a:pt x="236" y="350"/>
                    </a:cubicBezTo>
                    <a:cubicBezTo>
                      <a:pt x="240" y="347"/>
                      <a:pt x="244" y="343"/>
                      <a:pt x="247" y="339"/>
                    </a:cubicBezTo>
                    <a:cubicBezTo>
                      <a:pt x="205" y="313"/>
                      <a:pt x="175" y="256"/>
                      <a:pt x="169" y="187"/>
                    </a:cubicBezTo>
                    <a:cubicBezTo>
                      <a:pt x="169" y="187"/>
                      <a:pt x="169" y="187"/>
                      <a:pt x="169" y="187"/>
                    </a:cubicBezTo>
                    <a:cubicBezTo>
                      <a:pt x="169" y="187"/>
                      <a:pt x="169" y="187"/>
                      <a:pt x="169" y="187"/>
                    </a:cubicBezTo>
                    <a:cubicBezTo>
                      <a:pt x="167" y="179"/>
                      <a:pt x="157" y="96"/>
                      <a:pt x="165" y="66"/>
                    </a:cubicBezTo>
                    <a:cubicBezTo>
                      <a:pt x="173" y="35"/>
                      <a:pt x="197" y="17"/>
                      <a:pt x="212" y="14"/>
                    </a:cubicBezTo>
                    <a:cubicBezTo>
                      <a:pt x="220" y="13"/>
                      <a:pt x="228" y="13"/>
                      <a:pt x="235" y="13"/>
                    </a:cubicBezTo>
                    <a:cubicBezTo>
                      <a:pt x="254" y="14"/>
                      <a:pt x="261" y="16"/>
                      <a:pt x="280" y="10"/>
                    </a:cubicBezTo>
                    <a:cubicBezTo>
                      <a:pt x="301" y="4"/>
                      <a:pt x="339" y="0"/>
                      <a:pt x="369" y="8"/>
                    </a:cubicBezTo>
                    <a:cubicBezTo>
                      <a:pt x="390" y="13"/>
                      <a:pt x="400" y="33"/>
                      <a:pt x="413" y="39"/>
                    </a:cubicBezTo>
                    <a:cubicBezTo>
                      <a:pt x="419" y="42"/>
                      <a:pt x="426" y="39"/>
                      <a:pt x="430" y="62"/>
                    </a:cubicBezTo>
                    <a:cubicBezTo>
                      <a:pt x="434" y="89"/>
                      <a:pt x="431" y="155"/>
                      <a:pt x="429" y="176"/>
                    </a:cubicBezTo>
                    <a:cubicBezTo>
                      <a:pt x="426" y="251"/>
                      <a:pt x="392" y="315"/>
                      <a:pt x="346" y="342"/>
                    </a:cubicBezTo>
                    <a:cubicBezTo>
                      <a:pt x="350" y="346"/>
                      <a:pt x="354" y="350"/>
                      <a:pt x="359" y="354"/>
                    </a:cubicBezTo>
                    <a:cubicBezTo>
                      <a:pt x="367" y="359"/>
                      <a:pt x="374" y="364"/>
                      <a:pt x="380" y="369"/>
                    </a:cubicBezTo>
                    <a:cubicBezTo>
                      <a:pt x="400" y="384"/>
                      <a:pt x="423" y="393"/>
                      <a:pt x="448" y="398"/>
                    </a:cubicBezTo>
                    <a:cubicBezTo>
                      <a:pt x="521" y="412"/>
                      <a:pt x="579" y="474"/>
                      <a:pt x="584" y="552"/>
                    </a:cubicBezTo>
                    <a:lnTo>
                      <a:pt x="597" y="744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  <a:effectLst>
                <a:outerShdw blurRad="63500" algn="ctr" rotWithShape="0">
                  <a:prstClr val="black">
                    <a:alpha val="20000"/>
                  </a:prstClr>
                </a:outerShdw>
              </a:effectLst>
              <a:extLst/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85845"/>
                <a:endParaRPr lang="en-US">
                  <a:solidFill>
                    <a:srgbClr val="676767"/>
                  </a:solidFill>
                </a:endParaRPr>
              </a:p>
            </p:txBody>
          </p:sp>
        </p:grpSp>
      </p:grpSp>
      <p:grpSp>
        <p:nvGrpSpPr>
          <p:cNvPr id="7" name="Group 6"/>
          <p:cNvGrpSpPr/>
          <p:nvPr/>
        </p:nvGrpSpPr>
        <p:grpSpPr>
          <a:xfrm>
            <a:off x="4942135" y="969118"/>
            <a:ext cx="536889" cy="536889"/>
            <a:chOff x="4942135" y="969118"/>
            <a:chExt cx="536889" cy="536889"/>
          </a:xfrm>
        </p:grpSpPr>
        <p:sp>
          <p:nvSpPr>
            <p:cNvPr id="185" name="Oval 184"/>
            <p:cNvSpPr/>
            <p:nvPr/>
          </p:nvSpPr>
          <p:spPr>
            <a:xfrm>
              <a:off x="4942135" y="969118"/>
              <a:ext cx="536889" cy="536889"/>
            </a:xfrm>
            <a:prstGeom prst="ellipse">
              <a:avLst/>
            </a:prstGeom>
            <a:gradFill>
              <a:gsLst>
                <a:gs pos="0">
                  <a:srgbClr val="215A9C"/>
                </a:gs>
                <a:gs pos="100000">
                  <a:schemeClr val="tx2"/>
                </a:gs>
              </a:gsLst>
            </a:gradFill>
            <a:ln w="25400">
              <a:solidFill>
                <a:srgbClr val="E2E2E2"/>
              </a:solidFill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8" tIns="45714" rIns="91428" bIns="45714" rtlCol="0" anchor="ctr"/>
            <a:lstStyle/>
            <a:p>
              <a:pPr algn="ctr" defTabSz="457127"/>
              <a:endParaRPr lang="en-US" dirty="0"/>
            </a:p>
          </p:txBody>
        </p:sp>
        <p:grpSp>
          <p:nvGrpSpPr>
            <p:cNvPr id="233" name="Group 232"/>
            <p:cNvGrpSpPr/>
            <p:nvPr/>
          </p:nvGrpSpPr>
          <p:grpSpPr>
            <a:xfrm>
              <a:off x="5022956" y="1101739"/>
              <a:ext cx="375891" cy="201717"/>
              <a:chOff x="3421319" y="3567728"/>
              <a:chExt cx="425934" cy="228573"/>
            </a:xfrm>
            <a:effectLst/>
          </p:grpSpPr>
          <p:sp>
            <p:nvSpPr>
              <p:cNvPr id="234" name="Freeform 30"/>
              <p:cNvSpPr>
                <a:spLocks noEditPoints="1"/>
              </p:cNvSpPr>
              <p:nvPr/>
            </p:nvSpPr>
            <p:spPr bwMode="auto">
              <a:xfrm>
                <a:off x="3421319" y="3641533"/>
                <a:ext cx="425934" cy="143621"/>
              </a:xfrm>
              <a:custGeom>
                <a:avLst/>
                <a:gdLst>
                  <a:gd name="T0" fmla="*/ 1496 w 1536"/>
                  <a:gd name="T1" fmla="*/ 118 h 518"/>
                  <a:gd name="T2" fmla="*/ 673 w 1536"/>
                  <a:gd name="T3" fmla="*/ 118 h 518"/>
                  <a:gd name="T4" fmla="*/ 456 w 1536"/>
                  <a:gd name="T5" fmla="*/ 0 h 518"/>
                  <a:gd name="T6" fmla="*/ 239 w 1536"/>
                  <a:gd name="T7" fmla="*/ 118 h 518"/>
                  <a:gd name="T8" fmla="*/ 39 w 1536"/>
                  <a:gd name="T9" fmla="*/ 118 h 518"/>
                  <a:gd name="T10" fmla="*/ 0 w 1536"/>
                  <a:gd name="T11" fmla="*/ 160 h 518"/>
                  <a:gd name="T12" fmla="*/ 0 w 1536"/>
                  <a:gd name="T13" fmla="*/ 451 h 518"/>
                  <a:gd name="T14" fmla="*/ 39 w 1536"/>
                  <a:gd name="T15" fmla="*/ 490 h 518"/>
                  <a:gd name="T16" fmla="*/ 338 w 1536"/>
                  <a:gd name="T17" fmla="*/ 490 h 518"/>
                  <a:gd name="T18" fmla="*/ 456 w 1536"/>
                  <a:gd name="T19" fmla="*/ 518 h 518"/>
                  <a:gd name="T20" fmla="*/ 574 w 1536"/>
                  <a:gd name="T21" fmla="*/ 490 h 518"/>
                  <a:gd name="T22" fmla="*/ 1496 w 1536"/>
                  <a:gd name="T23" fmla="*/ 490 h 518"/>
                  <a:gd name="T24" fmla="*/ 1536 w 1536"/>
                  <a:gd name="T25" fmla="*/ 451 h 518"/>
                  <a:gd name="T26" fmla="*/ 1536 w 1536"/>
                  <a:gd name="T27" fmla="*/ 160 h 518"/>
                  <a:gd name="T28" fmla="*/ 1496 w 1536"/>
                  <a:gd name="T29" fmla="*/ 118 h 518"/>
                  <a:gd name="T30" fmla="*/ 456 w 1536"/>
                  <a:gd name="T31" fmla="*/ 451 h 518"/>
                  <a:gd name="T32" fmla="*/ 265 w 1536"/>
                  <a:gd name="T33" fmla="*/ 260 h 518"/>
                  <a:gd name="T34" fmla="*/ 327 w 1536"/>
                  <a:gd name="T35" fmla="*/ 118 h 518"/>
                  <a:gd name="T36" fmla="*/ 456 w 1536"/>
                  <a:gd name="T37" fmla="*/ 68 h 518"/>
                  <a:gd name="T38" fmla="*/ 586 w 1536"/>
                  <a:gd name="T39" fmla="*/ 118 h 518"/>
                  <a:gd name="T40" fmla="*/ 647 w 1536"/>
                  <a:gd name="T41" fmla="*/ 260 h 518"/>
                  <a:gd name="T42" fmla="*/ 456 w 1536"/>
                  <a:gd name="T43" fmla="*/ 451 h 518"/>
                  <a:gd name="T44" fmla="*/ 1407 w 1536"/>
                  <a:gd name="T45" fmla="*/ 362 h 518"/>
                  <a:gd name="T46" fmla="*/ 940 w 1536"/>
                  <a:gd name="T47" fmla="*/ 362 h 518"/>
                  <a:gd name="T48" fmla="*/ 926 w 1536"/>
                  <a:gd name="T49" fmla="*/ 350 h 518"/>
                  <a:gd name="T50" fmla="*/ 940 w 1536"/>
                  <a:gd name="T51" fmla="*/ 338 h 518"/>
                  <a:gd name="T52" fmla="*/ 1407 w 1536"/>
                  <a:gd name="T53" fmla="*/ 338 h 518"/>
                  <a:gd name="T54" fmla="*/ 1420 w 1536"/>
                  <a:gd name="T55" fmla="*/ 350 h 518"/>
                  <a:gd name="T56" fmla="*/ 1407 w 1536"/>
                  <a:gd name="T57" fmla="*/ 362 h 518"/>
                  <a:gd name="T58" fmla="*/ 1407 w 1536"/>
                  <a:gd name="T59" fmla="*/ 274 h 518"/>
                  <a:gd name="T60" fmla="*/ 940 w 1536"/>
                  <a:gd name="T61" fmla="*/ 274 h 518"/>
                  <a:gd name="T62" fmla="*/ 926 w 1536"/>
                  <a:gd name="T63" fmla="*/ 260 h 518"/>
                  <a:gd name="T64" fmla="*/ 940 w 1536"/>
                  <a:gd name="T65" fmla="*/ 246 h 518"/>
                  <a:gd name="T66" fmla="*/ 1407 w 1536"/>
                  <a:gd name="T67" fmla="*/ 246 h 518"/>
                  <a:gd name="T68" fmla="*/ 1420 w 1536"/>
                  <a:gd name="T69" fmla="*/ 260 h 518"/>
                  <a:gd name="T70" fmla="*/ 1407 w 1536"/>
                  <a:gd name="T71" fmla="*/ 274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36" h="518">
                    <a:moveTo>
                      <a:pt x="1496" y="118"/>
                    </a:moveTo>
                    <a:cubicBezTo>
                      <a:pt x="673" y="118"/>
                      <a:pt x="673" y="118"/>
                      <a:pt x="673" y="118"/>
                    </a:cubicBezTo>
                    <a:cubicBezTo>
                      <a:pt x="627" y="50"/>
                      <a:pt x="547" y="0"/>
                      <a:pt x="456" y="0"/>
                    </a:cubicBezTo>
                    <a:cubicBezTo>
                      <a:pt x="365" y="0"/>
                      <a:pt x="285" y="50"/>
                      <a:pt x="239" y="118"/>
                    </a:cubicBezTo>
                    <a:cubicBezTo>
                      <a:pt x="39" y="118"/>
                      <a:pt x="39" y="118"/>
                      <a:pt x="39" y="118"/>
                    </a:cubicBezTo>
                    <a:cubicBezTo>
                      <a:pt x="17" y="118"/>
                      <a:pt x="0" y="138"/>
                      <a:pt x="0" y="160"/>
                    </a:cubicBezTo>
                    <a:cubicBezTo>
                      <a:pt x="0" y="451"/>
                      <a:pt x="0" y="451"/>
                      <a:pt x="0" y="451"/>
                    </a:cubicBezTo>
                    <a:cubicBezTo>
                      <a:pt x="0" y="473"/>
                      <a:pt x="17" y="490"/>
                      <a:pt x="39" y="490"/>
                    </a:cubicBezTo>
                    <a:cubicBezTo>
                      <a:pt x="338" y="490"/>
                      <a:pt x="338" y="490"/>
                      <a:pt x="338" y="490"/>
                    </a:cubicBezTo>
                    <a:cubicBezTo>
                      <a:pt x="374" y="510"/>
                      <a:pt x="414" y="518"/>
                      <a:pt x="456" y="518"/>
                    </a:cubicBezTo>
                    <a:cubicBezTo>
                      <a:pt x="499" y="518"/>
                      <a:pt x="539" y="510"/>
                      <a:pt x="574" y="490"/>
                    </a:cubicBezTo>
                    <a:cubicBezTo>
                      <a:pt x="1496" y="490"/>
                      <a:pt x="1496" y="490"/>
                      <a:pt x="1496" y="490"/>
                    </a:cubicBezTo>
                    <a:cubicBezTo>
                      <a:pt x="1518" y="490"/>
                      <a:pt x="1536" y="473"/>
                      <a:pt x="1536" y="451"/>
                    </a:cubicBezTo>
                    <a:cubicBezTo>
                      <a:pt x="1536" y="160"/>
                      <a:pt x="1536" y="160"/>
                      <a:pt x="1536" y="160"/>
                    </a:cubicBezTo>
                    <a:cubicBezTo>
                      <a:pt x="1536" y="138"/>
                      <a:pt x="1518" y="118"/>
                      <a:pt x="1496" y="118"/>
                    </a:cubicBezTo>
                    <a:close/>
                    <a:moveTo>
                      <a:pt x="456" y="451"/>
                    </a:moveTo>
                    <a:cubicBezTo>
                      <a:pt x="351" y="451"/>
                      <a:pt x="265" y="365"/>
                      <a:pt x="265" y="260"/>
                    </a:cubicBezTo>
                    <a:cubicBezTo>
                      <a:pt x="265" y="204"/>
                      <a:pt x="289" y="154"/>
                      <a:pt x="327" y="118"/>
                    </a:cubicBezTo>
                    <a:cubicBezTo>
                      <a:pt x="361" y="90"/>
                      <a:pt x="406" y="68"/>
                      <a:pt x="456" y="68"/>
                    </a:cubicBezTo>
                    <a:cubicBezTo>
                      <a:pt x="506" y="68"/>
                      <a:pt x="551" y="90"/>
                      <a:pt x="586" y="118"/>
                    </a:cubicBezTo>
                    <a:cubicBezTo>
                      <a:pt x="624" y="154"/>
                      <a:pt x="647" y="204"/>
                      <a:pt x="647" y="260"/>
                    </a:cubicBezTo>
                    <a:cubicBezTo>
                      <a:pt x="647" y="365"/>
                      <a:pt x="562" y="451"/>
                      <a:pt x="456" y="451"/>
                    </a:cubicBezTo>
                    <a:close/>
                    <a:moveTo>
                      <a:pt x="1407" y="362"/>
                    </a:moveTo>
                    <a:cubicBezTo>
                      <a:pt x="940" y="362"/>
                      <a:pt x="940" y="362"/>
                      <a:pt x="940" y="362"/>
                    </a:cubicBezTo>
                    <a:cubicBezTo>
                      <a:pt x="932" y="362"/>
                      <a:pt x="926" y="357"/>
                      <a:pt x="926" y="350"/>
                    </a:cubicBezTo>
                    <a:cubicBezTo>
                      <a:pt x="926" y="343"/>
                      <a:pt x="932" y="338"/>
                      <a:pt x="940" y="338"/>
                    </a:cubicBezTo>
                    <a:cubicBezTo>
                      <a:pt x="1407" y="338"/>
                      <a:pt x="1407" y="338"/>
                      <a:pt x="1407" y="338"/>
                    </a:cubicBezTo>
                    <a:cubicBezTo>
                      <a:pt x="1415" y="338"/>
                      <a:pt x="1420" y="343"/>
                      <a:pt x="1420" y="350"/>
                    </a:cubicBezTo>
                    <a:cubicBezTo>
                      <a:pt x="1420" y="357"/>
                      <a:pt x="1415" y="362"/>
                      <a:pt x="1407" y="362"/>
                    </a:cubicBezTo>
                    <a:close/>
                    <a:moveTo>
                      <a:pt x="1407" y="274"/>
                    </a:moveTo>
                    <a:cubicBezTo>
                      <a:pt x="940" y="274"/>
                      <a:pt x="940" y="274"/>
                      <a:pt x="940" y="274"/>
                    </a:cubicBezTo>
                    <a:cubicBezTo>
                      <a:pt x="932" y="274"/>
                      <a:pt x="926" y="267"/>
                      <a:pt x="926" y="260"/>
                    </a:cubicBezTo>
                    <a:cubicBezTo>
                      <a:pt x="926" y="253"/>
                      <a:pt x="932" y="246"/>
                      <a:pt x="940" y="246"/>
                    </a:cubicBezTo>
                    <a:cubicBezTo>
                      <a:pt x="1407" y="246"/>
                      <a:pt x="1407" y="246"/>
                      <a:pt x="1407" y="246"/>
                    </a:cubicBezTo>
                    <a:cubicBezTo>
                      <a:pt x="1415" y="246"/>
                      <a:pt x="1420" y="253"/>
                      <a:pt x="1420" y="260"/>
                    </a:cubicBezTo>
                    <a:cubicBezTo>
                      <a:pt x="1420" y="267"/>
                      <a:pt x="1415" y="274"/>
                      <a:pt x="1407" y="27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85845">
                  <a:lnSpc>
                    <a:spcPct val="130000"/>
                  </a:lnSpc>
                </a:pPr>
                <a:endParaRPr lang="en-US" spc="-200" baseline="-25000">
                  <a:solidFill>
                    <a:srgbClr val="676767"/>
                  </a:solidFill>
                </a:endParaRPr>
              </a:p>
            </p:txBody>
          </p:sp>
          <p:sp>
            <p:nvSpPr>
              <p:cNvPr id="235" name="Oval 31"/>
              <p:cNvSpPr>
                <a:spLocks noChangeArrowheads="1"/>
              </p:cNvSpPr>
              <p:nvPr/>
            </p:nvSpPr>
            <p:spPr bwMode="auto">
              <a:xfrm>
                <a:off x="3512021" y="3677908"/>
                <a:ext cx="71811" cy="7181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85845">
                  <a:lnSpc>
                    <a:spcPct val="130000"/>
                  </a:lnSpc>
                </a:pPr>
                <a:endParaRPr lang="en-US" spc="-200" baseline="-25000">
                  <a:solidFill>
                    <a:srgbClr val="676767"/>
                  </a:solidFill>
                </a:endParaRPr>
              </a:p>
            </p:txBody>
          </p:sp>
          <p:sp>
            <p:nvSpPr>
              <p:cNvPr id="236" name="Rectangle 32"/>
              <p:cNvSpPr>
                <a:spLocks noChangeArrowheads="1"/>
              </p:cNvSpPr>
              <p:nvPr/>
            </p:nvSpPr>
            <p:spPr bwMode="auto">
              <a:xfrm>
                <a:off x="3442439" y="3782925"/>
                <a:ext cx="33324" cy="1337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85845">
                  <a:lnSpc>
                    <a:spcPct val="130000"/>
                  </a:lnSpc>
                </a:pPr>
                <a:endParaRPr lang="en-US" spc="-200" baseline="-25000">
                  <a:solidFill>
                    <a:srgbClr val="676767"/>
                  </a:solidFill>
                </a:endParaRPr>
              </a:p>
            </p:txBody>
          </p:sp>
          <p:sp>
            <p:nvSpPr>
              <p:cNvPr id="237" name="Rectangle 33"/>
              <p:cNvSpPr>
                <a:spLocks noChangeArrowheads="1"/>
              </p:cNvSpPr>
              <p:nvPr/>
            </p:nvSpPr>
            <p:spPr bwMode="auto">
              <a:xfrm>
                <a:off x="3786237" y="3782925"/>
                <a:ext cx="34380" cy="1337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85845">
                  <a:lnSpc>
                    <a:spcPct val="130000"/>
                  </a:lnSpc>
                </a:pPr>
                <a:endParaRPr lang="en-US" spc="-200" baseline="-25000">
                  <a:solidFill>
                    <a:srgbClr val="676767"/>
                  </a:solidFill>
                </a:endParaRPr>
              </a:p>
            </p:txBody>
          </p:sp>
          <p:sp>
            <p:nvSpPr>
              <p:cNvPr id="238" name="Freeform 34"/>
              <p:cNvSpPr>
                <a:spLocks/>
              </p:cNvSpPr>
              <p:nvPr/>
            </p:nvSpPr>
            <p:spPr bwMode="auto">
              <a:xfrm>
                <a:off x="3423548" y="3567728"/>
                <a:ext cx="90936" cy="91054"/>
              </a:xfrm>
              <a:custGeom>
                <a:avLst/>
                <a:gdLst>
                  <a:gd name="T0" fmla="*/ 328 w 328"/>
                  <a:gd name="T1" fmla="*/ 42 h 328"/>
                  <a:gd name="T2" fmla="*/ 328 w 328"/>
                  <a:gd name="T3" fmla="*/ 0 h 328"/>
                  <a:gd name="T4" fmla="*/ 0 w 328"/>
                  <a:gd name="T5" fmla="*/ 328 h 328"/>
                  <a:gd name="T6" fmla="*/ 42 w 328"/>
                  <a:gd name="T7" fmla="*/ 328 h 328"/>
                  <a:gd name="T8" fmla="*/ 328 w 328"/>
                  <a:gd name="T9" fmla="*/ 42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8" h="328">
                    <a:moveTo>
                      <a:pt x="328" y="42"/>
                    </a:moveTo>
                    <a:cubicBezTo>
                      <a:pt x="328" y="0"/>
                      <a:pt x="328" y="0"/>
                      <a:pt x="328" y="0"/>
                    </a:cubicBezTo>
                    <a:cubicBezTo>
                      <a:pt x="148" y="1"/>
                      <a:pt x="0" y="147"/>
                      <a:pt x="0" y="328"/>
                    </a:cubicBezTo>
                    <a:cubicBezTo>
                      <a:pt x="42" y="328"/>
                      <a:pt x="42" y="328"/>
                      <a:pt x="42" y="328"/>
                    </a:cubicBezTo>
                    <a:cubicBezTo>
                      <a:pt x="42" y="171"/>
                      <a:pt x="168" y="42"/>
                      <a:pt x="328" y="4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85845">
                  <a:lnSpc>
                    <a:spcPct val="130000"/>
                  </a:lnSpc>
                </a:pPr>
                <a:endParaRPr lang="en-US" spc="-200" baseline="-25000">
                  <a:solidFill>
                    <a:srgbClr val="676767"/>
                  </a:solidFill>
                </a:endParaRPr>
              </a:p>
            </p:txBody>
          </p:sp>
          <p:sp>
            <p:nvSpPr>
              <p:cNvPr id="239" name="Freeform 35"/>
              <p:cNvSpPr>
                <a:spLocks/>
              </p:cNvSpPr>
              <p:nvPr/>
            </p:nvSpPr>
            <p:spPr bwMode="auto">
              <a:xfrm>
                <a:off x="3448776" y="3592956"/>
                <a:ext cx="65709" cy="65826"/>
              </a:xfrm>
              <a:custGeom>
                <a:avLst/>
                <a:gdLst>
                  <a:gd name="T0" fmla="*/ 237 w 237"/>
                  <a:gd name="T1" fmla="*/ 0 h 237"/>
                  <a:gd name="T2" fmla="*/ 0 w 237"/>
                  <a:gd name="T3" fmla="*/ 237 h 237"/>
                  <a:gd name="T4" fmla="*/ 42 w 237"/>
                  <a:gd name="T5" fmla="*/ 237 h 237"/>
                  <a:gd name="T6" fmla="*/ 237 w 237"/>
                  <a:gd name="T7" fmla="*/ 42 h 237"/>
                  <a:gd name="T8" fmla="*/ 237 w 237"/>
                  <a:gd name="T9" fmla="*/ 0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7" h="237">
                    <a:moveTo>
                      <a:pt x="237" y="0"/>
                    </a:moveTo>
                    <a:cubicBezTo>
                      <a:pt x="109" y="1"/>
                      <a:pt x="0" y="107"/>
                      <a:pt x="0" y="237"/>
                    </a:cubicBezTo>
                    <a:cubicBezTo>
                      <a:pt x="42" y="237"/>
                      <a:pt x="42" y="237"/>
                      <a:pt x="42" y="237"/>
                    </a:cubicBezTo>
                    <a:cubicBezTo>
                      <a:pt x="42" y="129"/>
                      <a:pt x="129" y="43"/>
                      <a:pt x="237" y="42"/>
                    </a:cubicBezTo>
                    <a:lnTo>
                      <a:pt x="237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85845">
                  <a:lnSpc>
                    <a:spcPct val="130000"/>
                  </a:lnSpc>
                </a:pPr>
                <a:endParaRPr lang="en-US" spc="-200" baseline="-25000">
                  <a:solidFill>
                    <a:srgbClr val="676767"/>
                  </a:solidFill>
                </a:endParaRPr>
              </a:p>
            </p:txBody>
          </p:sp>
          <p:sp>
            <p:nvSpPr>
              <p:cNvPr id="240" name="Freeform 36"/>
              <p:cNvSpPr>
                <a:spLocks/>
              </p:cNvSpPr>
              <p:nvPr/>
            </p:nvSpPr>
            <p:spPr bwMode="auto">
              <a:xfrm>
                <a:off x="3473534" y="3617714"/>
                <a:ext cx="40951" cy="41068"/>
              </a:xfrm>
              <a:custGeom>
                <a:avLst/>
                <a:gdLst>
                  <a:gd name="T0" fmla="*/ 42 w 148"/>
                  <a:gd name="T1" fmla="*/ 148 h 148"/>
                  <a:gd name="T2" fmla="*/ 148 w 148"/>
                  <a:gd name="T3" fmla="*/ 42 h 148"/>
                  <a:gd name="T4" fmla="*/ 148 w 148"/>
                  <a:gd name="T5" fmla="*/ 0 h 148"/>
                  <a:gd name="T6" fmla="*/ 0 w 148"/>
                  <a:gd name="T7" fmla="*/ 148 h 148"/>
                  <a:gd name="T8" fmla="*/ 42 w 148"/>
                  <a:gd name="T9" fmla="*/ 14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8" h="148">
                    <a:moveTo>
                      <a:pt x="42" y="148"/>
                    </a:moveTo>
                    <a:cubicBezTo>
                      <a:pt x="42" y="89"/>
                      <a:pt x="88" y="42"/>
                      <a:pt x="148" y="42"/>
                    </a:cubicBezTo>
                    <a:cubicBezTo>
                      <a:pt x="148" y="0"/>
                      <a:pt x="148" y="0"/>
                      <a:pt x="148" y="0"/>
                    </a:cubicBezTo>
                    <a:cubicBezTo>
                      <a:pt x="68" y="1"/>
                      <a:pt x="0" y="67"/>
                      <a:pt x="0" y="148"/>
                    </a:cubicBezTo>
                    <a:lnTo>
                      <a:pt x="42" y="14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85845">
                  <a:lnSpc>
                    <a:spcPct val="130000"/>
                  </a:lnSpc>
                </a:pPr>
                <a:endParaRPr lang="en-US" spc="-200" baseline="-25000">
                  <a:solidFill>
                    <a:srgbClr val="676767"/>
                  </a:solidFill>
                </a:endParaRPr>
              </a:p>
            </p:txBody>
          </p:sp>
        </p:grpSp>
      </p:grpSp>
      <p:grpSp>
        <p:nvGrpSpPr>
          <p:cNvPr id="6" name="Group 5"/>
          <p:cNvGrpSpPr/>
          <p:nvPr/>
        </p:nvGrpSpPr>
        <p:grpSpPr>
          <a:xfrm>
            <a:off x="3065824" y="1253050"/>
            <a:ext cx="377087" cy="377087"/>
            <a:chOff x="3065824" y="1253050"/>
            <a:chExt cx="377087" cy="377087"/>
          </a:xfrm>
        </p:grpSpPr>
        <p:sp>
          <p:nvSpPr>
            <p:cNvPr id="242" name="Oval 241"/>
            <p:cNvSpPr/>
            <p:nvPr/>
          </p:nvSpPr>
          <p:spPr>
            <a:xfrm>
              <a:off x="3065824" y="1253050"/>
              <a:ext cx="377087" cy="377087"/>
            </a:xfrm>
            <a:prstGeom prst="ellipse">
              <a:avLst/>
            </a:prstGeom>
            <a:gradFill>
              <a:gsLst>
                <a:gs pos="0">
                  <a:srgbClr val="215A9C"/>
                </a:gs>
                <a:gs pos="100000">
                  <a:schemeClr val="tx2"/>
                </a:gs>
              </a:gsLst>
            </a:gradFill>
            <a:ln w="25400">
              <a:solidFill>
                <a:srgbClr val="E2E2E2"/>
              </a:solidFill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8" tIns="45714" rIns="91428" bIns="45714" rtlCol="0" anchor="ctr"/>
            <a:lstStyle/>
            <a:p>
              <a:pPr algn="ctr" defTabSz="457127"/>
              <a:endParaRPr lang="en-US" dirty="0"/>
            </a:p>
          </p:txBody>
        </p:sp>
        <p:pic>
          <p:nvPicPr>
            <p:cNvPr id="243" name="Picture 242" descr="package.psd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138158" y="1322817"/>
              <a:ext cx="240406" cy="240406"/>
            </a:xfrm>
            <a:prstGeom prst="rect">
              <a:avLst/>
            </a:prstGeom>
            <a:effectLst/>
          </p:spPr>
        </p:pic>
      </p:grpSp>
      <p:grpSp>
        <p:nvGrpSpPr>
          <p:cNvPr id="5" name="Group 4"/>
          <p:cNvGrpSpPr/>
          <p:nvPr/>
        </p:nvGrpSpPr>
        <p:grpSpPr>
          <a:xfrm>
            <a:off x="5754241" y="1888954"/>
            <a:ext cx="372609" cy="372609"/>
            <a:chOff x="5754241" y="1888954"/>
            <a:chExt cx="372609" cy="372609"/>
          </a:xfrm>
        </p:grpSpPr>
        <p:sp>
          <p:nvSpPr>
            <p:cNvPr id="246" name="Oval 245"/>
            <p:cNvSpPr/>
            <p:nvPr/>
          </p:nvSpPr>
          <p:spPr>
            <a:xfrm>
              <a:off x="5754241" y="1888954"/>
              <a:ext cx="372609" cy="372609"/>
            </a:xfrm>
            <a:prstGeom prst="ellipse">
              <a:avLst/>
            </a:prstGeom>
            <a:gradFill>
              <a:gsLst>
                <a:gs pos="0">
                  <a:srgbClr val="215A9C"/>
                </a:gs>
                <a:gs pos="100000">
                  <a:schemeClr val="tx2"/>
                </a:gs>
              </a:gsLst>
            </a:gradFill>
            <a:ln w="25400">
              <a:solidFill>
                <a:srgbClr val="E2E2E2"/>
              </a:solidFill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8" tIns="45714" rIns="91428" bIns="45714" rtlCol="0" anchor="ctr"/>
            <a:lstStyle/>
            <a:p>
              <a:pPr algn="ctr" defTabSz="457127"/>
              <a:endParaRPr lang="en-US" dirty="0"/>
            </a:p>
          </p:txBody>
        </p:sp>
        <p:pic>
          <p:nvPicPr>
            <p:cNvPr id="248" name="Picture 247" descr="laptop.psd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3870" y="1952791"/>
              <a:ext cx="229478" cy="229478"/>
            </a:xfrm>
            <a:prstGeom prst="rect">
              <a:avLst/>
            </a:prstGeom>
            <a:effectLst/>
          </p:spPr>
        </p:pic>
      </p:grpSp>
      <p:grpSp>
        <p:nvGrpSpPr>
          <p:cNvPr id="24" name="Group 23"/>
          <p:cNvGrpSpPr/>
          <p:nvPr/>
        </p:nvGrpSpPr>
        <p:grpSpPr>
          <a:xfrm>
            <a:off x="1631289" y="1790294"/>
            <a:ext cx="488536" cy="488536"/>
            <a:chOff x="1631289" y="1790294"/>
            <a:chExt cx="488536" cy="488536"/>
          </a:xfrm>
        </p:grpSpPr>
        <p:sp>
          <p:nvSpPr>
            <p:cNvPr id="159" name="Oval 158"/>
            <p:cNvSpPr/>
            <p:nvPr/>
          </p:nvSpPr>
          <p:spPr>
            <a:xfrm>
              <a:off x="1631289" y="1790294"/>
              <a:ext cx="488536" cy="488536"/>
            </a:xfrm>
            <a:prstGeom prst="ellipse">
              <a:avLst/>
            </a:prstGeom>
            <a:gradFill>
              <a:gsLst>
                <a:gs pos="0">
                  <a:srgbClr val="215A9C"/>
                </a:gs>
                <a:gs pos="100000">
                  <a:schemeClr val="tx2"/>
                </a:gs>
              </a:gsLst>
            </a:gradFill>
            <a:ln w="25400">
              <a:solidFill>
                <a:srgbClr val="E2E2E2"/>
              </a:solidFill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8" tIns="45714" rIns="91428" bIns="45714" rtlCol="0" anchor="ctr"/>
            <a:lstStyle/>
            <a:p>
              <a:pPr algn="ctr" defTabSz="457127"/>
              <a:endParaRPr lang="en-US" dirty="0"/>
            </a:p>
          </p:txBody>
        </p:sp>
        <p:sp>
          <p:nvSpPr>
            <p:cNvPr id="160" name="Freeform 9"/>
            <p:cNvSpPr>
              <a:spLocks noEditPoints="1"/>
            </p:cNvSpPr>
            <p:nvPr/>
          </p:nvSpPr>
          <p:spPr bwMode="auto">
            <a:xfrm>
              <a:off x="1701149" y="1902350"/>
              <a:ext cx="348815" cy="264424"/>
            </a:xfrm>
            <a:custGeom>
              <a:avLst/>
              <a:gdLst/>
              <a:ahLst/>
              <a:cxnLst>
                <a:cxn ang="0">
                  <a:pos x="52" y="172"/>
                </a:cxn>
                <a:cxn ang="0">
                  <a:pos x="0" y="201"/>
                </a:cxn>
                <a:cxn ang="0">
                  <a:pos x="72" y="326"/>
                </a:cxn>
                <a:cxn ang="0">
                  <a:pos x="123" y="297"/>
                </a:cxn>
                <a:cxn ang="0">
                  <a:pos x="52" y="172"/>
                </a:cxn>
                <a:cxn ang="0">
                  <a:pos x="327" y="203"/>
                </a:cxn>
                <a:cxn ang="0">
                  <a:pos x="423" y="152"/>
                </a:cxn>
                <a:cxn ang="0">
                  <a:pos x="428" y="134"/>
                </a:cxn>
                <a:cxn ang="0">
                  <a:pos x="362" y="9"/>
                </a:cxn>
                <a:cxn ang="0">
                  <a:pos x="345" y="3"/>
                </a:cxn>
                <a:cxn ang="0">
                  <a:pos x="109" y="128"/>
                </a:cxn>
                <a:cxn ang="0">
                  <a:pos x="104" y="146"/>
                </a:cxn>
                <a:cxn ang="0">
                  <a:pos x="113" y="163"/>
                </a:cxn>
                <a:cxn ang="0">
                  <a:pos x="89" y="175"/>
                </a:cxn>
                <a:cxn ang="0">
                  <a:pos x="90" y="184"/>
                </a:cxn>
                <a:cxn ang="0">
                  <a:pos x="130" y="259"/>
                </a:cxn>
                <a:cxn ang="0">
                  <a:pos x="137" y="265"/>
                </a:cxn>
                <a:cxn ang="0">
                  <a:pos x="161" y="252"/>
                </a:cxn>
                <a:cxn ang="0">
                  <a:pos x="170" y="270"/>
                </a:cxn>
                <a:cxn ang="0">
                  <a:pos x="188" y="277"/>
                </a:cxn>
                <a:cxn ang="0">
                  <a:pos x="281" y="227"/>
                </a:cxn>
                <a:cxn ang="0">
                  <a:pos x="499" y="378"/>
                </a:cxn>
                <a:cxn ang="0">
                  <a:pos x="499" y="274"/>
                </a:cxn>
                <a:cxn ang="0">
                  <a:pos x="327" y="203"/>
                </a:cxn>
              </a:cxnLst>
              <a:rect l="0" t="0" r="r" b="b"/>
              <a:pathLst>
                <a:path w="499" h="378">
                  <a:moveTo>
                    <a:pt x="52" y="172"/>
                  </a:moveTo>
                  <a:cubicBezTo>
                    <a:pt x="0" y="201"/>
                    <a:pt x="0" y="201"/>
                    <a:pt x="0" y="201"/>
                  </a:cubicBezTo>
                  <a:cubicBezTo>
                    <a:pt x="72" y="326"/>
                    <a:pt x="72" y="326"/>
                    <a:pt x="72" y="326"/>
                  </a:cubicBezTo>
                  <a:cubicBezTo>
                    <a:pt x="123" y="297"/>
                    <a:pt x="123" y="297"/>
                    <a:pt x="123" y="297"/>
                  </a:cubicBezTo>
                  <a:cubicBezTo>
                    <a:pt x="123" y="297"/>
                    <a:pt x="106" y="220"/>
                    <a:pt x="52" y="172"/>
                  </a:cubicBezTo>
                  <a:close/>
                  <a:moveTo>
                    <a:pt x="327" y="203"/>
                  </a:moveTo>
                  <a:cubicBezTo>
                    <a:pt x="423" y="152"/>
                    <a:pt x="423" y="152"/>
                    <a:pt x="423" y="152"/>
                  </a:cubicBezTo>
                  <a:cubicBezTo>
                    <a:pt x="429" y="148"/>
                    <a:pt x="432" y="140"/>
                    <a:pt x="428" y="134"/>
                  </a:cubicBezTo>
                  <a:cubicBezTo>
                    <a:pt x="362" y="9"/>
                    <a:pt x="362" y="9"/>
                    <a:pt x="362" y="9"/>
                  </a:cubicBezTo>
                  <a:cubicBezTo>
                    <a:pt x="359" y="3"/>
                    <a:pt x="351" y="0"/>
                    <a:pt x="345" y="3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3" y="131"/>
                    <a:pt x="101" y="139"/>
                    <a:pt x="104" y="146"/>
                  </a:cubicBezTo>
                  <a:cubicBezTo>
                    <a:pt x="113" y="163"/>
                    <a:pt x="113" y="163"/>
                    <a:pt x="113" y="163"/>
                  </a:cubicBezTo>
                  <a:cubicBezTo>
                    <a:pt x="89" y="175"/>
                    <a:pt x="89" y="175"/>
                    <a:pt x="89" y="175"/>
                  </a:cubicBezTo>
                  <a:cubicBezTo>
                    <a:pt x="88" y="176"/>
                    <a:pt x="88" y="180"/>
                    <a:pt x="90" y="184"/>
                  </a:cubicBezTo>
                  <a:cubicBezTo>
                    <a:pt x="130" y="259"/>
                    <a:pt x="130" y="259"/>
                    <a:pt x="130" y="259"/>
                  </a:cubicBezTo>
                  <a:cubicBezTo>
                    <a:pt x="132" y="263"/>
                    <a:pt x="135" y="266"/>
                    <a:pt x="137" y="265"/>
                  </a:cubicBezTo>
                  <a:cubicBezTo>
                    <a:pt x="161" y="252"/>
                    <a:pt x="161" y="252"/>
                    <a:pt x="161" y="252"/>
                  </a:cubicBezTo>
                  <a:cubicBezTo>
                    <a:pt x="170" y="270"/>
                    <a:pt x="170" y="270"/>
                    <a:pt x="170" y="270"/>
                  </a:cubicBezTo>
                  <a:cubicBezTo>
                    <a:pt x="174" y="277"/>
                    <a:pt x="182" y="280"/>
                    <a:pt x="188" y="277"/>
                  </a:cubicBezTo>
                  <a:cubicBezTo>
                    <a:pt x="281" y="227"/>
                    <a:pt x="281" y="227"/>
                    <a:pt x="281" y="227"/>
                  </a:cubicBezTo>
                  <a:cubicBezTo>
                    <a:pt x="499" y="378"/>
                    <a:pt x="499" y="378"/>
                    <a:pt x="499" y="378"/>
                  </a:cubicBezTo>
                  <a:cubicBezTo>
                    <a:pt x="499" y="274"/>
                    <a:pt x="499" y="274"/>
                    <a:pt x="499" y="274"/>
                  </a:cubicBezTo>
                  <a:lnTo>
                    <a:pt x="327" y="203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defTabSz="685845"/>
              <a:endParaRPr lang="en-US">
                <a:solidFill>
                  <a:srgbClr val="676767"/>
                </a:soli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2196867" y="1253050"/>
            <a:ext cx="490005" cy="490005"/>
            <a:chOff x="2196867" y="1253050"/>
            <a:chExt cx="490005" cy="490005"/>
          </a:xfrm>
        </p:grpSpPr>
        <p:sp>
          <p:nvSpPr>
            <p:cNvPr id="170" name="Oval 169"/>
            <p:cNvSpPr/>
            <p:nvPr/>
          </p:nvSpPr>
          <p:spPr>
            <a:xfrm>
              <a:off x="2196867" y="1253050"/>
              <a:ext cx="490005" cy="490005"/>
            </a:xfrm>
            <a:prstGeom prst="ellipse">
              <a:avLst/>
            </a:prstGeom>
            <a:gradFill>
              <a:gsLst>
                <a:gs pos="0">
                  <a:srgbClr val="215A9C"/>
                </a:gs>
                <a:gs pos="100000">
                  <a:schemeClr val="tx2"/>
                </a:gs>
              </a:gsLst>
            </a:gradFill>
            <a:ln w="25400">
              <a:solidFill>
                <a:srgbClr val="E2E2E2"/>
              </a:solidFill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8" tIns="45714" rIns="91428" bIns="45714" rtlCol="0" anchor="ctr"/>
            <a:lstStyle/>
            <a:p>
              <a:pPr algn="ctr" defTabSz="457127"/>
              <a:endParaRPr lang="en-US" dirty="0"/>
            </a:p>
          </p:txBody>
        </p:sp>
        <p:grpSp>
          <p:nvGrpSpPr>
            <p:cNvPr id="171" name="Group 170"/>
            <p:cNvGrpSpPr/>
            <p:nvPr/>
          </p:nvGrpSpPr>
          <p:grpSpPr>
            <a:xfrm>
              <a:off x="2332571" y="1386250"/>
              <a:ext cx="218598" cy="223606"/>
              <a:chOff x="3498585" y="6087222"/>
              <a:chExt cx="271401" cy="277619"/>
            </a:xfrm>
            <a:effectLst/>
          </p:grpSpPr>
          <p:sp>
            <p:nvSpPr>
              <p:cNvPr id="172" name="Freeform 28"/>
              <p:cNvSpPr>
                <a:spLocks noEditPoints="1"/>
              </p:cNvSpPr>
              <p:nvPr/>
            </p:nvSpPr>
            <p:spPr bwMode="auto">
              <a:xfrm>
                <a:off x="3501284" y="6293618"/>
                <a:ext cx="268702" cy="71223"/>
              </a:xfrm>
              <a:custGeom>
                <a:avLst/>
                <a:gdLst>
                  <a:gd name="T0" fmla="*/ 185 w 969"/>
                  <a:gd name="T1" fmla="*/ 61 h 257"/>
                  <a:gd name="T2" fmla="*/ 60 w 969"/>
                  <a:gd name="T3" fmla="*/ 9 h 257"/>
                  <a:gd name="T4" fmla="*/ 0 w 969"/>
                  <a:gd name="T5" fmla="*/ 24 h 257"/>
                  <a:gd name="T6" fmla="*/ 185 w 969"/>
                  <a:gd name="T7" fmla="*/ 116 h 257"/>
                  <a:gd name="T8" fmla="*/ 185 w 969"/>
                  <a:gd name="T9" fmla="*/ 226 h 257"/>
                  <a:gd name="T10" fmla="*/ 217 w 969"/>
                  <a:gd name="T11" fmla="*/ 257 h 257"/>
                  <a:gd name="T12" fmla="*/ 937 w 969"/>
                  <a:gd name="T13" fmla="*/ 257 h 257"/>
                  <a:gd name="T14" fmla="*/ 969 w 969"/>
                  <a:gd name="T15" fmla="*/ 226 h 257"/>
                  <a:gd name="T16" fmla="*/ 969 w 969"/>
                  <a:gd name="T17" fmla="*/ 33 h 257"/>
                  <a:gd name="T18" fmla="*/ 185 w 969"/>
                  <a:gd name="T19" fmla="*/ 33 h 257"/>
                  <a:gd name="T20" fmla="*/ 185 w 969"/>
                  <a:gd name="T21" fmla="*/ 61 h 257"/>
                  <a:gd name="T22" fmla="*/ 465 w 969"/>
                  <a:gd name="T23" fmla="*/ 101 h 257"/>
                  <a:gd name="T24" fmla="*/ 689 w 969"/>
                  <a:gd name="T25" fmla="*/ 101 h 257"/>
                  <a:gd name="T26" fmla="*/ 713 w 969"/>
                  <a:gd name="T27" fmla="*/ 125 h 257"/>
                  <a:gd name="T28" fmla="*/ 689 w 969"/>
                  <a:gd name="T29" fmla="*/ 149 h 257"/>
                  <a:gd name="T30" fmla="*/ 465 w 969"/>
                  <a:gd name="T31" fmla="*/ 149 h 257"/>
                  <a:gd name="T32" fmla="*/ 441 w 969"/>
                  <a:gd name="T33" fmla="*/ 125 h 257"/>
                  <a:gd name="T34" fmla="*/ 465 w 969"/>
                  <a:gd name="T35" fmla="*/ 101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69" h="257">
                    <a:moveTo>
                      <a:pt x="185" y="61"/>
                    </a:moveTo>
                    <a:cubicBezTo>
                      <a:pt x="60" y="9"/>
                      <a:pt x="60" y="9"/>
                      <a:pt x="60" y="9"/>
                    </a:cubicBezTo>
                    <a:cubicBezTo>
                      <a:pt x="39" y="0"/>
                      <a:pt x="14" y="6"/>
                      <a:pt x="0" y="24"/>
                    </a:cubicBezTo>
                    <a:cubicBezTo>
                      <a:pt x="185" y="116"/>
                      <a:pt x="185" y="116"/>
                      <a:pt x="185" y="116"/>
                    </a:cubicBezTo>
                    <a:cubicBezTo>
                      <a:pt x="185" y="226"/>
                      <a:pt x="185" y="226"/>
                      <a:pt x="185" y="226"/>
                    </a:cubicBezTo>
                    <a:cubicBezTo>
                      <a:pt x="185" y="243"/>
                      <a:pt x="200" y="257"/>
                      <a:pt x="217" y="257"/>
                    </a:cubicBezTo>
                    <a:cubicBezTo>
                      <a:pt x="937" y="257"/>
                      <a:pt x="937" y="257"/>
                      <a:pt x="937" y="257"/>
                    </a:cubicBezTo>
                    <a:cubicBezTo>
                      <a:pt x="954" y="257"/>
                      <a:pt x="969" y="243"/>
                      <a:pt x="969" y="226"/>
                    </a:cubicBezTo>
                    <a:cubicBezTo>
                      <a:pt x="969" y="33"/>
                      <a:pt x="969" y="33"/>
                      <a:pt x="969" y="33"/>
                    </a:cubicBezTo>
                    <a:cubicBezTo>
                      <a:pt x="185" y="33"/>
                      <a:pt x="185" y="33"/>
                      <a:pt x="185" y="33"/>
                    </a:cubicBezTo>
                    <a:lnTo>
                      <a:pt x="185" y="61"/>
                    </a:lnTo>
                    <a:close/>
                    <a:moveTo>
                      <a:pt x="465" y="101"/>
                    </a:moveTo>
                    <a:cubicBezTo>
                      <a:pt x="689" y="101"/>
                      <a:pt x="689" y="101"/>
                      <a:pt x="689" y="101"/>
                    </a:cubicBezTo>
                    <a:cubicBezTo>
                      <a:pt x="702" y="101"/>
                      <a:pt x="713" y="112"/>
                      <a:pt x="713" y="125"/>
                    </a:cubicBezTo>
                    <a:cubicBezTo>
                      <a:pt x="713" y="138"/>
                      <a:pt x="702" y="149"/>
                      <a:pt x="689" y="149"/>
                    </a:cubicBezTo>
                    <a:cubicBezTo>
                      <a:pt x="465" y="149"/>
                      <a:pt x="465" y="149"/>
                      <a:pt x="465" y="149"/>
                    </a:cubicBezTo>
                    <a:cubicBezTo>
                      <a:pt x="452" y="149"/>
                      <a:pt x="441" y="138"/>
                      <a:pt x="441" y="125"/>
                    </a:cubicBezTo>
                    <a:cubicBezTo>
                      <a:pt x="441" y="112"/>
                      <a:pt x="452" y="101"/>
                      <a:pt x="465" y="10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85845">
                  <a:lnSpc>
                    <a:spcPct val="130000"/>
                  </a:lnSpc>
                </a:pPr>
                <a:endParaRPr lang="en-US" spc="-200" baseline="-25000">
                  <a:solidFill>
                    <a:srgbClr val="676767"/>
                  </a:solidFill>
                </a:endParaRPr>
              </a:p>
            </p:txBody>
          </p:sp>
          <p:sp>
            <p:nvSpPr>
              <p:cNvPr id="173" name="Freeform 29"/>
              <p:cNvSpPr>
                <a:spLocks/>
              </p:cNvSpPr>
              <p:nvPr/>
            </p:nvSpPr>
            <p:spPr bwMode="auto">
              <a:xfrm>
                <a:off x="3498585" y="6087222"/>
                <a:ext cx="271401" cy="207804"/>
              </a:xfrm>
              <a:custGeom>
                <a:avLst/>
                <a:gdLst>
                  <a:gd name="T0" fmla="*/ 947 w 979"/>
                  <a:gd name="T1" fmla="*/ 165 h 749"/>
                  <a:gd name="T2" fmla="*/ 395 w 979"/>
                  <a:gd name="T3" fmla="*/ 165 h 749"/>
                  <a:gd name="T4" fmla="*/ 395 w 979"/>
                  <a:gd name="T5" fmla="*/ 132 h 749"/>
                  <a:gd name="T6" fmla="*/ 804 w 979"/>
                  <a:gd name="T7" fmla="*/ 26 h 749"/>
                  <a:gd name="T8" fmla="*/ 763 w 979"/>
                  <a:gd name="T9" fmla="*/ 4 h 749"/>
                  <a:gd name="T10" fmla="*/ 395 w 979"/>
                  <a:gd name="T11" fmla="*/ 86 h 749"/>
                  <a:gd name="T12" fmla="*/ 395 w 979"/>
                  <a:gd name="T13" fmla="*/ 45 h 749"/>
                  <a:gd name="T14" fmla="*/ 372 w 979"/>
                  <a:gd name="T15" fmla="*/ 25 h 749"/>
                  <a:gd name="T16" fmla="*/ 302 w 979"/>
                  <a:gd name="T17" fmla="*/ 25 h 749"/>
                  <a:gd name="T18" fmla="*/ 196 w 979"/>
                  <a:gd name="T19" fmla="*/ 165 h 749"/>
                  <a:gd name="T20" fmla="*/ 195 w 979"/>
                  <a:gd name="T21" fmla="*/ 168 h 749"/>
                  <a:gd name="T22" fmla="*/ 195 w 979"/>
                  <a:gd name="T23" fmla="*/ 169 h 749"/>
                  <a:gd name="T24" fmla="*/ 195 w 979"/>
                  <a:gd name="T25" fmla="*/ 274 h 749"/>
                  <a:gd name="T26" fmla="*/ 227 w 979"/>
                  <a:gd name="T27" fmla="*/ 305 h 749"/>
                  <a:gd name="T28" fmla="*/ 535 w 979"/>
                  <a:gd name="T29" fmla="*/ 305 h 749"/>
                  <a:gd name="T30" fmla="*/ 535 w 979"/>
                  <a:gd name="T31" fmla="*/ 393 h 749"/>
                  <a:gd name="T32" fmla="*/ 227 w 979"/>
                  <a:gd name="T33" fmla="*/ 393 h 749"/>
                  <a:gd name="T34" fmla="*/ 195 w 979"/>
                  <a:gd name="T35" fmla="*/ 425 h 749"/>
                  <a:gd name="T36" fmla="*/ 195 w 979"/>
                  <a:gd name="T37" fmla="*/ 552 h 749"/>
                  <a:gd name="T38" fmla="*/ 61 w 979"/>
                  <a:gd name="T39" fmla="*/ 496 h 749"/>
                  <a:gd name="T40" fmla="*/ 0 w 979"/>
                  <a:gd name="T41" fmla="*/ 511 h 749"/>
                  <a:gd name="T42" fmla="*/ 195 w 979"/>
                  <a:gd name="T43" fmla="*/ 607 h 749"/>
                  <a:gd name="T44" fmla="*/ 195 w 979"/>
                  <a:gd name="T45" fmla="*/ 749 h 749"/>
                  <a:gd name="T46" fmla="*/ 979 w 979"/>
                  <a:gd name="T47" fmla="*/ 749 h 749"/>
                  <a:gd name="T48" fmla="*/ 979 w 979"/>
                  <a:gd name="T49" fmla="*/ 437 h 749"/>
                  <a:gd name="T50" fmla="*/ 979 w 979"/>
                  <a:gd name="T51" fmla="*/ 393 h 749"/>
                  <a:gd name="T52" fmla="*/ 979 w 979"/>
                  <a:gd name="T53" fmla="*/ 305 h 749"/>
                  <a:gd name="T54" fmla="*/ 979 w 979"/>
                  <a:gd name="T55" fmla="*/ 297 h 749"/>
                  <a:gd name="T56" fmla="*/ 979 w 979"/>
                  <a:gd name="T57" fmla="*/ 197 h 749"/>
                  <a:gd name="T58" fmla="*/ 947 w 979"/>
                  <a:gd name="T59" fmla="*/ 165 h 7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979" h="749">
                    <a:moveTo>
                      <a:pt x="947" y="165"/>
                    </a:moveTo>
                    <a:cubicBezTo>
                      <a:pt x="395" y="165"/>
                      <a:pt x="395" y="165"/>
                      <a:pt x="395" y="165"/>
                    </a:cubicBezTo>
                    <a:cubicBezTo>
                      <a:pt x="395" y="132"/>
                      <a:pt x="395" y="132"/>
                      <a:pt x="395" y="132"/>
                    </a:cubicBezTo>
                    <a:cubicBezTo>
                      <a:pt x="804" y="26"/>
                      <a:pt x="804" y="26"/>
                      <a:pt x="804" y="26"/>
                    </a:cubicBezTo>
                    <a:cubicBezTo>
                      <a:pt x="797" y="9"/>
                      <a:pt x="780" y="0"/>
                      <a:pt x="763" y="4"/>
                    </a:cubicBezTo>
                    <a:cubicBezTo>
                      <a:pt x="395" y="86"/>
                      <a:pt x="395" y="86"/>
                      <a:pt x="395" y="86"/>
                    </a:cubicBezTo>
                    <a:cubicBezTo>
                      <a:pt x="395" y="45"/>
                      <a:pt x="395" y="45"/>
                      <a:pt x="395" y="45"/>
                    </a:cubicBezTo>
                    <a:cubicBezTo>
                      <a:pt x="395" y="33"/>
                      <a:pt x="384" y="25"/>
                      <a:pt x="372" y="25"/>
                    </a:cubicBezTo>
                    <a:cubicBezTo>
                      <a:pt x="302" y="25"/>
                      <a:pt x="302" y="25"/>
                      <a:pt x="302" y="25"/>
                    </a:cubicBezTo>
                    <a:cubicBezTo>
                      <a:pt x="244" y="29"/>
                      <a:pt x="197" y="89"/>
                      <a:pt x="196" y="165"/>
                    </a:cubicBezTo>
                    <a:cubicBezTo>
                      <a:pt x="196" y="165"/>
                      <a:pt x="195" y="167"/>
                      <a:pt x="195" y="168"/>
                    </a:cubicBezTo>
                    <a:cubicBezTo>
                      <a:pt x="195" y="169"/>
                      <a:pt x="195" y="169"/>
                      <a:pt x="195" y="169"/>
                    </a:cubicBezTo>
                    <a:cubicBezTo>
                      <a:pt x="195" y="274"/>
                      <a:pt x="195" y="274"/>
                      <a:pt x="195" y="274"/>
                    </a:cubicBezTo>
                    <a:cubicBezTo>
                      <a:pt x="195" y="291"/>
                      <a:pt x="210" y="305"/>
                      <a:pt x="227" y="305"/>
                    </a:cubicBezTo>
                    <a:cubicBezTo>
                      <a:pt x="535" y="305"/>
                      <a:pt x="535" y="305"/>
                      <a:pt x="535" y="305"/>
                    </a:cubicBezTo>
                    <a:cubicBezTo>
                      <a:pt x="535" y="393"/>
                      <a:pt x="535" y="393"/>
                      <a:pt x="535" y="393"/>
                    </a:cubicBezTo>
                    <a:cubicBezTo>
                      <a:pt x="227" y="393"/>
                      <a:pt x="227" y="393"/>
                      <a:pt x="227" y="393"/>
                    </a:cubicBezTo>
                    <a:cubicBezTo>
                      <a:pt x="210" y="393"/>
                      <a:pt x="195" y="408"/>
                      <a:pt x="195" y="425"/>
                    </a:cubicBezTo>
                    <a:cubicBezTo>
                      <a:pt x="195" y="552"/>
                      <a:pt x="195" y="552"/>
                      <a:pt x="195" y="552"/>
                    </a:cubicBezTo>
                    <a:cubicBezTo>
                      <a:pt x="61" y="496"/>
                      <a:pt x="61" y="496"/>
                      <a:pt x="61" y="496"/>
                    </a:cubicBezTo>
                    <a:cubicBezTo>
                      <a:pt x="40" y="487"/>
                      <a:pt x="15" y="493"/>
                      <a:pt x="0" y="511"/>
                    </a:cubicBezTo>
                    <a:cubicBezTo>
                      <a:pt x="195" y="607"/>
                      <a:pt x="195" y="607"/>
                      <a:pt x="195" y="607"/>
                    </a:cubicBezTo>
                    <a:cubicBezTo>
                      <a:pt x="195" y="749"/>
                      <a:pt x="195" y="749"/>
                      <a:pt x="195" y="749"/>
                    </a:cubicBezTo>
                    <a:cubicBezTo>
                      <a:pt x="979" y="749"/>
                      <a:pt x="979" y="749"/>
                      <a:pt x="979" y="749"/>
                    </a:cubicBezTo>
                    <a:cubicBezTo>
                      <a:pt x="979" y="437"/>
                      <a:pt x="979" y="437"/>
                      <a:pt x="979" y="437"/>
                    </a:cubicBezTo>
                    <a:cubicBezTo>
                      <a:pt x="979" y="393"/>
                      <a:pt x="979" y="393"/>
                      <a:pt x="979" y="393"/>
                    </a:cubicBezTo>
                    <a:cubicBezTo>
                      <a:pt x="979" y="305"/>
                      <a:pt x="979" y="305"/>
                      <a:pt x="979" y="305"/>
                    </a:cubicBezTo>
                    <a:cubicBezTo>
                      <a:pt x="979" y="297"/>
                      <a:pt x="979" y="297"/>
                      <a:pt x="979" y="297"/>
                    </a:cubicBezTo>
                    <a:cubicBezTo>
                      <a:pt x="979" y="197"/>
                      <a:pt x="979" y="197"/>
                      <a:pt x="979" y="197"/>
                    </a:cubicBezTo>
                    <a:cubicBezTo>
                      <a:pt x="979" y="180"/>
                      <a:pt x="964" y="165"/>
                      <a:pt x="947" y="16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85845">
                  <a:lnSpc>
                    <a:spcPct val="130000"/>
                  </a:lnSpc>
                </a:pPr>
                <a:endParaRPr lang="en-US" spc="-200" baseline="-25000">
                  <a:solidFill>
                    <a:srgbClr val="676767"/>
                  </a:solidFill>
                </a:endParaRPr>
              </a:p>
            </p:txBody>
          </p:sp>
        </p:grpSp>
      </p:grpSp>
      <p:grpSp>
        <p:nvGrpSpPr>
          <p:cNvPr id="25" name="Group 24"/>
          <p:cNvGrpSpPr/>
          <p:nvPr/>
        </p:nvGrpSpPr>
        <p:grpSpPr>
          <a:xfrm>
            <a:off x="6447740" y="1967692"/>
            <a:ext cx="319445" cy="319446"/>
            <a:chOff x="6447740" y="1967692"/>
            <a:chExt cx="319445" cy="319446"/>
          </a:xfrm>
        </p:grpSpPr>
        <p:sp>
          <p:nvSpPr>
            <p:cNvPr id="152" name="Oval 151"/>
            <p:cNvSpPr/>
            <p:nvPr/>
          </p:nvSpPr>
          <p:spPr>
            <a:xfrm>
              <a:off x="6447740" y="1967692"/>
              <a:ext cx="319445" cy="319446"/>
            </a:xfrm>
            <a:prstGeom prst="ellipse">
              <a:avLst/>
            </a:prstGeom>
            <a:gradFill>
              <a:gsLst>
                <a:gs pos="0">
                  <a:srgbClr val="215A9C"/>
                </a:gs>
                <a:gs pos="100000">
                  <a:schemeClr val="tx2"/>
                </a:gs>
              </a:gsLst>
            </a:gradFill>
            <a:ln w="25400">
              <a:solidFill>
                <a:srgbClr val="E2E2E2"/>
              </a:solidFill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8" tIns="45714" rIns="91428" bIns="45714" rtlCol="0" anchor="ctr"/>
            <a:lstStyle/>
            <a:p>
              <a:pPr algn="ctr" defTabSz="457127"/>
              <a:endParaRPr lang="en-US" dirty="0"/>
            </a:p>
          </p:txBody>
        </p:sp>
        <p:grpSp>
          <p:nvGrpSpPr>
            <p:cNvPr id="153" name="Group 152"/>
            <p:cNvGrpSpPr/>
            <p:nvPr/>
          </p:nvGrpSpPr>
          <p:grpSpPr>
            <a:xfrm>
              <a:off x="6547643" y="2013824"/>
              <a:ext cx="119640" cy="227181"/>
              <a:chOff x="7403532" y="2771741"/>
              <a:chExt cx="402938" cy="765130"/>
            </a:xfrm>
            <a:solidFill>
              <a:schemeClr val="bg1"/>
            </a:solidFill>
            <a:effectLst/>
          </p:grpSpPr>
          <p:sp>
            <p:nvSpPr>
              <p:cNvPr id="154" name="Freeform 18"/>
              <p:cNvSpPr>
                <a:spLocks/>
              </p:cNvSpPr>
              <p:nvPr/>
            </p:nvSpPr>
            <p:spPr bwMode="auto">
              <a:xfrm>
                <a:off x="7791379" y="3092621"/>
                <a:ext cx="15091" cy="62440"/>
              </a:xfrm>
              <a:custGeom>
                <a:avLst/>
                <a:gdLst>
                  <a:gd name="T0" fmla="*/ 0 w 34"/>
                  <a:gd name="T1" fmla="*/ 0 h 140"/>
                  <a:gd name="T2" fmla="*/ 5 w 34"/>
                  <a:gd name="T3" fmla="*/ 140 h 140"/>
                  <a:gd name="T4" fmla="*/ 34 w 34"/>
                  <a:gd name="T5" fmla="*/ 140 h 140"/>
                  <a:gd name="T6" fmla="*/ 34 w 34"/>
                  <a:gd name="T7" fmla="*/ 0 h 140"/>
                  <a:gd name="T8" fmla="*/ 0 w 34"/>
                  <a:gd name="T9" fmla="*/ 0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140">
                    <a:moveTo>
                      <a:pt x="0" y="0"/>
                    </a:moveTo>
                    <a:cubicBezTo>
                      <a:pt x="4" y="48"/>
                      <a:pt x="5" y="96"/>
                      <a:pt x="5" y="140"/>
                    </a:cubicBezTo>
                    <a:cubicBezTo>
                      <a:pt x="34" y="140"/>
                      <a:pt x="34" y="140"/>
                      <a:pt x="34" y="140"/>
                    </a:cubicBezTo>
                    <a:cubicBezTo>
                      <a:pt x="34" y="0"/>
                      <a:pt x="34" y="0"/>
                      <a:pt x="3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ffectLst>
                <a:outerShdw blurRad="63500" algn="ctr" rotWithShape="0">
                  <a:prstClr val="black">
                    <a:alpha val="20000"/>
                  </a:prstClr>
                </a:outerShdw>
              </a:effectLst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85845">
                  <a:lnSpc>
                    <a:spcPct val="130000"/>
                  </a:lnSpc>
                </a:pPr>
                <a:endParaRPr lang="en-US" spc="-200" baseline="-25000">
                  <a:solidFill>
                    <a:srgbClr val="676767"/>
                  </a:solidFill>
                </a:endParaRPr>
              </a:p>
            </p:txBody>
          </p:sp>
          <p:sp>
            <p:nvSpPr>
              <p:cNvPr id="155" name="Freeform 19"/>
              <p:cNvSpPr>
                <a:spLocks/>
              </p:cNvSpPr>
              <p:nvPr/>
            </p:nvSpPr>
            <p:spPr bwMode="auto">
              <a:xfrm>
                <a:off x="7470877" y="2771741"/>
                <a:ext cx="252780" cy="164496"/>
              </a:xfrm>
              <a:custGeom>
                <a:avLst/>
                <a:gdLst>
                  <a:gd name="T0" fmla="*/ 567 w 567"/>
                  <a:gd name="T1" fmla="*/ 368 h 369"/>
                  <a:gd name="T2" fmla="*/ 519 w 567"/>
                  <a:gd name="T3" fmla="*/ 41 h 369"/>
                  <a:gd name="T4" fmla="*/ 479 w 567"/>
                  <a:gd name="T5" fmla="*/ 0 h 369"/>
                  <a:gd name="T6" fmla="*/ 87 w 567"/>
                  <a:gd name="T7" fmla="*/ 0 h 369"/>
                  <a:gd name="T8" fmla="*/ 47 w 567"/>
                  <a:gd name="T9" fmla="*/ 40 h 369"/>
                  <a:gd name="T10" fmla="*/ 0 w 567"/>
                  <a:gd name="T11" fmla="*/ 369 h 369"/>
                  <a:gd name="T12" fmla="*/ 17 w 567"/>
                  <a:gd name="T13" fmla="*/ 368 h 369"/>
                  <a:gd name="T14" fmla="*/ 567 w 567"/>
                  <a:gd name="T15" fmla="*/ 368 h 3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67" h="369">
                    <a:moveTo>
                      <a:pt x="567" y="368"/>
                    </a:moveTo>
                    <a:cubicBezTo>
                      <a:pt x="519" y="41"/>
                      <a:pt x="519" y="41"/>
                      <a:pt x="519" y="41"/>
                    </a:cubicBezTo>
                    <a:cubicBezTo>
                      <a:pt x="519" y="18"/>
                      <a:pt x="501" y="0"/>
                      <a:pt x="479" y="0"/>
                    </a:cubicBezTo>
                    <a:cubicBezTo>
                      <a:pt x="87" y="0"/>
                      <a:pt x="87" y="0"/>
                      <a:pt x="87" y="0"/>
                    </a:cubicBezTo>
                    <a:cubicBezTo>
                      <a:pt x="65" y="0"/>
                      <a:pt x="47" y="18"/>
                      <a:pt x="47" y="40"/>
                    </a:cubicBezTo>
                    <a:cubicBezTo>
                      <a:pt x="0" y="369"/>
                      <a:pt x="0" y="369"/>
                      <a:pt x="0" y="369"/>
                    </a:cubicBezTo>
                    <a:cubicBezTo>
                      <a:pt x="5" y="368"/>
                      <a:pt x="11" y="368"/>
                      <a:pt x="17" y="368"/>
                    </a:cubicBezTo>
                    <a:lnTo>
                      <a:pt x="567" y="368"/>
                    </a:lnTo>
                    <a:close/>
                  </a:path>
                </a:pathLst>
              </a:custGeom>
              <a:grpFill/>
              <a:ln>
                <a:noFill/>
              </a:ln>
              <a:effectLst>
                <a:outerShdw blurRad="63500" algn="ctr" rotWithShape="0">
                  <a:prstClr val="black">
                    <a:alpha val="20000"/>
                  </a:prstClr>
                </a:outerShdw>
              </a:effectLst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85845">
                  <a:lnSpc>
                    <a:spcPct val="130000"/>
                  </a:lnSpc>
                </a:pPr>
                <a:endParaRPr lang="en-US" spc="-200" baseline="-25000">
                  <a:solidFill>
                    <a:srgbClr val="676767"/>
                  </a:solidFill>
                </a:endParaRPr>
              </a:p>
            </p:txBody>
          </p:sp>
          <p:sp>
            <p:nvSpPr>
              <p:cNvPr id="156" name="Freeform 20"/>
              <p:cNvSpPr>
                <a:spLocks/>
              </p:cNvSpPr>
              <p:nvPr/>
            </p:nvSpPr>
            <p:spPr bwMode="auto">
              <a:xfrm>
                <a:off x="7470499" y="3372187"/>
                <a:ext cx="253534" cy="164684"/>
              </a:xfrm>
              <a:custGeom>
                <a:avLst/>
                <a:gdLst>
                  <a:gd name="T0" fmla="*/ 0 w 569"/>
                  <a:gd name="T1" fmla="*/ 1 h 369"/>
                  <a:gd name="T2" fmla="*/ 48 w 569"/>
                  <a:gd name="T3" fmla="*/ 328 h 369"/>
                  <a:gd name="T4" fmla="*/ 88 w 569"/>
                  <a:gd name="T5" fmla="*/ 369 h 369"/>
                  <a:gd name="T6" fmla="*/ 480 w 569"/>
                  <a:gd name="T7" fmla="*/ 369 h 369"/>
                  <a:gd name="T8" fmla="*/ 520 w 569"/>
                  <a:gd name="T9" fmla="*/ 329 h 369"/>
                  <a:gd name="T10" fmla="*/ 569 w 569"/>
                  <a:gd name="T11" fmla="*/ 0 h 369"/>
                  <a:gd name="T12" fmla="*/ 550 w 569"/>
                  <a:gd name="T13" fmla="*/ 1 h 369"/>
                  <a:gd name="T14" fmla="*/ 0 w 569"/>
                  <a:gd name="T15" fmla="*/ 1 h 3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69" h="369">
                    <a:moveTo>
                      <a:pt x="0" y="1"/>
                    </a:moveTo>
                    <a:cubicBezTo>
                      <a:pt x="48" y="328"/>
                      <a:pt x="48" y="328"/>
                      <a:pt x="48" y="328"/>
                    </a:cubicBezTo>
                    <a:cubicBezTo>
                      <a:pt x="48" y="351"/>
                      <a:pt x="66" y="369"/>
                      <a:pt x="88" y="369"/>
                    </a:cubicBezTo>
                    <a:cubicBezTo>
                      <a:pt x="480" y="369"/>
                      <a:pt x="480" y="369"/>
                      <a:pt x="480" y="369"/>
                    </a:cubicBezTo>
                    <a:cubicBezTo>
                      <a:pt x="502" y="369"/>
                      <a:pt x="520" y="351"/>
                      <a:pt x="520" y="329"/>
                    </a:cubicBezTo>
                    <a:cubicBezTo>
                      <a:pt x="569" y="0"/>
                      <a:pt x="569" y="0"/>
                      <a:pt x="569" y="0"/>
                    </a:cubicBezTo>
                    <a:cubicBezTo>
                      <a:pt x="563" y="1"/>
                      <a:pt x="557" y="1"/>
                      <a:pt x="550" y="1"/>
                    </a:cubicBezTo>
                    <a:lnTo>
                      <a:pt x="0" y="1"/>
                    </a:lnTo>
                    <a:close/>
                  </a:path>
                </a:pathLst>
              </a:custGeom>
              <a:grpFill/>
              <a:ln>
                <a:noFill/>
              </a:ln>
              <a:effectLst>
                <a:outerShdw blurRad="63500" algn="ctr" rotWithShape="0">
                  <a:prstClr val="black">
                    <a:alpha val="20000"/>
                  </a:prstClr>
                </a:outerShdw>
              </a:effectLst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85845">
                  <a:lnSpc>
                    <a:spcPct val="130000"/>
                  </a:lnSpc>
                </a:pPr>
                <a:endParaRPr lang="en-US" spc="-200" baseline="-25000">
                  <a:solidFill>
                    <a:srgbClr val="676767"/>
                  </a:solidFill>
                </a:endParaRPr>
              </a:p>
            </p:txBody>
          </p:sp>
          <p:sp>
            <p:nvSpPr>
              <p:cNvPr id="157" name="Freeform 21"/>
              <p:cNvSpPr>
                <a:spLocks noEditPoints="1"/>
              </p:cNvSpPr>
              <p:nvPr/>
            </p:nvSpPr>
            <p:spPr bwMode="auto">
              <a:xfrm>
                <a:off x="7403532" y="2944725"/>
                <a:ext cx="381245" cy="419162"/>
              </a:xfrm>
              <a:custGeom>
                <a:avLst/>
                <a:gdLst>
                  <a:gd name="T0" fmla="*/ 811 w 855"/>
                  <a:gd name="T1" fmla="*/ 70 h 940"/>
                  <a:gd name="T2" fmla="*/ 720 w 855"/>
                  <a:gd name="T3" fmla="*/ 0 h 940"/>
                  <a:gd name="T4" fmla="*/ 148 w 855"/>
                  <a:gd name="T5" fmla="*/ 2 h 940"/>
                  <a:gd name="T6" fmla="*/ 104 w 855"/>
                  <a:gd name="T7" fmla="*/ 153 h 940"/>
                  <a:gd name="T8" fmla="*/ 148 w 855"/>
                  <a:gd name="T9" fmla="*/ 2 h 940"/>
                  <a:gd name="T10" fmla="*/ 53 w 855"/>
                  <a:gd name="T11" fmla="*/ 847 h 940"/>
                  <a:gd name="T12" fmla="*/ 144 w 855"/>
                  <a:gd name="T13" fmla="*/ 940 h 940"/>
                  <a:gd name="T14" fmla="*/ 129 w 855"/>
                  <a:gd name="T15" fmla="*/ 824 h 940"/>
                  <a:gd name="T16" fmla="*/ 129 w 855"/>
                  <a:gd name="T17" fmla="*/ 821 h 940"/>
                  <a:gd name="T18" fmla="*/ 129 w 855"/>
                  <a:gd name="T19" fmla="*/ 824 h 940"/>
                  <a:gd name="T20" fmla="*/ 700 w 855"/>
                  <a:gd name="T21" fmla="*/ 940 h 940"/>
                  <a:gd name="T22" fmla="*/ 722 w 855"/>
                  <a:gd name="T23" fmla="*/ 938 h 940"/>
                  <a:gd name="T24" fmla="*/ 855 w 855"/>
                  <a:gd name="T25" fmla="*/ 472 h 940"/>
                  <a:gd name="T26" fmla="*/ 816 w 855"/>
                  <a:gd name="T27" fmla="*/ 94 h 940"/>
                  <a:gd name="T28" fmla="*/ 120 w 855"/>
                  <a:gd name="T29" fmla="*/ 775 h 940"/>
                  <a:gd name="T30" fmla="*/ 127 w 855"/>
                  <a:gd name="T31" fmla="*/ 800 h 940"/>
                  <a:gd name="T32" fmla="*/ 738 w 855"/>
                  <a:gd name="T33" fmla="*/ 120 h 940"/>
                  <a:gd name="T34" fmla="*/ 739 w 855"/>
                  <a:gd name="T35" fmla="*/ 121 h 940"/>
                  <a:gd name="T36" fmla="*/ 131 w 855"/>
                  <a:gd name="T37" fmla="*/ 121 h 940"/>
                  <a:gd name="T38" fmla="*/ 161 w 855"/>
                  <a:gd name="T39" fmla="*/ 104 h 940"/>
                  <a:gd name="T40" fmla="*/ 166 w 855"/>
                  <a:gd name="T41" fmla="*/ 120 h 940"/>
                  <a:gd name="T42" fmla="*/ 736 w 855"/>
                  <a:gd name="T43" fmla="*/ 154 h 940"/>
                  <a:gd name="T44" fmla="*/ 702 w 855"/>
                  <a:gd name="T45" fmla="*/ 808 h 940"/>
                  <a:gd name="T46" fmla="*/ 132 w 855"/>
                  <a:gd name="T47" fmla="*/ 774 h 940"/>
                  <a:gd name="T48" fmla="*/ 739 w 855"/>
                  <a:gd name="T49" fmla="*/ 824 h 940"/>
                  <a:gd name="T50" fmla="*/ 743 w 855"/>
                  <a:gd name="T51" fmla="*/ 801 h 940"/>
                  <a:gd name="T52" fmla="*/ 739 w 855"/>
                  <a:gd name="T53" fmla="*/ 824 h 940"/>
                  <a:gd name="T54" fmla="*/ 739 w 855"/>
                  <a:gd name="T55" fmla="*/ 824 h 940"/>
                  <a:gd name="T56" fmla="*/ 744 w 855"/>
                  <a:gd name="T57" fmla="*/ 800 h 940"/>
                  <a:gd name="T58" fmla="*/ 745 w 855"/>
                  <a:gd name="T59" fmla="*/ 798 h 940"/>
                  <a:gd name="T60" fmla="*/ 740 w 855"/>
                  <a:gd name="T61" fmla="*/ 123 h 940"/>
                  <a:gd name="T62" fmla="*/ 739 w 855"/>
                  <a:gd name="T63" fmla="*/ 122 h 940"/>
                  <a:gd name="T64" fmla="*/ 131 w 855"/>
                  <a:gd name="T65" fmla="*/ 123 h 940"/>
                  <a:gd name="T66" fmla="*/ 131 w 855"/>
                  <a:gd name="T67" fmla="*/ 122 h 940"/>
                  <a:gd name="T68" fmla="*/ 127 w 855"/>
                  <a:gd name="T69" fmla="*/ 801 h 940"/>
                  <a:gd name="T70" fmla="*/ 127 w 855"/>
                  <a:gd name="T71" fmla="*/ 802 h 940"/>
                  <a:gd name="T72" fmla="*/ 764 w 855"/>
                  <a:gd name="T73" fmla="*/ 775 h 940"/>
                  <a:gd name="T74" fmla="*/ 761 w 855"/>
                  <a:gd name="T75" fmla="*/ 793 h 940"/>
                  <a:gd name="T76" fmla="*/ 761 w 855"/>
                  <a:gd name="T77" fmla="*/ 793 h 940"/>
                  <a:gd name="T78" fmla="*/ 763 w 855"/>
                  <a:gd name="T79" fmla="*/ 783 h 9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55" h="940">
                    <a:moveTo>
                      <a:pt x="816" y="94"/>
                    </a:moveTo>
                    <a:cubicBezTo>
                      <a:pt x="811" y="70"/>
                      <a:pt x="811" y="70"/>
                      <a:pt x="811" y="70"/>
                    </a:cubicBezTo>
                    <a:cubicBezTo>
                      <a:pt x="803" y="32"/>
                      <a:pt x="763" y="0"/>
                      <a:pt x="724" y="0"/>
                    </a:cubicBezTo>
                    <a:cubicBezTo>
                      <a:pt x="720" y="0"/>
                      <a:pt x="720" y="0"/>
                      <a:pt x="720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1" y="0"/>
                      <a:pt x="154" y="1"/>
                      <a:pt x="148" y="2"/>
                    </a:cubicBezTo>
                    <a:cubicBezTo>
                      <a:pt x="133" y="101"/>
                      <a:pt x="133" y="101"/>
                      <a:pt x="133" y="101"/>
                    </a:cubicBezTo>
                    <a:cubicBezTo>
                      <a:pt x="116" y="112"/>
                      <a:pt x="104" y="131"/>
                      <a:pt x="104" y="153"/>
                    </a:cubicBezTo>
                    <a:cubicBezTo>
                      <a:pt x="104" y="131"/>
                      <a:pt x="116" y="112"/>
                      <a:pt x="133" y="101"/>
                    </a:cubicBezTo>
                    <a:cubicBezTo>
                      <a:pt x="148" y="2"/>
                      <a:pt x="148" y="2"/>
                      <a:pt x="148" y="2"/>
                    </a:cubicBezTo>
                    <a:cubicBezTo>
                      <a:pt x="103" y="11"/>
                      <a:pt x="62" y="48"/>
                      <a:pt x="53" y="93"/>
                    </a:cubicBezTo>
                    <a:cubicBezTo>
                      <a:pt x="0" y="343"/>
                      <a:pt x="0" y="597"/>
                      <a:pt x="53" y="847"/>
                    </a:cubicBezTo>
                    <a:cubicBezTo>
                      <a:pt x="58" y="870"/>
                      <a:pt x="58" y="870"/>
                      <a:pt x="58" y="870"/>
                    </a:cubicBezTo>
                    <a:cubicBezTo>
                      <a:pt x="66" y="908"/>
                      <a:pt x="106" y="940"/>
                      <a:pt x="144" y="940"/>
                    </a:cubicBezTo>
                    <a:cubicBezTo>
                      <a:pt x="147" y="940"/>
                      <a:pt x="147" y="940"/>
                      <a:pt x="147" y="940"/>
                    </a:cubicBezTo>
                    <a:cubicBezTo>
                      <a:pt x="129" y="824"/>
                      <a:pt x="129" y="824"/>
                      <a:pt x="129" y="824"/>
                    </a:cubicBezTo>
                    <a:cubicBezTo>
                      <a:pt x="129" y="824"/>
                      <a:pt x="129" y="824"/>
                      <a:pt x="129" y="824"/>
                    </a:cubicBezTo>
                    <a:cubicBezTo>
                      <a:pt x="129" y="821"/>
                      <a:pt x="129" y="821"/>
                      <a:pt x="129" y="821"/>
                    </a:cubicBezTo>
                    <a:cubicBezTo>
                      <a:pt x="129" y="824"/>
                      <a:pt x="129" y="824"/>
                      <a:pt x="129" y="824"/>
                    </a:cubicBezTo>
                    <a:cubicBezTo>
                      <a:pt x="129" y="824"/>
                      <a:pt x="129" y="824"/>
                      <a:pt x="129" y="824"/>
                    </a:cubicBezTo>
                    <a:cubicBezTo>
                      <a:pt x="147" y="940"/>
                      <a:pt x="147" y="940"/>
                      <a:pt x="147" y="940"/>
                    </a:cubicBezTo>
                    <a:cubicBezTo>
                      <a:pt x="700" y="940"/>
                      <a:pt x="700" y="940"/>
                      <a:pt x="700" y="940"/>
                    </a:cubicBezTo>
                    <a:cubicBezTo>
                      <a:pt x="708" y="940"/>
                      <a:pt x="715" y="939"/>
                      <a:pt x="722" y="938"/>
                    </a:cubicBezTo>
                    <a:cubicBezTo>
                      <a:pt x="722" y="938"/>
                      <a:pt x="722" y="938"/>
                      <a:pt x="722" y="938"/>
                    </a:cubicBezTo>
                    <a:cubicBezTo>
                      <a:pt x="767" y="928"/>
                      <a:pt x="806" y="890"/>
                      <a:pt x="816" y="846"/>
                    </a:cubicBezTo>
                    <a:cubicBezTo>
                      <a:pt x="842" y="722"/>
                      <a:pt x="855" y="600"/>
                      <a:pt x="855" y="472"/>
                    </a:cubicBezTo>
                    <a:cubicBezTo>
                      <a:pt x="855" y="428"/>
                      <a:pt x="853" y="380"/>
                      <a:pt x="850" y="332"/>
                    </a:cubicBezTo>
                    <a:cubicBezTo>
                      <a:pt x="844" y="252"/>
                      <a:pt x="832" y="173"/>
                      <a:pt x="816" y="94"/>
                    </a:cubicBezTo>
                    <a:close/>
                    <a:moveTo>
                      <a:pt x="127" y="800"/>
                    </a:moveTo>
                    <a:cubicBezTo>
                      <a:pt x="122" y="793"/>
                      <a:pt x="120" y="784"/>
                      <a:pt x="120" y="775"/>
                    </a:cubicBezTo>
                    <a:cubicBezTo>
                      <a:pt x="120" y="783"/>
                      <a:pt x="122" y="791"/>
                      <a:pt x="126" y="798"/>
                    </a:cubicBezTo>
                    <a:lnTo>
                      <a:pt x="127" y="800"/>
                    </a:lnTo>
                    <a:close/>
                    <a:moveTo>
                      <a:pt x="739" y="121"/>
                    </a:moveTo>
                    <a:cubicBezTo>
                      <a:pt x="739" y="120"/>
                      <a:pt x="738" y="120"/>
                      <a:pt x="738" y="120"/>
                    </a:cubicBezTo>
                    <a:cubicBezTo>
                      <a:pt x="736" y="104"/>
                      <a:pt x="736" y="104"/>
                      <a:pt x="736" y="104"/>
                    </a:cubicBezTo>
                    <a:lnTo>
                      <a:pt x="739" y="121"/>
                    </a:lnTo>
                    <a:close/>
                    <a:moveTo>
                      <a:pt x="161" y="104"/>
                    </a:moveTo>
                    <a:cubicBezTo>
                      <a:pt x="149" y="106"/>
                      <a:pt x="139" y="112"/>
                      <a:pt x="131" y="121"/>
                    </a:cubicBezTo>
                    <a:cubicBezTo>
                      <a:pt x="131" y="120"/>
                      <a:pt x="131" y="120"/>
                      <a:pt x="131" y="120"/>
                    </a:cubicBezTo>
                    <a:cubicBezTo>
                      <a:pt x="139" y="112"/>
                      <a:pt x="149" y="106"/>
                      <a:pt x="161" y="104"/>
                    </a:cubicBezTo>
                    <a:close/>
                    <a:moveTo>
                      <a:pt x="132" y="154"/>
                    </a:moveTo>
                    <a:cubicBezTo>
                      <a:pt x="132" y="135"/>
                      <a:pt x="147" y="120"/>
                      <a:pt x="166" y="120"/>
                    </a:cubicBezTo>
                    <a:cubicBezTo>
                      <a:pt x="702" y="120"/>
                      <a:pt x="702" y="120"/>
                      <a:pt x="702" y="120"/>
                    </a:cubicBezTo>
                    <a:cubicBezTo>
                      <a:pt x="721" y="120"/>
                      <a:pt x="736" y="135"/>
                      <a:pt x="736" y="154"/>
                    </a:cubicBezTo>
                    <a:cubicBezTo>
                      <a:pt x="736" y="774"/>
                      <a:pt x="736" y="774"/>
                      <a:pt x="736" y="774"/>
                    </a:cubicBezTo>
                    <a:cubicBezTo>
                      <a:pt x="736" y="793"/>
                      <a:pt x="721" y="808"/>
                      <a:pt x="702" y="808"/>
                    </a:cubicBezTo>
                    <a:cubicBezTo>
                      <a:pt x="166" y="808"/>
                      <a:pt x="166" y="808"/>
                      <a:pt x="166" y="808"/>
                    </a:cubicBezTo>
                    <a:cubicBezTo>
                      <a:pt x="147" y="808"/>
                      <a:pt x="132" y="793"/>
                      <a:pt x="132" y="774"/>
                    </a:cubicBezTo>
                    <a:lnTo>
                      <a:pt x="132" y="154"/>
                    </a:lnTo>
                    <a:close/>
                    <a:moveTo>
                      <a:pt x="739" y="824"/>
                    </a:moveTo>
                    <a:cubicBezTo>
                      <a:pt x="742" y="803"/>
                      <a:pt x="742" y="803"/>
                      <a:pt x="742" y="803"/>
                    </a:cubicBezTo>
                    <a:cubicBezTo>
                      <a:pt x="743" y="802"/>
                      <a:pt x="743" y="802"/>
                      <a:pt x="743" y="801"/>
                    </a:cubicBezTo>
                    <a:cubicBezTo>
                      <a:pt x="740" y="824"/>
                      <a:pt x="740" y="824"/>
                      <a:pt x="740" y="824"/>
                    </a:cubicBezTo>
                    <a:cubicBezTo>
                      <a:pt x="739" y="824"/>
                      <a:pt x="739" y="824"/>
                      <a:pt x="739" y="824"/>
                    </a:cubicBezTo>
                    <a:cubicBezTo>
                      <a:pt x="739" y="824"/>
                      <a:pt x="739" y="824"/>
                      <a:pt x="739" y="824"/>
                    </a:cubicBezTo>
                    <a:cubicBezTo>
                      <a:pt x="739" y="824"/>
                      <a:pt x="739" y="824"/>
                      <a:pt x="739" y="824"/>
                    </a:cubicBezTo>
                    <a:close/>
                    <a:moveTo>
                      <a:pt x="745" y="798"/>
                    </a:moveTo>
                    <a:cubicBezTo>
                      <a:pt x="744" y="799"/>
                      <a:pt x="744" y="799"/>
                      <a:pt x="744" y="800"/>
                    </a:cubicBezTo>
                    <a:cubicBezTo>
                      <a:pt x="752" y="750"/>
                      <a:pt x="752" y="750"/>
                      <a:pt x="752" y="750"/>
                    </a:cubicBezTo>
                    <a:lnTo>
                      <a:pt x="745" y="798"/>
                    </a:lnTo>
                    <a:close/>
                    <a:moveTo>
                      <a:pt x="739" y="122"/>
                    </a:moveTo>
                    <a:cubicBezTo>
                      <a:pt x="739" y="122"/>
                      <a:pt x="740" y="123"/>
                      <a:pt x="740" y="123"/>
                    </a:cubicBezTo>
                    <a:cubicBezTo>
                      <a:pt x="752" y="205"/>
                      <a:pt x="752" y="205"/>
                      <a:pt x="752" y="205"/>
                    </a:cubicBezTo>
                    <a:lnTo>
                      <a:pt x="739" y="122"/>
                    </a:lnTo>
                    <a:close/>
                    <a:moveTo>
                      <a:pt x="131" y="122"/>
                    </a:moveTo>
                    <a:cubicBezTo>
                      <a:pt x="131" y="123"/>
                      <a:pt x="131" y="123"/>
                      <a:pt x="131" y="123"/>
                    </a:cubicBezTo>
                    <a:cubicBezTo>
                      <a:pt x="124" y="131"/>
                      <a:pt x="120" y="142"/>
                      <a:pt x="120" y="153"/>
                    </a:cubicBezTo>
                    <a:cubicBezTo>
                      <a:pt x="120" y="141"/>
                      <a:pt x="124" y="130"/>
                      <a:pt x="131" y="122"/>
                    </a:cubicBezTo>
                    <a:close/>
                    <a:moveTo>
                      <a:pt x="127" y="802"/>
                    </a:moveTo>
                    <a:cubicBezTo>
                      <a:pt x="127" y="801"/>
                      <a:pt x="127" y="801"/>
                      <a:pt x="127" y="801"/>
                    </a:cubicBezTo>
                    <a:cubicBezTo>
                      <a:pt x="135" y="814"/>
                      <a:pt x="149" y="824"/>
                      <a:pt x="166" y="824"/>
                    </a:cubicBezTo>
                    <a:cubicBezTo>
                      <a:pt x="150" y="824"/>
                      <a:pt x="135" y="815"/>
                      <a:pt x="127" y="802"/>
                    </a:cubicBezTo>
                    <a:close/>
                    <a:moveTo>
                      <a:pt x="764" y="782"/>
                    </a:moveTo>
                    <a:cubicBezTo>
                      <a:pt x="764" y="779"/>
                      <a:pt x="764" y="777"/>
                      <a:pt x="764" y="775"/>
                    </a:cubicBezTo>
                    <a:cubicBezTo>
                      <a:pt x="764" y="777"/>
                      <a:pt x="764" y="779"/>
                      <a:pt x="764" y="782"/>
                    </a:cubicBezTo>
                    <a:close/>
                    <a:moveTo>
                      <a:pt x="761" y="793"/>
                    </a:moveTo>
                    <a:cubicBezTo>
                      <a:pt x="761" y="793"/>
                      <a:pt x="761" y="793"/>
                      <a:pt x="761" y="793"/>
                    </a:cubicBezTo>
                    <a:cubicBezTo>
                      <a:pt x="761" y="793"/>
                      <a:pt x="761" y="793"/>
                      <a:pt x="761" y="793"/>
                    </a:cubicBezTo>
                    <a:close/>
                    <a:moveTo>
                      <a:pt x="763" y="788"/>
                    </a:moveTo>
                    <a:cubicBezTo>
                      <a:pt x="763" y="786"/>
                      <a:pt x="763" y="784"/>
                      <a:pt x="763" y="783"/>
                    </a:cubicBezTo>
                    <a:cubicBezTo>
                      <a:pt x="763" y="784"/>
                      <a:pt x="763" y="786"/>
                      <a:pt x="763" y="788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>
                <a:outerShdw blurRad="63500" algn="ctr" rotWithShape="0">
                  <a:prstClr val="black">
                    <a:alpha val="20000"/>
                  </a:prstClr>
                </a:outerShdw>
              </a:effectLst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defTabSz="685845">
                  <a:lnSpc>
                    <a:spcPct val="130000"/>
                  </a:lnSpc>
                </a:pPr>
                <a:endParaRPr lang="en-US" spc="-200" baseline="-25000">
                  <a:solidFill>
                    <a:srgbClr val="676767"/>
                  </a:solidFill>
                </a:endParaRPr>
              </a:p>
            </p:txBody>
          </p:sp>
        </p:grpSp>
      </p:grpSp>
      <p:grpSp>
        <p:nvGrpSpPr>
          <p:cNvPr id="14" name="Group 13"/>
          <p:cNvGrpSpPr/>
          <p:nvPr/>
        </p:nvGrpSpPr>
        <p:grpSpPr>
          <a:xfrm>
            <a:off x="5937874" y="1347300"/>
            <a:ext cx="293252" cy="293252"/>
            <a:chOff x="5937874" y="1347300"/>
            <a:chExt cx="293252" cy="293252"/>
          </a:xfrm>
        </p:grpSpPr>
        <p:sp>
          <p:nvSpPr>
            <p:cNvPr id="177" name="Oval 176"/>
            <p:cNvSpPr/>
            <p:nvPr/>
          </p:nvSpPr>
          <p:spPr>
            <a:xfrm>
              <a:off x="5937874" y="1347300"/>
              <a:ext cx="293252" cy="293252"/>
            </a:xfrm>
            <a:prstGeom prst="ellipse">
              <a:avLst/>
            </a:prstGeom>
            <a:gradFill>
              <a:gsLst>
                <a:gs pos="0">
                  <a:srgbClr val="215A9C"/>
                </a:gs>
                <a:gs pos="100000">
                  <a:schemeClr val="tx2"/>
                </a:gs>
              </a:gsLst>
            </a:gradFill>
            <a:ln w="25400">
              <a:solidFill>
                <a:srgbClr val="E2E2E2"/>
              </a:solidFill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8" tIns="45714" rIns="91428" bIns="45714" rtlCol="0" anchor="ctr"/>
            <a:lstStyle/>
            <a:p>
              <a:pPr algn="ctr" defTabSz="457127"/>
              <a:endParaRPr lang="en-US" dirty="0"/>
            </a:p>
          </p:txBody>
        </p:sp>
        <p:pic>
          <p:nvPicPr>
            <p:cNvPr id="178" name="Picture 177" descr="tablet_sillouette.psd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33485" y="1420457"/>
              <a:ext cx="93365" cy="155083"/>
            </a:xfrm>
            <a:prstGeom prst="rect">
              <a:avLst/>
            </a:prstGeom>
            <a:effectLst/>
          </p:spPr>
        </p:pic>
      </p:grpSp>
      <p:grpSp>
        <p:nvGrpSpPr>
          <p:cNvPr id="13" name="Group 12"/>
          <p:cNvGrpSpPr/>
          <p:nvPr/>
        </p:nvGrpSpPr>
        <p:grpSpPr>
          <a:xfrm>
            <a:off x="6615492" y="1240718"/>
            <a:ext cx="538869" cy="538869"/>
            <a:chOff x="6615492" y="1240718"/>
            <a:chExt cx="538869" cy="538869"/>
          </a:xfrm>
        </p:grpSpPr>
        <p:sp>
          <p:nvSpPr>
            <p:cNvPr id="180" name="Oval 179"/>
            <p:cNvSpPr/>
            <p:nvPr/>
          </p:nvSpPr>
          <p:spPr>
            <a:xfrm>
              <a:off x="6615492" y="1240718"/>
              <a:ext cx="538869" cy="538869"/>
            </a:xfrm>
            <a:prstGeom prst="ellipse">
              <a:avLst/>
            </a:prstGeom>
            <a:gradFill>
              <a:gsLst>
                <a:gs pos="0">
                  <a:srgbClr val="215A9C"/>
                </a:gs>
                <a:gs pos="100000">
                  <a:schemeClr val="tx2"/>
                </a:gs>
              </a:gsLst>
            </a:gradFill>
            <a:ln w="25400">
              <a:solidFill>
                <a:srgbClr val="E2E2E2"/>
              </a:solidFill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lIns="91428" tIns="45714" rIns="91428" bIns="45714" rtlCol="0" anchor="ctr"/>
            <a:lstStyle/>
            <a:p>
              <a:pPr algn="ctr" defTabSz="457127"/>
              <a:endParaRPr lang="en-US" dirty="0"/>
            </a:p>
          </p:txBody>
        </p:sp>
        <p:pic>
          <p:nvPicPr>
            <p:cNvPr id="182" name="Picture 181" descr="forklift.psd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82904" y="1296909"/>
              <a:ext cx="386959" cy="386959"/>
            </a:xfrm>
            <a:prstGeom prst="rect">
              <a:avLst/>
            </a:prstGeom>
            <a:effectLst/>
          </p:spPr>
        </p:pic>
      </p:grpSp>
      <p:cxnSp>
        <p:nvCxnSpPr>
          <p:cNvPr id="254" name="Straight Connector 253"/>
          <p:cNvCxnSpPr>
            <a:stCxn id="188" idx="5"/>
          </p:cNvCxnSpPr>
          <p:nvPr/>
        </p:nvCxnSpPr>
        <p:spPr>
          <a:xfrm>
            <a:off x="3413613" y="2152503"/>
            <a:ext cx="278874" cy="141964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/>
          <p:cNvCxnSpPr/>
          <p:nvPr/>
        </p:nvCxnSpPr>
        <p:spPr>
          <a:xfrm>
            <a:off x="4159878" y="1506007"/>
            <a:ext cx="91508" cy="203716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/>
          <p:cNvCxnSpPr>
            <a:stCxn id="188" idx="7"/>
            <a:endCxn id="184" idx="3"/>
          </p:cNvCxnSpPr>
          <p:nvPr/>
        </p:nvCxnSpPr>
        <p:spPr>
          <a:xfrm flipV="1">
            <a:off x="3413613" y="1450784"/>
            <a:ext cx="543428" cy="431874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3" name="Straight Connector 262"/>
          <p:cNvCxnSpPr>
            <a:endCxn id="242" idx="6"/>
          </p:cNvCxnSpPr>
          <p:nvPr/>
        </p:nvCxnSpPr>
        <p:spPr>
          <a:xfrm flipH="1">
            <a:off x="3442911" y="1373220"/>
            <a:ext cx="458908" cy="68374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5" name="Straight Connector 264"/>
          <p:cNvCxnSpPr>
            <a:stCxn id="188" idx="0"/>
            <a:endCxn id="242" idx="4"/>
          </p:cNvCxnSpPr>
          <p:nvPr/>
        </p:nvCxnSpPr>
        <p:spPr>
          <a:xfrm flipH="1" flipV="1">
            <a:off x="3254368" y="1630137"/>
            <a:ext cx="24322" cy="196634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7" name="Straight Connector 266"/>
          <p:cNvCxnSpPr/>
          <p:nvPr/>
        </p:nvCxnSpPr>
        <p:spPr>
          <a:xfrm flipV="1">
            <a:off x="3473548" y="2677405"/>
            <a:ext cx="218939" cy="45300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9" name="Straight Connector 268"/>
          <p:cNvCxnSpPr>
            <a:endCxn id="188" idx="4"/>
          </p:cNvCxnSpPr>
          <p:nvPr/>
        </p:nvCxnSpPr>
        <p:spPr>
          <a:xfrm flipV="1">
            <a:off x="3255625" y="2208390"/>
            <a:ext cx="23065" cy="290816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1" name="Straight Connector 270"/>
          <p:cNvCxnSpPr>
            <a:stCxn id="221" idx="1"/>
          </p:cNvCxnSpPr>
          <p:nvPr/>
        </p:nvCxnSpPr>
        <p:spPr>
          <a:xfrm flipH="1" flipV="1">
            <a:off x="2832277" y="2282914"/>
            <a:ext cx="193108" cy="293185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4" name="Straight Connector 273"/>
          <p:cNvCxnSpPr>
            <a:stCxn id="200" idx="3"/>
          </p:cNvCxnSpPr>
          <p:nvPr/>
        </p:nvCxnSpPr>
        <p:spPr>
          <a:xfrm flipH="1">
            <a:off x="2370820" y="2271763"/>
            <a:ext cx="273188" cy="191817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6" name="Straight Connector 275"/>
          <p:cNvCxnSpPr/>
          <p:nvPr/>
        </p:nvCxnSpPr>
        <p:spPr>
          <a:xfrm flipH="1">
            <a:off x="2882458" y="2090064"/>
            <a:ext cx="233301" cy="43611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8" name="Straight Connector 277"/>
          <p:cNvCxnSpPr/>
          <p:nvPr/>
        </p:nvCxnSpPr>
        <p:spPr>
          <a:xfrm flipV="1">
            <a:off x="2844080" y="1602792"/>
            <a:ext cx="310421" cy="453819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Connector 279"/>
          <p:cNvCxnSpPr>
            <a:stCxn id="200" idx="2"/>
          </p:cNvCxnSpPr>
          <p:nvPr/>
        </p:nvCxnSpPr>
        <p:spPr>
          <a:xfrm flipH="1" flipV="1">
            <a:off x="2119825" y="2090318"/>
            <a:ext cx="480572" cy="76160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2" name="Straight Connector 281"/>
          <p:cNvCxnSpPr>
            <a:stCxn id="242" idx="2"/>
          </p:cNvCxnSpPr>
          <p:nvPr/>
        </p:nvCxnSpPr>
        <p:spPr>
          <a:xfrm flipH="1">
            <a:off x="2686872" y="1441594"/>
            <a:ext cx="378952" cy="17430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4" name="Straight Connector 283"/>
          <p:cNvCxnSpPr/>
          <p:nvPr/>
        </p:nvCxnSpPr>
        <p:spPr>
          <a:xfrm flipH="1">
            <a:off x="4918910" y="1486202"/>
            <a:ext cx="182061" cy="282342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6" name="Straight Connector 285"/>
          <p:cNvCxnSpPr>
            <a:stCxn id="184" idx="6"/>
          </p:cNvCxnSpPr>
          <p:nvPr/>
        </p:nvCxnSpPr>
        <p:spPr>
          <a:xfrm flipV="1">
            <a:off x="4278905" y="1276593"/>
            <a:ext cx="657654" cy="40871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8" name="Straight Connector 287"/>
          <p:cNvCxnSpPr>
            <a:stCxn id="185" idx="6"/>
            <a:endCxn id="177" idx="1"/>
          </p:cNvCxnSpPr>
          <p:nvPr/>
        </p:nvCxnSpPr>
        <p:spPr>
          <a:xfrm>
            <a:off x="5479024" y="1237563"/>
            <a:ext cx="501796" cy="152683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Connector 289"/>
          <p:cNvCxnSpPr/>
          <p:nvPr/>
        </p:nvCxnSpPr>
        <p:spPr>
          <a:xfrm flipV="1">
            <a:off x="5495066" y="2176859"/>
            <a:ext cx="275217" cy="133131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2" name="Straight Connector 291"/>
          <p:cNvCxnSpPr>
            <a:stCxn id="185" idx="5"/>
          </p:cNvCxnSpPr>
          <p:nvPr/>
        </p:nvCxnSpPr>
        <p:spPr>
          <a:xfrm>
            <a:off x="5400398" y="1427381"/>
            <a:ext cx="417539" cy="492325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4" name="Straight Connector 293"/>
          <p:cNvCxnSpPr>
            <a:stCxn id="164" idx="2"/>
          </p:cNvCxnSpPr>
          <p:nvPr/>
        </p:nvCxnSpPr>
        <p:spPr>
          <a:xfrm flipH="1" flipV="1">
            <a:off x="5524500" y="2819700"/>
            <a:ext cx="145954" cy="41237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6" name="Straight Connector 295"/>
          <p:cNvCxnSpPr>
            <a:stCxn id="164" idx="0"/>
            <a:endCxn id="246" idx="4"/>
          </p:cNvCxnSpPr>
          <p:nvPr/>
        </p:nvCxnSpPr>
        <p:spPr>
          <a:xfrm flipV="1">
            <a:off x="5858998" y="2261563"/>
            <a:ext cx="81548" cy="410830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0" name="Straight Connector 299"/>
          <p:cNvCxnSpPr>
            <a:endCxn id="177" idx="4"/>
          </p:cNvCxnSpPr>
          <p:nvPr/>
        </p:nvCxnSpPr>
        <p:spPr>
          <a:xfrm flipV="1">
            <a:off x="5999367" y="1640552"/>
            <a:ext cx="85133" cy="264444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2" name="Straight Connector 301"/>
          <p:cNvCxnSpPr>
            <a:stCxn id="164" idx="7"/>
            <a:endCxn id="152" idx="3"/>
          </p:cNvCxnSpPr>
          <p:nvPr/>
        </p:nvCxnSpPr>
        <p:spPr>
          <a:xfrm flipV="1">
            <a:off x="5992318" y="2240356"/>
            <a:ext cx="502204" cy="487260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4" name="Straight Connector 303"/>
          <p:cNvCxnSpPr>
            <a:stCxn id="246" idx="6"/>
            <a:endCxn id="152" idx="2"/>
          </p:cNvCxnSpPr>
          <p:nvPr/>
        </p:nvCxnSpPr>
        <p:spPr>
          <a:xfrm>
            <a:off x="6126850" y="2075259"/>
            <a:ext cx="320890" cy="52156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6" name="Straight Connector 305"/>
          <p:cNvCxnSpPr>
            <a:stCxn id="152" idx="1"/>
            <a:endCxn id="177" idx="5"/>
          </p:cNvCxnSpPr>
          <p:nvPr/>
        </p:nvCxnSpPr>
        <p:spPr>
          <a:xfrm flipH="1" flipV="1">
            <a:off x="6188180" y="1597606"/>
            <a:ext cx="306342" cy="416868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8" name="Straight Connector 307"/>
          <p:cNvCxnSpPr/>
          <p:nvPr/>
        </p:nvCxnSpPr>
        <p:spPr>
          <a:xfrm flipV="1">
            <a:off x="6668168" y="1759284"/>
            <a:ext cx="101601" cy="224976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1" name="Straight Connector 310"/>
          <p:cNvCxnSpPr/>
          <p:nvPr/>
        </p:nvCxnSpPr>
        <p:spPr>
          <a:xfrm>
            <a:off x="6660936" y="2276443"/>
            <a:ext cx="97471" cy="359809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5" name="Straight Connector 314"/>
          <p:cNvCxnSpPr>
            <a:stCxn id="152" idx="6"/>
            <a:endCxn id="149" idx="2"/>
          </p:cNvCxnSpPr>
          <p:nvPr/>
        </p:nvCxnSpPr>
        <p:spPr>
          <a:xfrm flipV="1">
            <a:off x="6767185" y="2082712"/>
            <a:ext cx="553061" cy="44703"/>
          </a:xfrm>
          <a:prstGeom prst="line">
            <a:avLst/>
          </a:prstGeom>
          <a:ln w="15875" cmpd="sng">
            <a:solidFill>
              <a:srgbClr val="E1E1E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8" name="TextBox 317"/>
          <p:cNvSpPr txBox="1"/>
          <p:nvPr/>
        </p:nvSpPr>
        <p:spPr>
          <a:xfrm>
            <a:off x="2212423" y="3271073"/>
            <a:ext cx="413296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800" b="1" dirty="0" smtClean="0">
                <a:solidFill>
                  <a:schemeClr val="tx1">
                    <a:lumMod val="75000"/>
                  </a:schemeClr>
                </a:solidFill>
              </a:rPr>
              <a:t>10X</a:t>
            </a:r>
            <a:endParaRPr lang="en-US" sz="8800" b="1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319" name="TextBox 318"/>
          <p:cNvSpPr txBox="1"/>
          <p:nvPr/>
        </p:nvSpPr>
        <p:spPr>
          <a:xfrm>
            <a:off x="4366292" y="3856986"/>
            <a:ext cx="3172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Growth in mobile data traffic between 2014-2019</a:t>
            </a:r>
            <a:endParaRPr lang="en-US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sz="2800" dirty="0">
                <a:solidFill>
                  <a:schemeClr val="tx1">
                    <a:lumMod val="75000"/>
                  </a:schemeClr>
                </a:solidFill>
              </a:rPr>
              <a:t>Wireless: Primary Access in a Digital </a:t>
            </a:r>
            <a:r>
              <a:rPr lang="en-US" sz="2800" dirty="0" smtClean="0">
                <a:solidFill>
                  <a:schemeClr val="tx1">
                    <a:lumMod val="75000"/>
                  </a:schemeClr>
                </a:solidFill>
              </a:rPr>
              <a:t>World</a:t>
            </a:r>
            <a:endParaRPr lang="en-US" sz="28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" y="890039"/>
            <a:ext cx="9144000" cy="373530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grpSp>
        <p:nvGrpSpPr>
          <p:cNvPr id="37" name="Group 36"/>
          <p:cNvGrpSpPr/>
          <p:nvPr/>
        </p:nvGrpSpPr>
        <p:grpSpPr>
          <a:xfrm>
            <a:off x="0" y="1056959"/>
            <a:ext cx="9144001" cy="3198314"/>
            <a:chOff x="-1" y="1056959"/>
            <a:chExt cx="9144001" cy="3198314"/>
          </a:xfrm>
        </p:grpSpPr>
        <p:grpSp>
          <p:nvGrpSpPr>
            <p:cNvPr id="21" name="Group 20"/>
            <p:cNvGrpSpPr/>
            <p:nvPr/>
          </p:nvGrpSpPr>
          <p:grpSpPr>
            <a:xfrm>
              <a:off x="-1" y="1056959"/>
              <a:ext cx="3048002" cy="2973759"/>
              <a:chOff x="-1" y="1056959"/>
              <a:chExt cx="3048002" cy="2973759"/>
            </a:xfrm>
          </p:grpSpPr>
          <p:sp>
            <p:nvSpPr>
              <p:cNvPr id="226" name="TextBox 225"/>
              <p:cNvSpPr txBox="1"/>
              <p:nvPr/>
            </p:nvSpPr>
            <p:spPr>
              <a:xfrm>
                <a:off x="1" y="3507498"/>
                <a:ext cx="304800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smtClean="0">
                    <a:solidFill>
                      <a:schemeClr val="tx1">
                        <a:lumMod val="75000"/>
                      </a:schemeClr>
                    </a:solidFill>
                  </a:rPr>
                  <a:t>Move wireless past connecting devices to driving business</a:t>
                </a:r>
                <a:endParaRPr lang="en-US" sz="1400" dirty="0">
                  <a:solidFill>
                    <a:schemeClr val="tx1">
                      <a:lumMod val="75000"/>
                    </a:schemeClr>
                  </a:solidFill>
                </a:endParaRPr>
              </a:p>
            </p:txBody>
          </p:sp>
          <p:pic>
            <p:nvPicPr>
              <p:cNvPr id="231" name="Picture 230" descr="AM29373.jpg"/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2030"/>
              <a:stretch/>
            </p:blipFill>
            <p:spPr>
              <a:xfrm>
                <a:off x="-1" y="1903663"/>
                <a:ext cx="3002614" cy="1563470"/>
              </a:xfrm>
              <a:prstGeom prst="rect">
                <a:avLst/>
              </a:prstGeom>
            </p:spPr>
          </p:pic>
          <p:sp>
            <p:nvSpPr>
              <p:cNvPr id="247" name="TextBox 246"/>
              <p:cNvSpPr txBox="1"/>
              <p:nvPr/>
            </p:nvSpPr>
            <p:spPr>
              <a:xfrm>
                <a:off x="122914" y="1056959"/>
                <a:ext cx="2817354" cy="707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000" dirty="0" smtClean="0">
                    <a:solidFill>
                      <a:schemeClr val="tx2"/>
                    </a:solidFill>
                  </a:rPr>
                  <a:t>Has to Do More </a:t>
                </a:r>
              </a:p>
              <a:p>
                <a:pPr algn="ctr"/>
                <a:r>
                  <a:rPr lang="en-US" sz="2000" dirty="0" smtClean="0">
                    <a:solidFill>
                      <a:schemeClr val="tx2"/>
                    </a:solidFill>
                  </a:rPr>
                  <a:t>than Ever</a:t>
                </a:r>
                <a:endParaRPr lang="en-US" sz="2000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33" name="Group 32"/>
            <p:cNvGrpSpPr/>
            <p:nvPr/>
          </p:nvGrpSpPr>
          <p:grpSpPr>
            <a:xfrm>
              <a:off x="3070692" y="1070916"/>
              <a:ext cx="3002614" cy="3184357"/>
              <a:chOff x="3070692" y="1070916"/>
              <a:chExt cx="3002614" cy="3184357"/>
            </a:xfrm>
          </p:grpSpPr>
          <p:sp>
            <p:nvSpPr>
              <p:cNvPr id="229" name="TextBox 228"/>
              <p:cNvSpPr txBox="1"/>
              <p:nvPr/>
            </p:nvSpPr>
            <p:spPr>
              <a:xfrm>
                <a:off x="3413761" y="3516609"/>
                <a:ext cx="2316478" cy="7386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smtClean="0">
                    <a:solidFill>
                      <a:schemeClr val="tx1">
                        <a:lumMod val="75000"/>
                      </a:schemeClr>
                    </a:solidFill>
                  </a:rPr>
                  <a:t>Quickly adapt to known and unforeseen changes in the environment</a:t>
                </a:r>
                <a:endParaRPr lang="en-US" sz="1400" dirty="0">
                  <a:solidFill>
                    <a:schemeClr val="tx1">
                      <a:lumMod val="75000"/>
                    </a:schemeClr>
                  </a:solidFill>
                </a:endParaRPr>
              </a:p>
            </p:txBody>
          </p:sp>
          <p:pic>
            <p:nvPicPr>
              <p:cNvPr id="232" name="Picture 231" descr="AS91907.jpg"/>
              <p:cNvPicPr>
                <a:picLocks noChangeAspect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770"/>
              <a:stretch/>
            </p:blipFill>
            <p:spPr>
              <a:xfrm>
                <a:off x="3070692" y="1901952"/>
                <a:ext cx="3002614" cy="1565182"/>
              </a:xfrm>
              <a:prstGeom prst="rect">
                <a:avLst/>
              </a:prstGeom>
            </p:spPr>
          </p:pic>
          <p:sp>
            <p:nvSpPr>
              <p:cNvPr id="251" name="TextBox 250"/>
              <p:cNvSpPr txBox="1"/>
              <p:nvPr/>
            </p:nvSpPr>
            <p:spPr>
              <a:xfrm>
                <a:off x="3169087" y="1070916"/>
                <a:ext cx="2817354" cy="707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000" dirty="0" smtClean="0">
                    <a:solidFill>
                      <a:schemeClr val="tx2"/>
                    </a:solidFill>
                  </a:rPr>
                  <a:t>Keep Pace with Ever Changing Demands</a:t>
                </a:r>
                <a:endParaRPr lang="en-US" sz="2000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35" name="Group 34"/>
            <p:cNvGrpSpPr/>
            <p:nvPr/>
          </p:nvGrpSpPr>
          <p:grpSpPr>
            <a:xfrm>
              <a:off x="6141386" y="1056959"/>
              <a:ext cx="3002614" cy="2982870"/>
              <a:chOff x="6141386" y="1056959"/>
              <a:chExt cx="3002614" cy="2982870"/>
            </a:xfrm>
          </p:grpSpPr>
          <p:sp>
            <p:nvSpPr>
              <p:cNvPr id="230" name="TextBox 229"/>
              <p:cNvSpPr txBox="1"/>
              <p:nvPr/>
            </p:nvSpPr>
            <p:spPr>
              <a:xfrm>
                <a:off x="6226630" y="3516609"/>
                <a:ext cx="278674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smtClean="0">
                    <a:solidFill>
                      <a:schemeClr val="tx1">
                        <a:lumMod val="75000"/>
                      </a:schemeClr>
                    </a:solidFill>
                  </a:rPr>
                  <a:t>Protect the business as the threat landscape expands </a:t>
                </a:r>
                <a:endParaRPr lang="en-US" sz="1400" dirty="0">
                  <a:solidFill>
                    <a:schemeClr val="tx1">
                      <a:lumMod val="75000"/>
                    </a:schemeClr>
                  </a:solidFill>
                </a:endParaRPr>
              </a:p>
            </p:txBody>
          </p:sp>
          <p:pic>
            <p:nvPicPr>
              <p:cNvPr id="245" name="Picture 244" descr="AS43675(1).jpg"/>
              <p:cNvPicPr>
                <a:picLocks noChangeAspect="1"/>
              </p:cNvPicPr>
              <p:nvPr/>
            </p:nvPicPr>
            <p:blipFill rotWithShape="1"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141386" y="1901953"/>
                <a:ext cx="3002614" cy="1565182"/>
              </a:xfrm>
              <a:prstGeom prst="rect">
                <a:avLst/>
              </a:prstGeom>
            </p:spPr>
          </p:pic>
          <p:sp>
            <p:nvSpPr>
              <p:cNvPr id="252" name="TextBox 251"/>
              <p:cNvSpPr txBox="1"/>
              <p:nvPr/>
            </p:nvSpPr>
            <p:spPr>
              <a:xfrm>
                <a:off x="6226628" y="1056959"/>
                <a:ext cx="2794546" cy="707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000" dirty="0" smtClean="0">
                    <a:solidFill>
                      <a:schemeClr val="tx2"/>
                    </a:solidFill>
                  </a:rPr>
                  <a:t>The First </a:t>
                </a:r>
                <a:r>
                  <a:rPr lang="en-US" sz="2000" smtClean="0">
                    <a:solidFill>
                      <a:schemeClr val="tx2"/>
                    </a:solidFill>
                  </a:rPr>
                  <a:t>Line </a:t>
                </a:r>
                <a:br>
                  <a:rPr lang="en-US" sz="2000" smtClean="0">
                    <a:solidFill>
                      <a:schemeClr val="tx2"/>
                    </a:solidFill>
                  </a:rPr>
                </a:br>
                <a:r>
                  <a:rPr lang="en-US" sz="2000" smtClean="0">
                    <a:solidFill>
                      <a:schemeClr val="tx2"/>
                    </a:solidFill>
                  </a:rPr>
                  <a:t>of </a:t>
                </a:r>
                <a:r>
                  <a:rPr lang="en-US" sz="2000" dirty="0" smtClean="0">
                    <a:solidFill>
                      <a:schemeClr val="tx2"/>
                    </a:solidFill>
                  </a:rPr>
                  <a:t>Defense</a:t>
                </a:r>
                <a:endParaRPr lang="en-US" sz="2000" dirty="0">
                  <a:solidFill>
                    <a:schemeClr val="tx2"/>
                  </a:solidFill>
                </a:endParaRPr>
              </a:p>
            </p:txBody>
          </p:sp>
        </p:grpSp>
      </p:grpSp>
      <p:grpSp>
        <p:nvGrpSpPr>
          <p:cNvPr id="38" name="Group 37"/>
          <p:cNvGrpSpPr/>
          <p:nvPr/>
        </p:nvGrpSpPr>
        <p:grpSpPr>
          <a:xfrm>
            <a:off x="0" y="4301067"/>
            <a:ext cx="9144000" cy="842433"/>
            <a:chOff x="112" y="4301067"/>
            <a:chExt cx="9144000" cy="842433"/>
          </a:xfrm>
        </p:grpSpPr>
        <p:sp>
          <p:nvSpPr>
            <p:cNvPr id="253" name="Rectangle 252"/>
            <p:cNvSpPr/>
            <p:nvPr/>
          </p:nvSpPr>
          <p:spPr>
            <a:xfrm>
              <a:off x="112" y="4301067"/>
              <a:ext cx="9144000" cy="842433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2400000" scaled="0"/>
            </a:gradFill>
            <a:ln>
              <a:noFill/>
            </a:ln>
            <a:effectLst/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5" name="Rectangle 254"/>
            <p:cNvSpPr/>
            <p:nvPr/>
          </p:nvSpPr>
          <p:spPr>
            <a:xfrm>
              <a:off x="2310223" y="4502736"/>
              <a:ext cx="452359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dirty="0" smtClean="0">
                  <a:solidFill>
                    <a:srgbClr val="FFFFFF"/>
                  </a:solidFill>
                </a:rPr>
                <a:t>IT Must Reimagine the Network </a:t>
              </a:r>
              <a:endParaRPr lang="en-US" sz="24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7689993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Rectangle 175"/>
          <p:cNvSpPr/>
          <p:nvPr/>
        </p:nvSpPr>
        <p:spPr>
          <a:xfrm flipH="1">
            <a:off x="0" y="889937"/>
            <a:ext cx="4114799" cy="3913837"/>
          </a:xfrm>
          <a:prstGeom prst="rect">
            <a:avLst/>
          </a:prstGeom>
          <a:gradFill>
            <a:gsLst>
              <a:gs pos="93000">
                <a:schemeClr val="bg2">
                  <a:lumMod val="95000"/>
                </a:schemeClr>
              </a:gs>
              <a:gs pos="18000">
                <a:schemeClr val="bg1"/>
              </a:gs>
            </a:gsLst>
            <a:lin ang="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770" name="Rectangle 769"/>
          <p:cNvSpPr/>
          <p:nvPr/>
        </p:nvSpPr>
        <p:spPr>
          <a:xfrm>
            <a:off x="5029200" y="889937"/>
            <a:ext cx="4114799" cy="3913837"/>
          </a:xfrm>
          <a:prstGeom prst="rect">
            <a:avLst/>
          </a:prstGeom>
          <a:gradFill>
            <a:gsLst>
              <a:gs pos="93000">
                <a:schemeClr val="bg2">
                  <a:lumMod val="95000"/>
                </a:schemeClr>
              </a:gs>
              <a:gs pos="18000">
                <a:schemeClr val="bg1"/>
              </a:gs>
            </a:gsLst>
            <a:lin ang="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756" name="Rectangle 755"/>
          <p:cNvSpPr/>
          <p:nvPr/>
        </p:nvSpPr>
        <p:spPr>
          <a:xfrm>
            <a:off x="5949388" y="2162759"/>
            <a:ext cx="3194612" cy="1922477"/>
          </a:xfrm>
          <a:prstGeom prst="rect">
            <a:avLst/>
          </a:prstGeom>
          <a:gradFill>
            <a:gsLst>
              <a:gs pos="100000">
                <a:schemeClr val="tx1">
                  <a:lumMod val="60000"/>
                  <a:lumOff val="40000"/>
                </a:schemeClr>
              </a:gs>
              <a:gs pos="8000">
                <a:schemeClr val="bg1"/>
              </a:gs>
            </a:gsLst>
            <a:lin ang="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73" name="Rectangle 772"/>
          <p:cNvSpPr/>
          <p:nvPr/>
        </p:nvSpPr>
        <p:spPr>
          <a:xfrm>
            <a:off x="7691122" y="2162759"/>
            <a:ext cx="701038" cy="192247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771" name="Freeform 18"/>
          <p:cNvSpPr>
            <a:spLocks noEditPoints="1"/>
          </p:cNvSpPr>
          <p:nvPr/>
        </p:nvSpPr>
        <p:spPr bwMode="auto">
          <a:xfrm flipH="1">
            <a:off x="7681784" y="936747"/>
            <a:ext cx="708344" cy="538298"/>
          </a:xfrm>
          <a:custGeom>
            <a:avLst/>
            <a:gdLst>
              <a:gd name="T0" fmla="*/ 129 w 259"/>
              <a:gd name="T1" fmla="*/ 104 h 196"/>
              <a:gd name="T2" fmla="*/ 75 w 259"/>
              <a:gd name="T3" fmla="*/ 128 h 196"/>
              <a:gd name="T4" fmla="*/ 76 w 259"/>
              <a:gd name="T5" fmla="*/ 150 h 196"/>
              <a:gd name="T6" fmla="*/ 98 w 259"/>
              <a:gd name="T7" fmla="*/ 149 h 196"/>
              <a:gd name="T8" fmla="*/ 129 w 259"/>
              <a:gd name="T9" fmla="*/ 136 h 196"/>
              <a:gd name="T10" fmla="*/ 160 w 259"/>
              <a:gd name="T11" fmla="*/ 149 h 196"/>
              <a:gd name="T12" fmla="*/ 172 w 259"/>
              <a:gd name="T13" fmla="*/ 155 h 196"/>
              <a:gd name="T14" fmla="*/ 182 w 259"/>
              <a:gd name="T15" fmla="*/ 151 h 196"/>
              <a:gd name="T16" fmla="*/ 183 w 259"/>
              <a:gd name="T17" fmla="*/ 128 h 196"/>
              <a:gd name="T18" fmla="*/ 129 w 259"/>
              <a:gd name="T19" fmla="*/ 104 h 196"/>
              <a:gd name="T20" fmla="*/ 252 w 259"/>
              <a:gd name="T21" fmla="*/ 49 h 196"/>
              <a:gd name="T22" fmla="*/ 129 w 259"/>
              <a:gd name="T23" fmla="*/ 0 h 196"/>
              <a:gd name="T24" fmla="*/ 6 w 259"/>
              <a:gd name="T25" fmla="*/ 49 h 196"/>
              <a:gd name="T26" fmla="*/ 6 w 259"/>
              <a:gd name="T27" fmla="*/ 71 h 196"/>
              <a:gd name="T28" fmla="*/ 28 w 259"/>
              <a:gd name="T29" fmla="*/ 72 h 196"/>
              <a:gd name="T30" fmla="*/ 129 w 259"/>
              <a:gd name="T31" fmla="*/ 31 h 196"/>
              <a:gd name="T32" fmla="*/ 230 w 259"/>
              <a:gd name="T33" fmla="*/ 72 h 196"/>
              <a:gd name="T34" fmla="*/ 241 w 259"/>
              <a:gd name="T35" fmla="*/ 76 h 196"/>
              <a:gd name="T36" fmla="*/ 253 w 259"/>
              <a:gd name="T37" fmla="*/ 71 h 196"/>
              <a:gd name="T38" fmla="*/ 252 w 259"/>
              <a:gd name="T39" fmla="*/ 49 h 196"/>
              <a:gd name="T40" fmla="*/ 129 w 259"/>
              <a:gd name="T41" fmla="*/ 52 h 196"/>
              <a:gd name="T42" fmla="*/ 41 w 259"/>
              <a:gd name="T43" fmla="*/ 88 h 196"/>
              <a:gd name="T44" fmla="*/ 41 w 259"/>
              <a:gd name="T45" fmla="*/ 111 h 196"/>
              <a:gd name="T46" fmla="*/ 63 w 259"/>
              <a:gd name="T47" fmla="*/ 111 h 196"/>
              <a:gd name="T48" fmla="*/ 129 w 259"/>
              <a:gd name="T49" fmla="*/ 83 h 196"/>
              <a:gd name="T50" fmla="*/ 196 w 259"/>
              <a:gd name="T51" fmla="*/ 111 h 196"/>
              <a:gd name="T52" fmla="*/ 207 w 259"/>
              <a:gd name="T53" fmla="*/ 115 h 196"/>
              <a:gd name="T54" fmla="*/ 218 w 259"/>
              <a:gd name="T55" fmla="*/ 111 h 196"/>
              <a:gd name="T56" fmla="*/ 218 w 259"/>
              <a:gd name="T57" fmla="*/ 89 h 196"/>
              <a:gd name="T58" fmla="*/ 129 w 259"/>
              <a:gd name="T59" fmla="*/ 52 h 196"/>
              <a:gd name="T60" fmla="*/ 129 w 259"/>
              <a:gd name="T61" fmla="*/ 159 h 196"/>
              <a:gd name="T62" fmla="*/ 110 w 259"/>
              <a:gd name="T63" fmla="*/ 178 h 196"/>
              <a:gd name="T64" fmla="*/ 129 w 259"/>
              <a:gd name="T65" fmla="*/ 196 h 196"/>
              <a:gd name="T66" fmla="*/ 148 w 259"/>
              <a:gd name="T67" fmla="*/ 178 h 196"/>
              <a:gd name="T68" fmla="*/ 129 w 259"/>
              <a:gd name="T69" fmla="*/ 159 h 1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59" h="196">
                <a:moveTo>
                  <a:pt x="129" y="104"/>
                </a:moveTo>
                <a:cubicBezTo>
                  <a:pt x="108" y="104"/>
                  <a:pt x="89" y="113"/>
                  <a:pt x="75" y="128"/>
                </a:cubicBezTo>
                <a:cubicBezTo>
                  <a:pt x="69" y="135"/>
                  <a:pt x="70" y="145"/>
                  <a:pt x="76" y="150"/>
                </a:cubicBezTo>
                <a:cubicBezTo>
                  <a:pt x="82" y="156"/>
                  <a:pt x="92" y="156"/>
                  <a:pt x="98" y="149"/>
                </a:cubicBezTo>
                <a:cubicBezTo>
                  <a:pt x="106" y="141"/>
                  <a:pt x="117" y="136"/>
                  <a:pt x="129" y="136"/>
                </a:cubicBezTo>
                <a:cubicBezTo>
                  <a:pt x="141" y="136"/>
                  <a:pt x="152" y="141"/>
                  <a:pt x="160" y="149"/>
                </a:cubicBezTo>
                <a:cubicBezTo>
                  <a:pt x="163" y="153"/>
                  <a:pt x="168" y="155"/>
                  <a:pt x="172" y="155"/>
                </a:cubicBezTo>
                <a:cubicBezTo>
                  <a:pt x="176" y="155"/>
                  <a:pt x="179" y="153"/>
                  <a:pt x="182" y="151"/>
                </a:cubicBezTo>
                <a:cubicBezTo>
                  <a:pt x="189" y="145"/>
                  <a:pt x="189" y="135"/>
                  <a:pt x="183" y="128"/>
                </a:cubicBezTo>
                <a:cubicBezTo>
                  <a:pt x="170" y="113"/>
                  <a:pt x="150" y="104"/>
                  <a:pt x="129" y="104"/>
                </a:cubicBezTo>
                <a:close/>
                <a:moveTo>
                  <a:pt x="252" y="49"/>
                </a:moveTo>
                <a:cubicBezTo>
                  <a:pt x="219" y="17"/>
                  <a:pt x="175" y="0"/>
                  <a:pt x="129" y="0"/>
                </a:cubicBezTo>
                <a:cubicBezTo>
                  <a:pt x="83" y="0"/>
                  <a:pt x="39" y="17"/>
                  <a:pt x="6" y="49"/>
                </a:cubicBezTo>
                <a:cubicBezTo>
                  <a:pt x="0" y="55"/>
                  <a:pt x="0" y="65"/>
                  <a:pt x="6" y="71"/>
                </a:cubicBezTo>
                <a:cubicBezTo>
                  <a:pt x="12" y="78"/>
                  <a:pt x="22" y="78"/>
                  <a:pt x="28" y="72"/>
                </a:cubicBezTo>
                <a:cubicBezTo>
                  <a:pt x="55" y="46"/>
                  <a:pt x="91" y="31"/>
                  <a:pt x="129" y="31"/>
                </a:cubicBezTo>
                <a:cubicBezTo>
                  <a:pt x="167" y="31"/>
                  <a:pt x="203" y="46"/>
                  <a:pt x="230" y="72"/>
                </a:cubicBezTo>
                <a:cubicBezTo>
                  <a:pt x="234" y="75"/>
                  <a:pt x="237" y="76"/>
                  <a:pt x="241" y="76"/>
                </a:cubicBezTo>
                <a:cubicBezTo>
                  <a:pt x="245" y="76"/>
                  <a:pt x="250" y="75"/>
                  <a:pt x="253" y="71"/>
                </a:cubicBezTo>
                <a:cubicBezTo>
                  <a:pt x="259" y="65"/>
                  <a:pt x="258" y="55"/>
                  <a:pt x="252" y="49"/>
                </a:cubicBezTo>
                <a:close/>
                <a:moveTo>
                  <a:pt x="129" y="52"/>
                </a:moveTo>
                <a:cubicBezTo>
                  <a:pt x="96" y="52"/>
                  <a:pt x="64" y="65"/>
                  <a:pt x="41" y="88"/>
                </a:cubicBezTo>
                <a:cubicBezTo>
                  <a:pt x="34" y="95"/>
                  <a:pt x="34" y="105"/>
                  <a:pt x="41" y="111"/>
                </a:cubicBezTo>
                <a:cubicBezTo>
                  <a:pt x="47" y="117"/>
                  <a:pt x="57" y="117"/>
                  <a:pt x="63" y="111"/>
                </a:cubicBezTo>
                <a:cubicBezTo>
                  <a:pt x="80" y="93"/>
                  <a:pt x="104" y="83"/>
                  <a:pt x="129" y="83"/>
                </a:cubicBezTo>
                <a:cubicBezTo>
                  <a:pt x="154" y="83"/>
                  <a:pt x="178" y="93"/>
                  <a:pt x="196" y="111"/>
                </a:cubicBezTo>
                <a:cubicBezTo>
                  <a:pt x="199" y="114"/>
                  <a:pt x="203" y="115"/>
                  <a:pt x="207" y="115"/>
                </a:cubicBezTo>
                <a:cubicBezTo>
                  <a:pt x="211" y="115"/>
                  <a:pt x="215" y="114"/>
                  <a:pt x="218" y="111"/>
                </a:cubicBezTo>
                <a:cubicBezTo>
                  <a:pt x="224" y="105"/>
                  <a:pt x="224" y="95"/>
                  <a:pt x="218" y="89"/>
                </a:cubicBezTo>
                <a:cubicBezTo>
                  <a:pt x="194" y="65"/>
                  <a:pt x="163" y="52"/>
                  <a:pt x="129" y="52"/>
                </a:cubicBezTo>
                <a:close/>
                <a:moveTo>
                  <a:pt x="129" y="159"/>
                </a:moveTo>
                <a:cubicBezTo>
                  <a:pt x="119" y="159"/>
                  <a:pt x="110" y="167"/>
                  <a:pt x="110" y="178"/>
                </a:cubicBezTo>
                <a:cubicBezTo>
                  <a:pt x="110" y="188"/>
                  <a:pt x="119" y="196"/>
                  <a:pt x="129" y="196"/>
                </a:cubicBezTo>
                <a:cubicBezTo>
                  <a:pt x="140" y="196"/>
                  <a:pt x="148" y="188"/>
                  <a:pt x="148" y="178"/>
                </a:cubicBezTo>
                <a:cubicBezTo>
                  <a:pt x="148" y="167"/>
                  <a:pt x="140" y="159"/>
                  <a:pt x="129" y="159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  <a:alpha val="26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76767"/>
              </a:solidFill>
              <a:ea typeface="ＭＳ Ｐゴシック" pitchFamily="34" charset="-128"/>
            </a:endParaRPr>
          </a:p>
        </p:txBody>
      </p:sp>
      <p:grpSp>
        <p:nvGrpSpPr>
          <p:cNvPr id="7325" name="Group 7324"/>
          <p:cNvGrpSpPr/>
          <p:nvPr/>
        </p:nvGrpSpPr>
        <p:grpSpPr>
          <a:xfrm>
            <a:off x="2054428" y="1222543"/>
            <a:ext cx="2291339" cy="2909709"/>
            <a:chOff x="2054428" y="1205373"/>
            <a:chExt cx="2291339" cy="2909709"/>
          </a:xfrm>
        </p:grpSpPr>
        <p:sp>
          <p:nvSpPr>
            <p:cNvPr id="7248" name="Freeform 88"/>
            <p:cNvSpPr>
              <a:spLocks/>
            </p:cNvSpPr>
            <p:nvPr/>
          </p:nvSpPr>
          <p:spPr bwMode="auto">
            <a:xfrm rot="5400000">
              <a:off x="2558857" y="3081314"/>
              <a:ext cx="516354" cy="554874"/>
            </a:xfrm>
            <a:custGeom>
              <a:avLst/>
              <a:gdLst>
                <a:gd name="T0" fmla="*/ 19 w 563"/>
                <a:gd name="T1" fmla="*/ 605 h 605"/>
                <a:gd name="T2" fmla="*/ 0 w 563"/>
                <a:gd name="T3" fmla="*/ 583 h 605"/>
                <a:gd name="T4" fmla="*/ 544 w 563"/>
                <a:gd name="T5" fmla="*/ 0 h 605"/>
                <a:gd name="T6" fmla="*/ 563 w 563"/>
                <a:gd name="T7" fmla="*/ 19 h 605"/>
                <a:gd name="T8" fmla="*/ 19 w 563"/>
                <a:gd name="T9" fmla="*/ 605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3" h="605">
                  <a:moveTo>
                    <a:pt x="19" y="605"/>
                  </a:moveTo>
                  <a:lnTo>
                    <a:pt x="0" y="583"/>
                  </a:lnTo>
                  <a:lnTo>
                    <a:pt x="544" y="0"/>
                  </a:lnTo>
                  <a:lnTo>
                    <a:pt x="563" y="19"/>
                  </a:lnTo>
                  <a:lnTo>
                    <a:pt x="19" y="60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251" name="Freeform 91"/>
            <p:cNvSpPr>
              <a:spLocks/>
            </p:cNvSpPr>
            <p:nvPr/>
          </p:nvSpPr>
          <p:spPr bwMode="auto">
            <a:xfrm rot="5400000">
              <a:off x="2274542" y="1475390"/>
              <a:ext cx="359521" cy="383367"/>
            </a:xfrm>
            <a:custGeom>
              <a:avLst/>
              <a:gdLst>
                <a:gd name="T0" fmla="*/ 371 w 392"/>
                <a:gd name="T1" fmla="*/ 418 h 418"/>
                <a:gd name="T2" fmla="*/ 0 w 392"/>
                <a:gd name="T3" fmla="*/ 19 h 418"/>
                <a:gd name="T4" fmla="*/ 21 w 392"/>
                <a:gd name="T5" fmla="*/ 0 h 418"/>
                <a:gd name="T6" fmla="*/ 392 w 392"/>
                <a:gd name="T7" fmla="*/ 399 h 418"/>
                <a:gd name="T8" fmla="*/ 371 w 392"/>
                <a:gd name="T9" fmla="*/ 418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2" h="418">
                  <a:moveTo>
                    <a:pt x="371" y="418"/>
                  </a:moveTo>
                  <a:lnTo>
                    <a:pt x="0" y="19"/>
                  </a:lnTo>
                  <a:lnTo>
                    <a:pt x="21" y="0"/>
                  </a:lnTo>
                  <a:lnTo>
                    <a:pt x="392" y="399"/>
                  </a:lnTo>
                  <a:lnTo>
                    <a:pt x="371" y="41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252" name="Freeform 92"/>
            <p:cNvSpPr>
              <a:spLocks/>
            </p:cNvSpPr>
            <p:nvPr/>
          </p:nvSpPr>
          <p:spPr bwMode="auto">
            <a:xfrm rot="5400000">
              <a:off x="2716606" y="1669826"/>
              <a:ext cx="389787" cy="397125"/>
            </a:xfrm>
            <a:custGeom>
              <a:avLst/>
              <a:gdLst>
                <a:gd name="T0" fmla="*/ 404 w 425"/>
                <a:gd name="T1" fmla="*/ 433 h 433"/>
                <a:gd name="T2" fmla="*/ 0 w 425"/>
                <a:gd name="T3" fmla="*/ 19 h 433"/>
                <a:gd name="T4" fmla="*/ 21 w 425"/>
                <a:gd name="T5" fmla="*/ 0 h 433"/>
                <a:gd name="T6" fmla="*/ 425 w 425"/>
                <a:gd name="T7" fmla="*/ 414 h 433"/>
                <a:gd name="T8" fmla="*/ 404 w 425"/>
                <a:gd name="T9" fmla="*/ 433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5" h="433">
                  <a:moveTo>
                    <a:pt x="404" y="433"/>
                  </a:moveTo>
                  <a:lnTo>
                    <a:pt x="0" y="19"/>
                  </a:lnTo>
                  <a:lnTo>
                    <a:pt x="21" y="0"/>
                  </a:lnTo>
                  <a:lnTo>
                    <a:pt x="425" y="414"/>
                  </a:lnTo>
                  <a:lnTo>
                    <a:pt x="404" y="43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257" name="Freeform 97"/>
            <p:cNvSpPr>
              <a:spLocks/>
            </p:cNvSpPr>
            <p:nvPr/>
          </p:nvSpPr>
          <p:spPr bwMode="auto">
            <a:xfrm rot="5400000">
              <a:off x="2899577" y="3209255"/>
              <a:ext cx="227452" cy="241210"/>
            </a:xfrm>
            <a:custGeom>
              <a:avLst/>
              <a:gdLst>
                <a:gd name="T0" fmla="*/ 226 w 248"/>
                <a:gd name="T1" fmla="*/ 263 h 263"/>
                <a:gd name="T2" fmla="*/ 0 w 248"/>
                <a:gd name="T3" fmla="*/ 19 h 263"/>
                <a:gd name="T4" fmla="*/ 21 w 248"/>
                <a:gd name="T5" fmla="*/ 0 h 263"/>
                <a:gd name="T6" fmla="*/ 248 w 248"/>
                <a:gd name="T7" fmla="*/ 241 h 263"/>
                <a:gd name="T8" fmla="*/ 226 w 248"/>
                <a:gd name="T9" fmla="*/ 263 h 2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263">
                  <a:moveTo>
                    <a:pt x="226" y="263"/>
                  </a:moveTo>
                  <a:lnTo>
                    <a:pt x="0" y="19"/>
                  </a:lnTo>
                  <a:lnTo>
                    <a:pt x="21" y="0"/>
                  </a:lnTo>
                  <a:lnTo>
                    <a:pt x="248" y="241"/>
                  </a:lnTo>
                  <a:lnTo>
                    <a:pt x="226" y="26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258" name="Freeform 98"/>
            <p:cNvSpPr>
              <a:spLocks/>
            </p:cNvSpPr>
            <p:nvPr/>
          </p:nvSpPr>
          <p:spPr bwMode="auto">
            <a:xfrm rot="5400000">
              <a:off x="2757878" y="2285230"/>
              <a:ext cx="227452" cy="238458"/>
            </a:xfrm>
            <a:custGeom>
              <a:avLst/>
              <a:gdLst>
                <a:gd name="T0" fmla="*/ 227 w 248"/>
                <a:gd name="T1" fmla="*/ 260 h 260"/>
                <a:gd name="T2" fmla="*/ 0 w 248"/>
                <a:gd name="T3" fmla="*/ 19 h 260"/>
                <a:gd name="T4" fmla="*/ 21 w 248"/>
                <a:gd name="T5" fmla="*/ 0 h 260"/>
                <a:gd name="T6" fmla="*/ 248 w 248"/>
                <a:gd name="T7" fmla="*/ 241 h 260"/>
                <a:gd name="T8" fmla="*/ 227 w 248"/>
                <a:gd name="T9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260">
                  <a:moveTo>
                    <a:pt x="227" y="260"/>
                  </a:moveTo>
                  <a:lnTo>
                    <a:pt x="0" y="19"/>
                  </a:lnTo>
                  <a:lnTo>
                    <a:pt x="21" y="0"/>
                  </a:lnTo>
                  <a:lnTo>
                    <a:pt x="248" y="241"/>
                  </a:lnTo>
                  <a:lnTo>
                    <a:pt x="227" y="26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260" name="Freeform 100"/>
            <p:cNvSpPr>
              <a:spLocks/>
            </p:cNvSpPr>
            <p:nvPr/>
          </p:nvSpPr>
          <p:spPr bwMode="auto">
            <a:xfrm rot="5400000">
              <a:off x="2557481" y="3754958"/>
              <a:ext cx="224701" cy="238458"/>
            </a:xfrm>
            <a:custGeom>
              <a:avLst/>
              <a:gdLst>
                <a:gd name="T0" fmla="*/ 224 w 245"/>
                <a:gd name="T1" fmla="*/ 260 h 260"/>
                <a:gd name="T2" fmla="*/ 0 w 245"/>
                <a:gd name="T3" fmla="*/ 19 h 260"/>
                <a:gd name="T4" fmla="*/ 19 w 245"/>
                <a:gd name="T5" fmla="*/ 0 h 260"/>
                <a:gd name="T6" fmla="*/ 245 w 245"/>
                <a:gd name="T7" fmla="*/ 241 h 260"/>
                <a:gd name="T8" fmla="*/ 224 w 245"/>
                <a:gd name="T9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260">
                  <a:moveTo>
                    <a:pt x="224" y="260"/>
                  </a:moveTo>
                  <a:lnTo>
                    <a:pt x="0" y="19"/>
                  </a:lnTo>
                  <a:lnTo>
                    <a:pt x="19" y="0"/>
                  </a:lnTo>
                  <a:lnTo>
                    <a:pt x="245" y="241"/>
                  </a:lnTo>
                  <a:lnTo>
                    <a:pt x="224" y="26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261" name="Freeform 101"/>
            <p:cNvSpPr>
              <a:spLocks/>
            </p:cNvSpPr>
            <p:nvPr/>
          </p:nvSpPr>
          <p:spPr bwMode="auto">
            <a:xfrm rot="5400000">
              <a:off x="2062223" y="2491130"/>
              <a:ext cx="224701" cy="240292"/>
            </a:xfrm>
            <a:custGeom>
              <a:avLst/>
              <a:gdLst>
                <a:gd name="T0" fmla="*/ 227 w 245"/>
                <a:gd name="T1" fmla="*/ 262 h 262"/>
                <a:gd name="T2" fmla="*/ 0 w 245"/>
                <a:gd name="T3" fmla="*/ 21 h 262"/>
                <a:gd name="T4" fmla="*/ 19 w 245"/>
                <a:gd name="T5" fmla="*/ 0 h 262"/>
                <a:gd name="T6" fmla="*/ 245 w 245"/>
                <a:gd name="T7" fmla="*/ 241 h 262"/>
                <a:gd name="T8" fmla="*/ 227 w 245"/>
                <a:gd name="T9" fmla="*/ 26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262">
                  <a:moveTo>
                    <a:pt x="227" y="262"/>
                  </a:moveTo>
                  <a:lnTo>
                    <a:pt x="0" y="21"/>
                  </a:lnTo>
                  <a:lnTo>
                    <a:pt x="19" y="0"/>
                  </a:lnTo>
                  <a:lnTo>
                    <a:pt x="245" y="241"/>
                  </a:lnTo>
                  <a:lnTo>
                    <a:pt x="227" y="26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262" name="Freeform 102"/>
            <p:cNvSpPr>
              <a:spLocks/>
            </p:cNvSpPr>
            <p:nvPr/>
          </p:nvSpPr>
          <p:spPr bwMode="auto">
            <a:xfrm rot="5400000">
              <a:off x="2919296" y="2697947"/>
              <a:ext cx="227452" cy="240292"/>
            </a:xfrm>
            <a:custGeom>
              <a:avLst/>
              <a:gdLst>
                <a:gd name="T0" fmla="*/ 227 w 248"/>
                <a:gd name="T1" fmla="*/ 262 h 262"/>
                <a:gd name="T2" fmla="*/ 0 w 248"/>
                <a:gd name="T3" fmla="*/ 21 h 262"/>
                <a:gd name="T4" fmla="*/ 21 w 248"/>
                <a:gd name="T5" fmla="*/ 0 h 262"/>
                <a:gd name="T6" fmla="*/ 248 w 248"/>
                <a:gd name="T7" fmla="*/ 241 h 262"/>
                <a:gd name="T8" fmla="*/ 227 w 248"/>
                <a:gd name="T9" fmla="*/ 262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262">
                  <a:moveTo>
                    <a:pt x="227" y="262"/>
                  </a:moveTo>
                  <a:lnTo>
                    <a:pt x="0" y="21"/>
                  </a:lnTo>
                  <a:lnTo>
                    <a:pt x="21" y="0"/>
                  </a:lnTo>
                  <a:lnTo>
                    <a:pt x="248" y="241"/>
                  </a:lnTo>
                  <a:lnTo>
                    <a:pt x="227" y="26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267" name="Rectangle 107"/>
            <p:cNvSpPr>
              <a:spLocks noChangeArrowheads="1"/>
            </p:cNvSpPr>
            <p:nvPr/>
          </p:nvSpPr>
          <p:spPr bwMode="auto">
            <a:xfrm rot="5400000">
              <a:off x="2607008" y="2167377"/>
              <a:ext cx="25680" cy="68877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271" name="Rectangle 111"/>
            <p:cNvSpPr>
              <a:spLocks noChangeArrowheads="1"/>
            </p:cNvSpPr>
            <p:nvPr/>
          </p:nvSpPr>
          <p:spPr bwMode="auto">
            <a:xfrm rot="5400000">
              <a:off x="2662495" y="1451544"/>
              <a:ext cx="25680" cy="9721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272" name="Rectangle 112"/>
            <p:cNvSpPr>
              <a:spLocks noChangeArrowheads="1"/>
            </p:cNvSpPr>
            <p:nvPr/>
          </p:nvSpPr>
          <p:spPr bwMode="auto">
            <a:xfrm rot="5400000">
              <a:off x="3233418" y="3099198"/>
              <a:ext cx="25680" cy="25955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273" name="Rectangle 113"/>
            <p:cNvSpPr>
              <a:spLocks noChangeArrowheads="1"/>
            </p:cNvSpPr>
            <p:nvPr/>
          </p:nvSpPr>
          <p:spPr bwMode="auto">
            <a:xfrm rot="5400000">
              <a:off x="3129781" y="3537594"/>
              <a:ext cx="26598" cy="13206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275" name="Rectangle 115"/>
            <p:cNvSpPr>
              <a:spLocks noChangeArrowheads="1"/>
            </p:cNvSpPr>
            <p:nvPr/>
          </p:nvSpPr>
          <p:spPr bwMode="auto">
            <a:xfrm rot="5400000">
              <a:off x="2669374" y="3784306"/>
              <a:ext cx="25680" cy="38795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276" name="Rectangle 116"/>
            <p:cNvSpPr>
              <a:spLocks noChangeArrowheads="1"/>
            </p:cNvSpPr>
            <p:nvPr/>
          </p:nvSpPr>
          <p:spPr bwMode="auto">
            <a:xfrm rot="5400000">
              <a:off x="3153168" y="2108221"/>
              <a:ext cx="25680" cy="39070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277" name="Rectangle 117"/>
            <p:cNvSpPr>
              <a:spLocks noChangeArrowheads="1"/>
            </p:cNvSpPr>
            <p:nvPr/>
          </p:nvSpPr>
          <p:spPr bwMode="auto">
            <a:xfrm rot="5400000">
              <a:off x="3315045" y="2525981"/>
              <a:ext cx="25680" cy="38795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03" name="Freeform 90"/>
            <p:cNvSpPr>
              <a:spLocks/>
            </p:cNvSpPr>
            <p:nvPr/>
          </p:nvSpPr>
          <p:spPr bwMode="auto">
            <a:xfrm rot="5400000">
              <a:off x="2961072" y="1526833"/>
              <a:ext cx="517271" cy="554874"/>
            </a:xfrm>
            <a:custGeom>
              <a:avLst/>
              <a:gdLst>
                <a:gd name="T0" fmla="*/ 543 w 564"/>
                <a:gd name="T1" fmla="*/ 605 h 605"/>
                <a:gd name="T2" fmla="*/ 0 w 564"/>
                <a:gd name="T3" fmla="*/ 19 h 605"/>
                <a:gd name="T4" fmla="*/ 21 w 564"/>
                <a:gd name="T5" fmla="*/ 0 h 605"/>
                <a:gd name="T6" fmla="*/ 564 w 564"/>
                <a:gd name="T7" fmla="*/ 584 h 605"/>
                <a:gd name="T8" fmla="*/ 543 w 564"/>
                <a:gd name="T9" fmla="*/ 605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4" h="605">
                  <a:moveTo>
                    <a:pt x="543" y="605"/>
                  </a:moveTo>
                  <a:lnTo>
                    <a:pt x="0" y="19"/>
                  </a:lnTo>
                  <a:lnTo>
                    <a:pt x="21" y="0"/>
                  </a:lnTo>
                  <a:lnTo>
                    <a:pt x="564" y="584"/>
                  </a:lnTo>
                  <a:lnTo>
                    <a:pt x="543" y="60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04" name="Freeform 91"/>
            <p:cNvSpPr>
              <a:spLocks/>
            </p:cNvSpPr>
            <p:nvPr/>
          </p:nvSpPr>
          <p:spPr bwMode="auto">
            <a:xfrm rot="5400000">
              <a:off x="3684242" y="1193450"/>
              <a:ext cx="359521" cy="383367"/>
            </a:xfrm>
            <a:custGeom>
              <a:avLst/>
              <a:gdLst>
                <a:gd name="T0" fmla="*/ 371 w 392"/>
                <a:gd name="T1" fmla="*/ 418 h 418"/>
                <a:gd name="T2" fmla="*/ 0 w 392"/>
                <a:gd name="T3" fmla="*/ 19 h 418"/>
                <a:gd name="T4" fmla="*/ 21 w 392"/>
                <a:gd name="T5" fmla="*/ 0 h 418"/>
                <a:gd name="T6" fmla="*/ 392 w 392"/>
                <a:gd name="T7" fmla="*/ 399 h 418"/>
                <a:gd name="T8" fmla="*/ 371 w 392"/>
                <a:gd name="T9" fmla="*/ 418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2" h="418">
                  <a:moveTo>
                    <a:pt x="371" y="418"/>
                  </a:moveTo>
                  <a:lnTo>
                    <a:pt x="0" y="19"/>
                  </a:lnTo>
                  <a:lnTo>
                    <a:pt x="21" y="0"/>
                  </a:lnTo>
                  <a:lnTo>
                    <a:pt x="392" y="399"/>
                  </a:lnTo>
                  <a:lnTo>
                    <a:pt x="371" y="41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05" name="Rectangle 109"/>
            <p:cNvSpPr>
              <a:spLocks noChangeArrowheads="1"/>
            </p:cNvSpPr>
            <p:nvPr/>
          </p:nvSpPr>
          <p:spPr bwMode="auto">
            <a:xfrm rot="5400000">
              <a:off x="3643888" y="1380548"/>
              <a:ext cx="25680" cy="3595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06" name="Freeform 90"/>
            <p:cNvSpPr>
              <a:spLocks/>
            </p:cNvSpPr>
            <p:nvPr/>
          </p:nvSpPr>
          <p:spPr bwMode="auto">
            <a:xfrm rot="5400000">
              <a:off x="3263318" y="2202983"/>
              <a:ext cx="500678" cy="547138"/>
            </a:xfrm>
            <a:custGeom>
              <a:avLst/>
              <a:gdLst>
                <a:gd name="T0" fmla="*/ 543 w 564"/>
                <a:gd name="T1" fmla="*/ 605 h 605"/>
                <a:gd name="T2" fmla="*/ 0 w 564"/>
                <a:gd name="T3" fmla="*/ 19 h 605"/>
                <a:gd name="T4" fmla="*/ 21 w 564"/>
                <a:gd name="T5" fmla="*/ 0 h 605"/>
                <a:gd name="T6" fmla="*/ 564 w 564"/>
                <a:gd name="T7" fmla="*/ 584 h 605"/>
                <a:gd name="T8" fmla="*/ 543 w 564"/>
                <a:gd name="T9" fmla="*/ 605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4" h="605">
                  <a:moveTo>
                    <a:pt x="543" y="605"/>
                  </a:moveTo>
                  <a:lnTo>
                    <a:pt x="0" y="19"/>
                  </a:lnTo>
                  <a:lnTo>
                    <a:pt x="21" y="0"/>
                  </a:lnTo>
                  <a:lnTo>
                    <a:pt x="564" y="584"/>
                  </a:lnTo>
                  <a:lnTo>
                    <a:pt x="543" y="60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07" name="Freeform 91"/>
            <p:cNvSpPr>
              <a:spLocks/>
            </p:cNvSpPr>
            <p:nvPr/>
          </p:nvSpPr>
          <p:spPr bwMode="auto">
            <a:xfrm rot="5400000">
              <a:off x="3974323" y="1874027"/>
              <a:ext cx="359521" cy="383367"/>
            </a:xfrm>
            <a:custGeom>
              <a:avLst/>
              <a:gdLst>
                <a:gd name="T0" fmla="*/ 371 w 392"/>
                <a:gd name="T1" fmla="*/ 418 h 418"/>
                <a:gd name="T2" fmla="*/ 0 w 392"/>
                <a:gd name="T3" fmla="*/ 19 h 418"/>
                <a:gd name="T4" fmla="*/ 21 w 392"/>
                <a:gd name="T5" fmla="*/ 0 h 418"/>
                <a:gd name="T6" fmla="*/ 392 w 392"/>
                <a:gd name="T7" fmla="*/ 399 h 418"/>
                <a:gd name="T8" fmla="*/ 371 w 392"/>
                <a:gd name="T9" fmla="*/ 418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2" h="418">
                  <a:moveTo>
                    <a:pt x="371" y="418"/>
                  </a:moveTo>
                  <a:lnTo>
                    <a:pt x="0" y="19"/>
                  </a:lnTo>
                  <a:lnTo>
                    <a:pt x="21" y="0"/>
                  </a:lnTo>
                  <a:lnTo>
                    <a:pt x="392" y="399"/>
                  </a:lnTo>
                  <a:lnTo>
                    <a:pt x="371" y="41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08" name="Rectangle 109"/>
            <p:cNvSpPr>
              <a:spLocks noChangeArrowheads="1"/>
            </p:cNvSpPr>
            <p:nvPr/>
          </p:nvSpPr>
          <p:spPr bwMode="auto">
            <a:xfrm rot="5400000">
              <a:off x="3933969" y="2061125"/>
              <a:ext cx="25680" cy="3595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grpSp>
          <p:nvGrpSpPr>
            <p:cNvPr id="7319" name="Group 7318"/>
            <p:cNvGrpSpPr/>
            <p:nvPr/>
          </p:nvGrpSpPr>
          <p:grpSpPr>
            <a:xfrm flipV="1">
              <a:off x="3057092" y="3257550"/>
              <a:ext cx="1011815" cy="857532"/>
              <a:chOff x="3537152" y="2647950"/>
              <a:chExt cx="1011815" cy="857532"/>
            </a:xfrm>
          </p:grpSpPr>
          <p:sp>
            <p:nvSpPr>
              <p:cNvPr id="612" name="Freeform 90"/>
              <p:cNvSpPr>
                <a:spLocks/>
              </p:cNvSpPr>
              <p:nvPr/>
            </p:nvSpPr>
            <p:spPr bwMode="auto">
              <a:xfrm rot="5400000">
                <a:off x="3555953" y="2969410"/>
                <a:ext cx="517271" cy="554874"/>
              </a:xfrm>
              <a:custGeom>
                <a:avLst/>
                <a:gdLst>
                  <a:gd name="T0" fmla="*/ 543 w 564"/>
                  <a:gd name="T1" fmla="*/ 605 h 605"/>
                  <a:gd name="T2" fmla="*/ 0 w 564"/>
                  <a:gd name="T3" fmla="*/ 19 h 605"/>
                  <a:gd name="T4" fmla="*/ 21 w 564"/>
                  <a:gd name="T5" fmla="*/ 0 h 605"/>
                  <a:gd name="T6" fmla="*/ 564 w 564"/>
                  <a:gd name="T7" fmla="*/ 584 h 605"/>
                  <a:gd name="T8" fmla="*/ 543 w 564"/>
                  <a:gd name="T9" fmla="*/ 605 h 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605">
                    <a:moveTo>
                      <a:pt x="543" y="605"/>
                    </a:moveTo>
                    <a:lnTo>
                      <a:pt x="0" y="19"/>
                    </a:lnTo>
                    <a:lnTo>
                      <a:pt x="21" y="0"/>
                    </a:lnTo>
                    <a:lnTo>
                      <a:pt x="564" y="584"/>
                    </a:lnTo>
                    <a:lnTo>
                      <a:pt x="543" y="605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613" name="Freeform 91"/>
              <p:cNvSpPr>
                <a:spLocks/>
              </p:cNvSpPr>
              <p:nvPr/>
            </p:nvSpPr>
            <p:spPr bwMode="auto">
              <a:xfrm rot="5400000">
                <a:off x="4177523" y="2636027"/>
                <a:ext cx="359521" cy="383367"/>
              </a:xfrm>
              <a:custGeom>
                <a:avLst/>
                <a:gdLst>
                  <a:gd name="T0" fmla="*/ 371 w 392"/>
                  <a:gd name="T1" fmla="*/ 418 h 418"/>
                  <a:gd name="T2" fmla="*/ 0 w 392"/>
                  <a:gd name="T3" fmla="*/ 19 h 418"/>
                  <a:gd name="T4" fmla="*/ 21 w 392"/>
                  <a:gd name="T5" fmla="*/ 0 h 418"/>
                  <a:gd name="T6" fmla="*/ 392 w 392"/>
                  <a:gd name="T7" fmla="*/ 399 h 418"/>
                  <a:gd name="T8" fmla="*/ 371 w 392"/>
                  <a:gd name="T9" fmla="*/ 418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2" h="418">
                    <a:moveTo>
                      <a:pt x="371" y="418"/>
                    </a:moveTo>
                    <a:lnTo>
                      <a:pt x="0" y="19"/>
                    </a:lnTo>
                    <a:lnTo>
                      <a:pt x="21" y="0"/>
                    </a:lnTo>
                    <a:lnTo>
                      <a:pt x="392" y="399"/>
                    </a:lnTo>
                    <a:lnTo>
                      <a:pt x="371" y="418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614" name="Rectangle 109"/>
              <p:cNvSpPr>
                <a:spLocks noChangeArrowheads="1"/>
              </p:cNvSpPr>
              <p:nvPr/>
            </p:nvSpPr>
            <p:spPr bwMode="auto">
              <a:xfrm rot="5400000">
                <a:off x="4238769" y="2823125"/>
                <a:ext cx="25680" cy="359521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pitchFamily="34" charset="-128"/>
                </a:endParaRPr>
              </a:p>
            </p:txBody>
          </p:sp>
        </p:grpSp>
        <p:grpSp>
          <p:nvGrpSpPr>
            <p:cNvPr id="616" name="Group 615"/>
            <p:cNvGrpSpPr/>
            <p:nvPr/>
          </p:nvGrpSpPr>
          <p:grpSpPr>
            <a:xfrm flipV="1">
              <a:off x="3087572" y="2739390"/>
              <a:ext cx="1113415" cy="857532"/>
              <a:chOff x="3537152" y="2647950"/>
              <a:chExt cx="1113415" cy="857532"/>
            </a:xfrm>
          </p:grpSpPr>
          <p:sp>
            <p:nvSpPr>
              <p:cNvPr id="617" name="Freeform 90"/>
              <p:cNvSpPr>
                <a:spLocks/>
              </p:cNvSpPr>
              <p:nvPr/>
            </p:nvSpPr>
            <p:spPr bwMode="auto">
              <a:xfrm rot="5400000">
                <a:off x="3555953" y="2969410"/>
                <a:ext cx="517271" cy="554874"/>
              </a:xfrm>
              <a:custGeom>
                <a:avLst/>
                <a:gdLst>
                  <a:gd name="T0" fmla="*/ 543 w 564"/>
                  <a:gd name="T1" fmla="*/ 605 h 605"/>
                  <a:gd name="T2" fmla="*/ 0 w 564"/>
                  <a:gd name="T3" fmla="*/ 19 h 605"/>
                  <a:gd name="T4" fmla="*/ 21 w 564"/>
                  <a:gd name="T5" fmla="*/ 0 h 605"/>
                  <a:gd name="T6" fmla="*/ 564 w 564"/>
                  <a:gd name="T7" fmla="*/ 584 h 605"/>
                  <a:gd name="T8" fmla="*/ 543 w 564"/>
                  <a:gd name="T9" fmla="*/ 605 h 6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64" h="605">
                    <a:moveTo>
                      <a:pt x="543" y="605"/>
                    </a:moveTo>
                    <a:lnTo>
                      <a:pt x="0" y="19"/>
                    </a:lnTo>
                    <a:lnTo>
                      <a:pt x="21" y="0"/>
                    </a:lnTo>
                    <a:lnTo>
                      <a:pt x="564" y="584"/>
                    </a:lnTo>
                    <a:lnTo>
                      <a:pt x="543" y="605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618" name="Freeform 91"/>
              <p:cNvSpPr>
                <a:spLocks/>
              </p:cNvSpPr>
              <p:nvPr/>
            </p:nvSpPr>
            <p:spPr bwMode="auto">
              <a:xfrm rot="5400000">
                <a:off x="4279123" y="2636027"/>
                <a:ext cx="359521" cy="383367"/>
              </a:xfrm>
              <a:custGeom>
                <a:avLst/>
                <a:gdLst>
                  <a:gd name="T0" fmla="*/ 371 w 392"/>
                  <a:gd name="T1" fmla="*/ 418 h 418"/>
                  <a:gd name="T2" fmla="*/ 0 w 392"/>
                  <a:gd name="T3" fmla="*/ 19 h 418"/>
                  <a:gd name="T4" fmla="*/ 21 w 392"/>
                  <a:gd name="T5" fmla="*/ 0 h 418"/>
                  <a:gd name="T6" fmla="*/ 392 w 392"/>
                  <a:gd name="T7" fmla="*/ 399 h 418"/>
                  <a:gd name="T8" fmla="*/ 371 w 392"/>
                  <a:gd name="T9" fmla="*/ 418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2" h="418">
                    <a:moveTo>
                      <a:pt x="371" y="418"/>
                    </a:moveTo>
                    <a:lnTo>
                      <a:pt x="0" y="19"/>
                    </a:lnTo>
                    <a:lnTo>
                      <a:pt x="21" y="0"/>
                    </a:lnTo>
                    <a:lnTo>
                      <a:pt x="392" y="399"/>
                    </a:lnTo>
                    <a:lnTo>
                      <a:pt x="371" y="418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pitchFamily="34" charset="-128"/>
                </a:endParaRPr>
              </a:p>
            </p:txBody>
          </p:sp>
          <p:sp>
            <p:nvSpPr>
              <p:cNvPr id="619" name="Rectangle 109"/>
              <p:cNvSpPr>
                <a:spLocks noChangeArrowheads="1"/>
              </p:cNvSpPr>
              <p:nvPr/>
            </p:nvSpPr>
            <p:spPr bwMode="auto">
              <a:xfrm rot="5400000">
                <a:off x="4238769" y="2823125"/>
                <a:ext cx="25680" cy="359521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pitchFamily="34" charset="-128"/>
                </a:endParaRPr>
              </a:p>
            </p:txBody>
          </p:sp>
        </p:grpSp>
        <p:sp>
          <p:nvSpPr>
            <p:cNvPr id="620" name="Freeform 99"/>
            <p:cNvSpPr>
              <a:spLocks/>
            </p:cNvSpPr>
            <p:nvPr/>
          </p:nvSpPr>
          <p:spPr bwMode="auto">
            <a:xfrm rot="16200000" flipV="1">
              <a:off x="3361549" y="1666955"/>
              <a:ext cx="224701" cy="238458"/>
            </a:xfrm>
            <a:custGeom>
              <a:avLst/>
              <a:gdLst>
                <a:gd name="T0" fmla="*/ 227 w 245"/>
                <a:gd name="T1" fmla="*/ 260 h 260"/>
                <a:gd name="T2" fmla="*/ 0 w 245"/>
                <a:gd name="T3" fmla="*/ 19 h 260"/>
                <a:gd name="T4" fmla="*/ 21 w 245"/>
                <a:gd name="T5" fmla="*/ 0 h 260"/>
                <a:gd name="T6" fmla="*/ 245 w 245"/>
                <a:gd name="T7" fmla="*/ 241 h 260"/>
                <a:gd name="T8" fmla="*/ 227 w 245"/>
                <a:gd name="T9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260">
                  <a:moveTo>
                    <a:pt x="227" y="260"/>
                  </a:moveTo>
                  <a:lnTo>
                    <a:pt x="0" y="19"/>
                  </a:lnTo>
                  <a:lnTo>
                    <a:pt x="21" y="0"/>
                  </a:lnTo>
                  <a:lnTo>
                    <a:pt x="245" y="241"/>
                  </a:lnTo>
                  <a:lnTo>
                    <a:pt x="227" y="26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21" name="Freeform 99"/>
            <p:cNvSpPr>
              <a:spLocks/>
            </p:cNvSpPr>
            <p:nvPr/>
          </p:nvSpPr>
          <p:spPr bwMode="auto">
            <a:xfrm rot="16200000" flipV="1">
              <a:off x="3664478" y="2336271"/>
              <a:ext cx="224701" cy="238458"/>
            </a:xfrm>
            <a:custGeom>
              <a:avLst/>
              <a:gdLst>
                <a:gd name="T0" fmla="*/ 227 w 245"/>
                <a:gd name="T1" fmla="*/ 260 h 260"/>
                <a:gd name="T2" fmla="*/ 0 w 245"/>
                <a:gd name="T3" fmla="*/ 19 h 260"/>
                <a:gd name="T4" fmla="*/ 21 w 245"/>
                <a:gd name="T5" fmla="*/ 0 h 260"/>
                <a:gd name="T6" fmla="*/ 245 w 245"/>
                <a:gd name="T7" fmla="*/ 241 h 260"/>
                <a:gd name="T8" fmla="*/ 227 w 245"/>
                <a:gd name="T9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260">
                  <a:moveTo>
                    <a:pt x="227" y="260"/>
                  </a:moveTo>
                  <a:lnTo>
                    <a:pt x="0" y="19"/>
                  </a:lnTo>
                  <a:lnTo>
                    <a:pt x="21" y="0"/>
                  </a:lnTo>
                  <a:lnTo>
                    <a:pt x="245" y="241"/>
                  </a:lnTo>
                  <a:lnTo>
                    <a:pt x="227" y="26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22" name="Freeform 99"/>
            <p:cNvSpPr>
              <a:spLocks/>
            </p:cNvSpPr>
            <p:nvPr/>
          </p:nvSpPr>
          <p:spPr bwMode="auto">
            <a:xfrm rot="5400000">
              <a:off x="3696482" y="3025120"/>
              <a:ext cx="224701" cy="238458"/>
            </a:xfrm>
            <a:custGeom>
              <a:avLst/>
              <a:gdLst>
                <a:gd name="T0" fmla="*/ 227 w 245"/>
                <a:gd name="T1" fmla="*/ 260 h 260"/>
                <a:gd name="T2" fmla="*/ 0 w 245"/>
                <a:gd name="T3" fmla="*/ 19 h 260"/>
                <a:gd name="T4" fmla="*/ 21 w 245"/>
                <a:gd name="T5" fmla="*/ 0 h 260"/>
                <a:gd name="T6" fmla="*/ 245 w 245"/>
                <a:gd name="T7" fmla="*/ 241 h 260"/>
                <a:gd name="T8" fmla="*/ 227 w 245"/>
                <a:gd name="T9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260">
                  <a:moveTo>
                    <a:pt x="227" y="260"/>
                  </a:moveTo>
                  <a:lnTo>
                    <a:pt x="0" y="19"/>
                  </a:lnTo>
                  <a:lnTo>
                    <a:pt x="21" y="0"/>
                  </a:lnTo>
                  <a:lnTo>
                    <a:pt x="245" y="241"/>
                  </a:lnTo>
                  <a:lnTo>
                    <a:pt x="227" y="26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23" name="Freeform 99"/>
            <p:cNvSpPr>
              <a:spLocks/>
            </p:cNvSpPr>
            <p:nvPr/>
          </p:nvSpPr>
          <p:spPr bwMode="auto">
            <a:xfrm rot="5400000">
              <a:off x="3512078" y="3479271"/>
              <a:ext cx="224701" cy="238458"/>
            </a:xfrm>
            <a:custGeom>
              <a:avLst/>
              <a:gdLst>
                <a:gd name="T0" fmla="*/ 227 w 245"/>
                <a:gd name="T1" fmla="*/ 260 h 260"/>
                <a:gd name="T2" fmla="*/ 0 w 245"/>
                <a:gd name="T3" fmla="*/ 19 h 260"/>
                <a:gd name="T4" fmla="*/ 21 w 245"/>
                <a:gd name="T5" fmla="*/ 0 h 260"/>
                <a:gd name="T6" fmla="*/ 245 w 245"/>
                <a:gd name="T7" fmla="*/ 241 h 260"/>
                <a:gd name="T8" fmla="*/ 227 w 245"/>
                <a:gd name="T9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260">
                  <a:moveTo>
                    <a:pt x="227" y="260"/>
                  </a:moveTo>
                  <a:lnTo>
                    <a:pt x="0" y="19"/>
                  </a:lnTo>
                  <a:lnTo>
                    <a:pt x="21" y="0"/>
                  </a:lnTo>
                  <a:lnTo>
                    <a:pt x="245" y="241"/>
                  </a:lnTo>
                  <a:lnTo>
                    <a:pt x="227" y="26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</p:grpSp>
      <p:grpSp>
        <p:nvGrpSpPr>
          <p:cNvPr id="642" name="Group 641"/>
          <p:cNvGrpSpPr/>
          <p:nvPr/>
        </p:nvGrpSpPr>
        <p:grpSpPr>
          <a:xfrm>
            <a:off x="1118937" y="1488891"/>
            <a:ext cx="2103934" cy="2621205"/>
            <a:chOff x="1118937" y="1471721"/>
            <a:chExt cx="2103934" cy="2621205"/>
          </a:xfrm>
        </p:grpSpPr>
        <p:sp>
          <p:nvSpPr>
            <p:cNvPr id="643" name="Freeform 84"/>
            <p:cNvSpPr>
              <a:spLocks/>
            </p:cNvSpPr>
            <p:nvPr/>
          </p:nvSpPr>
          <p:spPr bwMode="auto">
            <a:xfrm rot="5400000">
              <a:off x="1417927" y="3304180"/>
              <a:ext cx="575968" cy="607151"/>
            </a:xfrm>
            <a:custGeom>
              <a:avLst/>
              <a:gdLst>
                <a:gd name="T0" fmla="*/ 21 w 628"/>
                <a:gd name="T1" fmla="*/ 662 h 662"/>
                <a:gd name="T2" fmla="*/ 0 w 628"/>
                <a:gd name="T3" fmla="*/ 643 h 662"/>
                <a:gd name="T4" fmla="*/ 607 w 628"/>
                <a:gd name="T5" fmla="*/ 0 h 662"/>
                <a:gd name="T6" fmla="*/ 628 w 628"/>
                <a:gd name="T7" fmla="*/ 19 h 662"/>
                <a:gd name="T8" fmla="*/ 21 w 628"/>
                <a:gd name="T9" fmla="*/ 662 h 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8" h="662">
                  <a:moveTo>
                    <a:pt x="21" y="662"/>
                  </a:moveTo>
                  <a:lnTo>
                    <a:pt x="0" y="643"/>
                  </a:lnTo>
                  <a:lnTo>
                    <a:pt x="607" y="0"/>
                  </a:lnTo>
                  <a:lnTo>
                    <a:pt x="628" y="19"/>
                  </a:lnTo>
                  <a:lnTo>
                    <a:pt x="21" y="66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44" name="Freeform 85"/>
            <p:cNvSpPr>
              <a:spLocks/>
            </p:cNvSpPr>
            <p:nvPr/>
          </p:nvSpPr>
          <p:spPr bwMode="auto">
            <a:xfrm rot="5400000">
              <a:off x="2181451" y="2036225"/>
              <a:ext cx="265972" cy="281564"/>
            </a:xfrm>
            <a:custGeom>
              <a:avLst/>
              <a:gdLst>
                <a:gd name="T0" fmla="*/ 21 w 290"/>
                <a:gd name="T1" fmla="*/ 307 h 307"/>
                <a:gd name="T2" fmla="*/ 0 w 290"/>
                <a:gd name="T3" fmla="*/ 288 h 307"/>
                <a:gd name="T4" fmla="*/ 271 w 290"/>
                <a:gd name="T5" fmla="*/ 0 h 307"/>
                <a:gd name="T6" fmla="*/ 290 w 290"/>
                <a:gd name="T7" fmla="*/ 21 h 307"/>
                <a:gd name="T8" fmla="*/ 21 w 290"/>
                <a:gd name="T9" fmla="*/ 307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0" h="307">
                  <a:moveTo>
                    <a:pt x="21" y="307"/>
                  </a:moveTo>
                  <a:lnTo>
                    <a:pt x="0" y="288"/>
                  </a:lnTo>
                  <a:lnTo>
                    <a:pt x="271" y="0"/>
                  </a:lnTo>
                  <a:lnTo>
                    <a:pt x="290" y="21"/>
                  </a:lnTo>
                  <a:lnTo>
                    <a:pt x="21" y="30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45" name="Freeform 87"/>
            <p:cNvSpPr>
              <a:spLocks/>
            </p:cNvSpPr>
            <p:nvPr/>
          </p:nvSpPr>
          <p:spPr bwMode="auto">
            <a:xfrm rot="5400000">
              <a:off x="1869622" y="2688317"/>
              <a:ext cx="415468" cy="443899"/>
            </a:xfrm>
            <a:custGeom>
              <a:avLst/>
              <a:gdLst>
                <a:gd name="T0" fmla="*/ 21 w 453"/>
                <a:gd name="T1" fmla="*/ 484 h 484"/>
                <a:gd name="T2" fmla="*/ 0 w 453"/>
                <a:gd name="T3" fmla="*/ 465 h 484"/>
                <a:gd name="T4" fmla="*/ 434 w 453"/>
                <a:gd name="T5" fmla="*/ 0 h 484"/>
                <a:gd name="T6" fmla="*/ 453 w 453"/>
                <a:gd name="T7" fmla="*/ 19 h 484"/>
                <a:gd name="T8" fmla="*/ 21 w 453"/>
                <a:gd name="T9" fmla="*/ 484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3" h="484">
                  <a:moveTo>
                    <a:pt x="21" y="484"/>
                  </a:moveTo>
                  <a:lnTo>
                    <a:pt x="0" y="465"/>
                  </a:lnTo>
                  <a:lnTo>
                    <a:pt x="434" y="0"/>
                  </a:lnTo>
                  <a:lnTo>
                    <a:pt x="453" y="19"/>
                  </a:lnTo>
                  <a:lnTo>
                    <a:pt x="21" y="484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46" name="Freeform 90"/>
            <p:cNvSpPr>
              <a:spLocks/>
            </p:cNvSpPr>
            <p:nvPr/>
          </p:nvSpPr>
          <p:spPr bwMode="auto">
            <a:xfrm rot="5400000">
              <a:off x="1551372" y="1808773"/>
              <a:ext cx="517271" cy="554874"/>
            </a:xfrm>
            <a:custGeom>
              <a:avLst/>
              <a:gdLst>
                <a:gd name="T0" fmla="*/ 543 w 564"/>
                <a:gd name="T1" fmla="*/ 605 h 605"/>
                <a:gd name="T2" fmla="*/ 0 w 564"/>
                <a:gd name="T3" fmla="*/ 19 h 605"/>
                <a:gd name="T4" fmla="*/ 21 w 564"/>
                <a:gd name="T5" fmla="*/ 0 h 605"/>
                <a:gd name="T6" fmla="*/ 564 w 564"/>
                <a:gd name="T7" fmla="*/ 584 h 605"/>
                <a:gd name="T8" fmla="*/ 543 w 564"/>
                <a:gd name="T9" fmla="*/ 605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4" h="605">
                  <a:moveTo>
                    <a:pt x="543" y="605"/>
                  </a:moveTo>
                  <a:lnTo>
                    <a:pt x="0" y="19"/>
                  </a:lnTo>
                  <a:lnTo>
                    <a:pt x="21" y="0"/>
                  </a:lnTo>
                  <a:lnTo>
                    <a:pt x="564" y="584"/>
                  </a:lnTo>
                  <a:lnTo>
                    <a:pt x="543" y="605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47" name="Freeform 94"/>
            <p:cNvSpPr>
              <a:spLocks/>
            </p:cNvSpPr>
            <p:nvPr/>
          </p:nvSpPr>
          <p:spPr bwMode="auto">
            <a:xfrm rot="5400000">
              <a:off x="1793499" y="1463926"/>
              <a:ext cx="221033" cy="236624"/>
            </a:xfrm>
            <a:custGeom>
              <a:avLst/>
              <a:gdLst>
                <a:gd name="T0" fmla="*/ 220 w 241"/>
                <a:gd name="T1" fmla="*/ 258 h 258"/>
                <a:gd name="T2" fmla="*/ 0 w 241"/>
                <a:gd name="T3" fmla="*/ 19 h 258"/>
                <a:gd name="T4" fmla="*/ 22 w 241"/>
                <a:gd name="T5" fmla="*/ 0 h 258"/>
                <a:gd name="T6" fmla="*/ 241 w 241"/>
                <a:gd name="T7" fmla="*/ 239 h 258"/>
                <a:gd name="T8" fmla="*/ 220 w 241"/>
                <a:gd name="T9" fmla="*/ 25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1" h="258">
                  <a:moveTo>
                    <a:pt x="220" y="258"/>
                  </a:moveTo>
                  <a:lnTo>
                    <a:pt x="0" y="19"/>
                  </a:lnTo>
                  <a:lnTo>
                    <a:pt x="22" y="0"/>
                  </a:lnTo>
                  <a:lnTo>
                    <a:pt x="241" y="239"/>
                  </a:lnTo>
                  <a:lnTo>
                    <a:pt x="220" y="25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48" name="Freeform 96"/>
            <p:cNvSpPr>
              <a:spLocks/>
            </p:cNvSpPr>
            <p:nvPr/>
          </p:nvSpPr>
          <p:spPr bwMode="auto">
            <a:xfrm rot="5400000">
              <a:off x="1624285" y="3106077"/>
              <a:ext cx="227452" cy="238458"/>
            </a:xfrm>
            <a:custGeom>
              <a:avLst/>
              <a:gdLst>
                <a:gd name="T0" fmla="*/ 227 w 248"/>
                <a:gd name="T1" fmla="*/ 260 h 260"/>
                <a:gd name="T2" fmla="*/ 0 w 248"/>
                <a:gd name="T3" fmla="*/ 19 h 260"/>
                <a:gd name="T4" fmla="*/ 22 w 248"/>
                <a:gd name="T5" fmla="*/ 0 h 260"/>
                <a:gd name="T6" fmla="*/ 248 w 248"/>
                <a:gd name="T7" fmla="*/ 241 h 260"/>
                <a:gd name="T8" fmla="*/ 227 w 248"/>
                <a:gd name="T9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8" h="260">
                  <a:moveTo>
                    <a:pt x="227" y="260"/>
                  </a:moveTo>
                  <a:lnTo>
                    <a:pt x="0" y="19"/>
                  </a:lnTo>
                  <a:lnTo>
                    <a:pt x="22" y="0"/>
                  </a:lnTo>
                  <a:lnTo>
                    <a:pt x="248" y="241"/>
                  </a:lnTo>
                  <a:lnTo>
                    <a:pt x="227" y="26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49" name="Freeform 99"/>
            <p:cNvSpPr>
              <a:spLocks/>
            </p:cNvSpPr>
            <p:nvPr/>
          </p:nvSpPr>
          <p:spPr bwMode="auto">
            <a:xfrm rot="5400000">
              <a:off x="2355709" y="2695654"/>
              <a:ext cx="224701" cy="238458"/>
            </a:xfrm>
            <a:custGeom>
              <a:avLst/>
              <a:gdLst>
                <a:gd name="T0" fmla="*/ 227 w 245"/>
                <a:gd name="T1" fmla="*/ 260 h 260"/>
                <a:gd name="T2" fmla="*/ 0 w 245"/>
                <a:gd name="T3" fmla="*/ 19 h 260"/>
                <a:gd name="T4" fmla="*/ 21 w 245"/>
                <a:gd name="T5" fmla="*/ 0 h 260"/>
                <a:gd name="T6" fmla="*/ 245 w 245"/>
                <a:gd name="T7" fmla="*/ 241 h 260"/>
                <a:gd name="T8" fmla="*/ 227 w 245"/>
                <a:gd name="T9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5" h="260">
                  <a:moveTo>
                    <a:pt x="227" y="260"/>
                  </a:moveTo>
                  <a:lnTo>
                    <a:pt x="0" y="19"/>
                  </a:lnTo>
                  <a:lnTo>
                    <a:pt x="21" y="0"/>
                  </a:lnTo>
                  <a:lnTo>
                    <a:pt x="245" y="241"/>
                  </a:lnTo>
                  <a:lnTo>
                    <a:pt x="227" y="26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50" name="Freeform 103"/>
            <p:cNvSpPr>
              <a:spLocks/>
            </p:cNvSpPr>
            <p:nvPr/>
          </p:nvSpPr>
          <p:spPr bwMode="auto">
            <a:xfrm rot="5400000">
              <a:off x="2020951" y="3502742"/>
              <a:ext cx="567714" cy="612654"/>
            </a:xfrm>
            <a:custGeom>
              <a:avLst/>
              <a:gdLst>
                <a:gd name="T0" fmla="*/ 22 w 619"/>
                <a:gd name="T1" fmla="*/ 668 h 668"/>
                <a:gd name="T2" fmla="*/ 0 w 619"/>
                <a:gd name="T3" fmla="*/ 649 h 668"/>
                <a:gd name="T4" fmla="*/ 598 w 619"/>
                <a:gd name="T5" fmla="*/ 0 h 668"/>
                <a:gd name="T6" fmla="*/ 619 w 619"/>
                <a:gd name="T7" fmla="*/ 19 h 668"/>
                <a:gd name="T8" fmla="*/ 22 w 619"/>
                <a:gd name="T9" fmla="*/ 668 h 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9" h="668">
                  <a:moveTo>
                    <a:pt x="22" y="668"/>
                  </a:moveTo>
                  <a:lnTo>
                    <a:pt x="0" y="649"/>
                  </a:lnTo>
                  <a:lnTo>
                    <a:pt x="598" y="0"/>
                  </a:lnTo>
                  <a:lnTo>
                    <a:pt x="619" y="19"/>
                  </a:lnTo>
                  <a:lnTo>
                    <a:pt x="22" y="66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51" name="Rectangle 104"/>
            <p:cNvSpPr>
              <a:spLocks noChangeArrowheads="1"/>
            </p:cNvSpPr>
            <p:nvPr/>
          </p:nvSpPr>
          <p:spPr bwMode="auto">
            <a:xfrm rot="5400000">
              <a:off x="1947579" y="3205587"/>
              <a:ext cx="25680" cy="66126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52" name="Rectangle 105"/>
            <p:cNvSpPr>
              <a:spLocks noChangeArrowheads="1"/>
            </p:cNvSpPr>
            <p:nvPr/>
          </p:nvSpPr>
          <p:spPr bwMode="auto">
            <a:xfrm rot="5400000">
              <a:off x="2496950" y="2496633"/>
              <a:ext cx="25680" cy="844692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53" name="Rectangle 106"/>
            <p:cNvSpPr>
              <a:spLocks noChangeArrowheads="1"/>
            </p:cNvSpPr>
            <p:nvPr/>
          </p:nvSpPr>
          <p:spPr bwMode="auto">
            <a:xfrm rot="5400000">
              <a:off x="2544183" y="2830015"/>
              <a:ext cx="25680" cy="55028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54" name="Rectangle 108"/>
            <p:cNvSpPr>
              <a:spLocks noChangeArrowheads="1"/>
            </p:cNvSpPr>
            <p:nvPr/>
          </p:nvSpPr>
          <p:spPr bwMode="auto">
            <a:xfrm rot="5400000">
              <a:off x="1455989" y="1986699"/>
              <a:ext cx="25680" cy="69978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55" name="Rectangle 109"/>
            <p:cNvSpPr>
              <a:spLocks noChangeArrowheads="1"/>
            </p:cNvSpPr>
            <p:nvPr/>
          </p:nvSpPr>
          <p:spPr bwMode="auto">
            <a:xfrm rot="5400000">
              <a:off x="2234188" y="1662488"/>
              <a:ext cx="25680" cy="35952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56" name="Rectangle 110"/>
            <p:cNvSpPr>
              <a:spLocks noChangeArrowheads="1"/>
            </p:cNvSpPr>
            <p:nvPr/>
          </p:nvSpPr>
          <p:spPr bwMode="auto">
            <a:xfrm rot="5400000">
              <a:off x="2523089" y="1365333"/>
              <a:ext cx="25680" cy="13738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57" name="Rectangle 114"/>
            <p:cNvSpPr>
              <a:spLocks noChangeArrowheads="1"/>
            </p:cNvSpPr>
            <p:nvPr/>
          </p:nvSpPr>
          <p:spPr bwMode="auto">
            <a:xfrm rot="5400000">
              <a:off x="2352958" y="3599960"/>
              <a:ext cx="25680" cy="27973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58" name="Rectangle 119"/>
            <p:cNvSpPr>
              <a:spLocks noChangeArrowheads="1"/>
            </p:cNvSpPr>
            <p:nvPr/>
          </p:nvSpPr>
          <p:spPr bwMode="auto">
            <a:xfrm rot="5400000">
              <a:off x="1789372" y="1362582"/>
              <a:ext cx="25680" cy="643837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59" name="Rectangle 123"/>
            <p:cNvSpPr>
              <a:spLocks noChangeArrowheads="1"/>
            </p:cNvSpPr>
            <p:nvPr/>
          </p:nvSpPr>
          <p:spPr bwMode="auto">
            <a:xfrm rot="5400000">
              <a:off x="2341494" y="3201460"/>
              <a:ext cx="206358" cy="2659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</p:grpSp>
      <p:grpSp>
        <p:nvGrpSpPr>
          <p:cNvPr id="660" name="Group 659"/>
          <p:cNvGrpSpPr/>
          <p:nvPr/>
        </p:nvGrpSpPr>
        <p:grpSpPr>
          <a:xfrm>
            <a:off x="-135719" y="1582441"/>
            <a:ext cx="2209406" cy="2021391"/>
            <a:chOff x="-135719" y="1565271"/>
            <a:chExt cx="2209406" cy="2021391"/>
          </a:xfrm>
        </p:grpSpPr>
        <p:sp>
          <p:nvSpPr>
            <p:cNvPr id="661" name="Freeform 83"/>
            <p:cNvSpPr>
              <a:spLocks/>
            </p:cNvSpPr>
            <p:nvPr/>
          </p:nvSpPr>
          <p:spPr bwMode="auto">
            <a:xfrm rot="5400000">
              <a:off x="827285" y="2157747"/>
              <a:ext cx="437479" cy="1934262"/>
            </a:xfrm>
            <a:custGeom>
              <a:avLst/>
              <a:gdLst>
                <a:gd name="T0" fmla="*/ 28 w 477"/>
                <a:gd name="T1" fmla="*/ 2109 h 2109"/>
                <a:gd name="T2" fmla="*/ 0 w 477"/>
                <a:gd name="T3" fmla="*/ 2109 h 2109"/>
                <a:gd name="T4" fmla="*/ 0 w 477"/>
                <a:gd name="T5" fmla="*/ 1597 h 2109"/>
                <a:gd name="T6" fmla="*/ 449 w 477"/>
                <a:gd name="T7" fmla="*/ 1120 h 2109"/>
                <a:gd name="T8" fmla="*/ 449 w 477"/>
                <a:gd name="T9" fmla="*/ 0 h 2109"/>
                <a:gd name="T10" fmla="*/ 477 w 477"/>
                <a:gd name="T11" fmla="*/ 0 h 2109"/>
                <a:gd name="T12" fmla="*/ 477 w 477"/>
                <a:gd name="T13" fmla="*/ 1131 h 2109"/>
                <a:gd name="T14" fmla="*/ 28 w 477"/>
                <a:gd name="T15" fmla="*/ 1609 h 2109"/>
                <a:gd name="T16" fmla="*/ 28 w 477"/>
                <a:gd name="T17" fmla="*/ 2109 h 2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7" h="2109">
                  <a:moveTo>
                    <a:pt x="28" y="2109"/>
                  </a:moveTo>
                  <a:lnTo>
                    <a:pt x="0" y="2109"/>
                  </a:lnTo>
                  <a:lnTo>
                    <a:pt x="0" y="1597"/>
                  </a:lnTo>
                  <a:lnTo>
                    <a:pt x="449" y="1120"/>
                  </a:lnTo>
                  <a:lnTo>
                    <a:pt x="449" y="0"/>
                  </a:lnTo>
                  <a:lnTo>
                    <a:pt x="477" y="0"/>
                  </a:lnTo>
                  <a:lnTo>
                    <a:pt x="477" y="1131"/>
                  </a:lnTo>
                  <a:lnTo>
                    <a:pt x="28" y="1609"/>
                  </a:lnTo>
                  <a:lnTo>
                    <a:pt x="28" y="210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62" name="Freeform 86"/>
            <p:cNvSpPr>
              <a:spLocks/>
            </p:cNvSpPr>
            <p:nvPr/>
          </p:nvSpPr>
          <p:spPr bwMode="auto">
            <a:xfrm rot="5400000">
              <a:off x="641104" y="2697029"/>
              <a:ext cx="199021" cy="210027"/>
            </a:xfrm>
            <a:custGeom>
              <a:avLst/>
              <a:gdLst>
                <a:gd name="T0" fmla="*/ 21 w 217"/>
                <a:gd name="T1" fmla="*/ 229 h 229"/>
                <a:gd name="T2" fmla="*/ 0 w 217"/>
                <a:gd name="T3" fmla="*/ 210 h 229"/>
                <a:gd name="T4" fmla="*/ 196 w 217"/>
                <a:gd name="T5" fmla="*/ 0 h 229"/>
                <a:gd name="T6" fmla="*/ 217 w 217"/>
                <a:gd name="T7" fmla="*/ 21 h 229"/>
                <a:gd name="T8" fmla="*/ 21 w 217"/>
                <a:gd name="T9" fmla="*/ 22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29">
                  <a:moveTo>
                    <a:pt x="21" y="229"/>
                  </a:moveTo>
                  <a:lnTo>
                    <a:pt x="0" y="210"/>
                  </a:lnTo>
                  <a:lnTo>
                    <a:pt x="196" y="0"/>
                  </a:lnTo>
                  <a:lnTo>
                    <a:pt x="217" y="21"/>
                  </a:lnTo>
                  <a:lnTo>
                    <a:pt x="21" y="22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63" name="Freeform 89"/>
            <p:cNvSpPr>
              <a:spLocks/>
            </p:cNvSpPr>
            <p:nvPr/>
          </p:nvSpPr>
          <p:spPr bwMode="auto">
            <a:xfrm rot="5400000">
              <a:off x="938718" y="1987617"/>
              <a:ext cx="518188" cy="552122"/>
            </a:xfrm>
            <a:custGeom>
              <a:avLst/>
              <a:gdLst>
                <a:gd name="T0" fmla="*/ 544 w 565"/>
                <a:gd name="T1" fmla="*/ 602 h 602"/>
                <a:gd name="T2" fmla="*/ 0 w 565"/>
                <a:gd name="T3" fmla="*/ 19 h 602"/>
                <a:gd name="T4" fmla="*/ 22 w 565"/>
                <a:gd name="T5" fmla="*/ 0 h 602"/>
                <a:gd name="T6" fmla="*/ 565 w 565"/>
                <a:gd name="T7" fmla="*/ 584 h 602"/>
                <a:gd name="T8" fmla="*/ 544 w 565"/>
                <a:gd name="T9" fmla="*/ 60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5" h="602">
                  <a:moveTo>
                    <a:pt x="544" y="602"/>
                  </a:moveTo>
                  <a:lnTo>
                    <a:pt x="0" y="19"/>
                  </a:lnTo>
                  <a:lnTo>
                    <a:pt x="22" y="0"/>
                  </a:lnTo>
                  <a:lnTo>
                    <a:pt x="565" y="584"/>
                  </a:lnTo>
                  <a:lnTo>
                    <a:pt x="544" y="602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64" name="Freeform 93"/>
            <p:cNvSpPr>
              <a:spLocks/>
            </p:cNvSpPr>
            <p:nvPr/>
          </p:nvSpPr>
          <p:spPr bwMode="auto">
            <a:xfrm rot="5400000">
              <a:off x="1274852" y="1554265"/>
              <a:ext cx="324670" cy="346681"/>
            </a:xfrm>
            <a:custGeom>
              <a:avLst/>
              <a:gdLst>
                <a:gd name="T0" fmla="*/ 333 w 354"/>
                <a:gd name="T1" fmla="*/ 378 h 378"/>
                <a:gd name="T2" fmla="*/ 0 w 354"/>
                <a:gd name="T3" fmla="*/ 19 h 378"/>
                <a:gd name="T4" fmla="*/ 21 w 354"/>
                <a:gd name="T5" fmla="*/ 0 h 378"/>
                <a:gd name="T6" fmla="*/ 354 w 354"/>
                <a:gd name="T7" fmla="*/ 359 h 378"/>
                <a:gd name="T8" fmla="*/ 333 w 354"/>
                <a:gd name="T9" fmla="*/ 378 h 3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4" h="378">
                  <a:moveTo>
                    <a:pt x="333" y="378"/>
                  </a:moveTo>
                  <a:lnTo>
                    <a:pt x="0" y="19"/>
                  </a:lnTo>
                  <a:lnTo>
                    <a:pt x="21" y="0"/>
                  </a:lnTo>
                  <a:lnTo>
                    <a:pt x="354" y="359"/>
                  </a:lnTo>
                  <a:lnTo>
                    <a:pt x="333" y="37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65" name="Freeform 95"/>
            <p:cNvSpPr>
              <a:spLocks/>
            </p:cNvSpPr>
            <p:nvPr/>
          </p:nvSpPr>
          <p:spPr bwMode="auto">
            <a:xfrm rot="5400000">
              <a:off x="835080" y="2902011"/>
              <a:ext cx="291653" cy="309079"/>
            </a:xfrm>
            <a:custGeom>
              <a:avLst/>
              <a:gdLst>
                <a:gd name="T0" fmla="*/ 297 w 318"/>
                <a:gd name="T1" fmla="*/ 337 h 337"/>
                <a:gd name="T2" fmla="*/ 0 w 318"/>
                <a:gd name="T3" fmla="*/ 18 h 337"/>
                <a:gd name="T4" fmla="*/ 18 w 318"/>
                <a:gd name="T5" fmla="*/ 0 h 337"/>
                <a:gd name="T6" fmla="*/ 318 w 318"/>
                <a:gd name="T7" fmla="*/ 316 h 337"/>
                <a:gd name="T8" fmla="*/ 297 w 318"/>
                <a:gd name="T9" fmla="*/ 337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8" h="337">
                  <a:moveTo>
                    <a:pt x="297" y="337"/>
                  </a:moveTo>
                  <a:lnTo>
                    <a:pt x="0" y="18"/>
                  </a:lnTo>
                  <a:lnTo>
                    <a:pt x="18" y="0"/>
                  </a:lnTo>
                  <a:lnTo>
                    <a:pt x="318" y="316"/>
                  </a:lnTo>
                  <a:lnTo>
                    <a:pt x="297" y="33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66" name="Rectangle 118"/>
            <p:cNvSpPr>
              <a:spLocks noChangeArrowheads="1"/>
            </p:cNvSpPr>
            <p:nvPr/>
          </p:nvSpPr>
          <p:spPr bwMode="auto">
            <a:xfrm rot="5400000">
              <a:off x="1254216" y="2775445"/>
              <a:ext cx="25680" cy="29623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67" name="Rectangle 120"/>
            <p:cNvSpPr>
              <a:spLocks noChangeArrowheads="1"/>
            </p:cNvSpPr>
            <p:nvPr/>
          </p:nvSpPr>
          <p:spPr bwMode="auto">
            <a:xfrm rot="5400000">
              <a:off x="1063450" y="1713389"/>
              <a:ext cx="25680" cy="199479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68" name="Rectangle 121"/>
            <p:cNvSpPr>
              <a:spLocks noChangeArrowheads="1"/>
            </p:cNvSpPr>
            <p:nvPr/>
          </p:nvSpPr>
          <p:spPr bwMode="auto">
            <a:xfrm rot="5400000">
              <a:off x="495736" y="2077497"/>
              <a:ext cx="25680" cy="859366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69" name="Rectangle 122"/>
            <p:cNvSpPr>
              <a:spLocks noChangeArrowheads="1"/>
            </p:cNvSpPr>
            <p:nvPr/>
          </p:nvSpPr>
          <p:spPr bwMode="auto">
            <a:xfrm rot="5400000">
              <a:off x="1127192" y="3445421"/>
              <a:ext cx="255884" cy="26598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70" name="Rectangle 124"/>
            <p:cNvSpPr>
              <a:spLocks noChangeArrowheads="1"/>
            </p:cNvSpPr>
            <p:nvPr/>
          </p:nvSpPr>
          <p:spPr bwMode="auto">
            <a:xfrm rot="5400000">
              <a:off x="1119854" y="2014672"/>
              <a:ext cx="313664" cy="2568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71" name="Rectangle 154"/>
            <p:cNvSpPr>
              <a:spLocks noChangeArrowheads="1"/>
            </p:cNvSpPr>
            <p:nvPr/>
          </p:nvSpPr>
          <p:spPr bwMode="auto">
            <a:xfrm rot="5400000">
              <a:off x="-24286" y="2777280"/>
              <a:ext cx="65118" cy="28798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72" name="Rectangle 155"/>
            <p:cNvSpPr>
              <a:spLocks noChangeArrowheads="1"/>
            </p:cNvSpPr>
            <p:nvPr/>
          </p:nvSpPr>
          <p:spPr bwMode="auto">
            <a:xfrm rot="5400000">
              <a:off x="-24286" y="2567253"/>
              <a:ext cx="65118" cy="28798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73" name="Rectangle 156"/>
            <p:cNvSpPr>
              <a:spLocks noChangeArrowheads="1"/>
            </p:cNvSpPr>
            <p:nvPr/>
          </p:nvSpPr>
          <p:spPr bwMode="auto">
            <a:xfrm rot="5400000">
              <a:off x="-24286" y="2365481"/>
              <a:ext cx="65118" cy="28798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802.11ac Wave 2?</a:t>
            </a:r>
            <a:endParaRPr lang="en-US" dirty="0"/>
          </a:p>
        </p:txBody>
      </p:sp>
      <p:sp>
        <p:nvSpPr>
          <p:cNvPr id="411" name="Rectangle 410"/>
          <p:cNvSpPr/>
          <p:nvPr/>
        </p:nvSpPr>
        <p:spPr>
          <a:xfrm>
            <a:off x="546100" y="4414777"/>
            <a:ext cx="4014325" cy="32041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676767"/>
                </a:solidFill>
              </a:rPr>
              <a:t>Standard Network Infrastructure </a:t>
            </a:r>
          </a:p>
        </p:txBody>
      </p:sp>
      <p:grpSp>
        <p:nvGrpSpPr>
          <p:cNvPr id="558" name="Group 557"/>
          <p:cNvGrpSpPr/>
          <p:nvPr/>
        </p:nvGrpSpPr>
        <p:grpSpPr>
          <a:xfrm>
            <a:off x="681969" y="1344025"/>
            <a:ext cx="1113353" cy="2446887"/>
            <a:chOff x="681969" y="1480328"/>
            <a:chExt cx="1113353" cy="2446887"/>
          </a:xfrm>
        </p:grpSpPr>
        <p:grpSp>
          <p:nvGrpSpPr>
            <p:cNvPr id="7322" name="Group 7321"/>
            <p:cNvGrpSpPr/>
            <p:nvPr/>
          </p:nvGrpSpPr>
          <p:grpSpPr>
            <a:xfrm>
              <a:off x="681969" y="1480328"/>
              <a:ext cx="1113353" cy="2446887"/>
              <a:chOff x="681969" y="1326855"/>
              <a:chExt cx="1113353" cy="2446887"/>
            </a:xfrm>
          </p:grpSpPr>
          <p:sp>
            <p:nvSpPr>
              <p:cNvPr id="574" name="Oval 125"/>
              <p:cNvSpPr>
                <a:spLocks noChangeArrowheads="1"/>
              </p:cNvSpPr>
              <p:nvPr/>
            </p:nvSpPr>
            <p:spPr bwMode="auto">
              <a:xfrm rot="5400000">
                <a:off x="681969" y="2737894"/>
                <a:ext cx="308058" cy="308058"/>
              </a:xfrm>
              <a:prstGeom prst="ellipse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5" name="Oval 126"/>
              <p:cNvSpPr>
                <a:spLocks noChangeArrowheads="1"/>
              </p:cNvSpPr>
              <p:nvPr/>
            </p:nvSpPr>
            <p:spPr bwMode="auto">
              <a:xfrm rot="5400000">
                <a:off x="1221674" y="2799750"/>
                <a:ext cx="310896" cy="310896"/>
              </a:xfrm>
              <a:prstGeom prst="ellipse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7" name="Oval 128"/>
              <p:cNvSpPr>
                <a:spLocks noChangeArrowheads="1"/>
              </p:cNvSpPr>
              <p:nvPr/>
            </p:nvSpPr>
            <p:spPr bwMode="auto">
              <a:xfrm rot="5400000">
                <a:off x="1344081" y="1892691"/>
                <a:ext cx="310896" cy="310896"/>
              </a:xfrm>
              <a:prstGeom prst="ellipse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8" name="Oval 129"/>
              <p:cNvSpPr>
                <a:spLocks noChangeArrowheads="1"/>
              </p:cNvSpPr>
              <p:nvPr/>
            </p:nvSpPr>
            <p:spPr bwMode="auto">
              <a:xfrm rot="5400000">
                <a:off x="1484426" y="1326855"/>
                <a:ext cx="310896" cy="310896"/>
              </a:xfrm>
              <a:prstGeom prst="ellipse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2" name="Oval 153"/>
              <p:cNvSpPr>
                <a:spLocks noChangeArrowheads="1"/>
              </p:cNvSpPr>
              <p:nvPr/>
            </p:nvSpPr>
            <p:spPr bwMode="auto">
              <a:xfrm rot="5400000">
                <a:off x="1083185" y="3462846"/>
                <a:ext cx="310896" cy="310896"/>
              </a:xfrm>
              <a:prstGeom prst="ellipse">
                <a:avLst/>
              </a:prstGeom>
              <a:solidFill>
                <a:schemeClr val="tx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549" name="Freeform 167"/>
            <p:cNvSpPr>
              <a:spLocks noEditPoints="1"/>
            </p:cNvSpPr>
            <p:nvPr/>
          </p:nvSpPr>
          <p:spPr bwMode="auto">
            <a:xfrm>
              <a:off x="749114" y="2984500"/>
              <a:ext cx="170870" cy="112214"/>
            </a:xfrm>
            <a:custGeom>
              <a:avLst/>
              <a:gdLst>
                <a:gd name="T0" fmla="*/ 311 w 312"/>
                <a:gd name="T1" fmla="*/ 175 h 205"/>
                <a:gd name="T2" fmla="*/ 310 w 312"/>
                <a:gd name="T3" fmla="*/ 174 h 205"/>
                <a:gd name="T4" fmla="*/ 2 w 312"/>
                <a:gd name="T5" fmla="*/ 174 h 205"/>
                <a:gd name="T6" fmla="*/ 0 w 312"/>
                <a:gd name="T7" fmla="*/ 175 h 205"/>
                <a:gd name="T8" fmla="*/ 0 w 312"/>
                <a:gd name="T9" fmla="*/ 176 h 205"/>
                <a:gd name="T10" fmla="*/ 41 w 312"/>
                <a:gd name="T11" fmla="*/ 205 h 205"/>
                <a:gd name="T12" fmla="*/ 271 w 312"/>
                <a:gd name="T13" fmla="*/ 205 h 205"/>
                <a:gd name="T14" fmla="*/ 312 w 312"/>
                <a:gd name="T15" fmla="*/ 176 h 205"/>
                <a:gd name="T16" fmla="*/ 311 w 312"/>
                <a:gd name="T17" fmla="*/ 175 h 205"/>
                <a:gd name="T18" fmla="*/ 179 w 312"/>
                <a:gd name="T19" fmla="*/ 195 h 205"/>
                <a:gd name="T20" fmla="*/ 133 w 312"/>
                <a:gd name="T21" fmla="*/ 195 h 205"/>
                <a:gd name="T22" fmla="*/ 133 w 312"/>
                <a:gd name="T23" fmla="*/ 184 h 205"/>
                <a:gd name="T24" fmla="*/ 179 w 312"/>
                <a:gd name="T25" fmla="*/ 184 h 205"/>
                <a:gd name="T26" fmla="*/ 179 w 312"/>
                <a:gd name="T27" fmla="*/ 195 h 205"/>
                <a:gd name="T28" fmla="*/ 34 w 312"/>
                <a:gd name="T29" fmla="*/ 163 h 205"/>
                <a:gd name="T30" fmla="*/ 278 w 312"/>
                <a:gd name="T31" fmla="*/ 163 h 205"/>
                <a:gd name="T32" fmla="*/ 284 w 312"/>
                <a:gd name="T33" fmla="*/ 156 h 205"/>
                <a:gd name="T34" fmla="*/ 284 w 312"/>
                <a:gd name="T35" fmla="*/ 6 h 205"/>
                <a:gd name="T36" fmla="*/ 278 w 312"/>
                <a:gd name="T37" fmla="*/ 0 h 205"/>
                <a:gd name="T38" fmla="*/ 34 w 312"/>
                <a:gd name="T39" fmla="*/ 0 h 205"/>
                <a:gd name="T40" fmla="*/ 27 w 312"/>
                <a:gd name="T41" fmla="*/ 6 h 205"/>
                <a:gd name="T42" fmla="*/ 27 w 312"/>
                <a:gd name="T43" fmla="*/ 156 h 205"/>
                <a:gd name="T44" fmla="*/ 34 w 312"/>
                <a:gd name="T45" fmla="*/ 163 h 205"/>
                <a:gd name="T46" fmla="*/ 50 w 312"/>
                <a:gd name="T47" fmla="*/ 22 h 205"/>
                <a:gd name="T48" fmla="*/ 262 w 312"/>
                <a:gd name="T49" fmla="*/ 22 h 205"/>
                <a:gd name="T50" fmla="*/ 262 w 312"/>
                <a:gd name="T51" fmla="*/ 140 h 205"/>
                <a:gd name="T52" fmla="*/ 50 w 312"/>
                <a:gd name="T53" fmla="*/ 140 h 205"/>
                <a:gd name="T54" fmla="*/ 50 w 312"/>
                <a:gd name="T55" fmla="*/ 2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2" h="205">
                  <a:moveTo>
                    <a:pt x="311" y="175"/>
                  </a:moveTo>
                  <a:cubicBezTo>
                    <a:pt x="311" y="174"/>
                    <a:pt x="311" y="174"/>
                    <a:pt x="310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1" y="174"/>
                    <a:pt x="1" y="174"/>
                    <a:pt x="0" y="175"/>
                  </a:cubicBezTo>
                  <a:cubicBezTo>
                    <a:pt x="0" y="175"/>
                    <a:pt x="0" y="175"/>
                    <a:pt x="0" y="176"/>
                  </a:cubicBezTo>
                  <a:cubicBezTo>
                    <a:pt x="0" y="176"/>
                    <a:pt x="5" y="205"/>
                    <a:pt x="41" y="205"/>
                  </a:cubicBezTo>
                  <a:cubicBezTo>
                    <a:pt x="271" y="205"/>
                    <a:pt x="271" y="205"/>
                    <a:pt x="271" y="205"/>
                  </a:cubicBezTo>
                  <a:cubicBezTo>
                    <a:pt x="307" y="205"/>
                    <a:pt x="312" y="176"/>
                    <a:pt x="312" y="176"/>
                  </a:cubicBezTo>
                  <a:cubicBezTo>
                    <a:pt x="312" y="175"/>
                    <a:pt x="312" y="175"/>
                    <a:pt x="311" y="175"/>
                  </a:cubicBezTo>
                  <a:close/>
                  <a:moveTo>
                    <a:pt x="179" y="195"/>
                  </a:moveTo>
                  <a:cubicBezTo>
                    <a:pt x="133" y="195"/>
                    <a:pt x="133" y="195"/>
                    <a:pt x="133" y="195"/>
                  </a:cubicBezTo>
                  <a:cubicBezTo>
                    <a:pt x="133" y="184"/>
                    <a:pt x="133" y="184"/>
                    <a:pt x="133" y="184"/>
                  </a:cubicBezTo>
                  <a:cubicBezTo>
                    <a:pt x="179" y="184"/>
                    <a:pt x="179" y="184"/>
                    <a:pt x="179" y="184"/>
                  </a:cubicBezTo>
                  <a:lnTo>
                    <a:pt x="179" y="195"/>
                  </a:lnTo>
                  <a:close/>
                  <a:moveTo>
                    <a:pt x="34" y="163"/>
                  </a:moveTo>
                  <a:cubicBezTo>
                    <a:pt x="278" y="163"/>
                    <a:pt x="278" y="163"/>
                    <a:pt x="278" y="163"/>
                  </a:cubicBezTo>
                  <a:cubicBezTo>
                    <a:pt x="282" y="163"/>
                    <a:pt x="284" y="160"/>
                    <a:pt x="284" y="156"/>
                  </a:cubicBezTo>
                  <a:cubicBezTo>
                    <a:pt x="284" y="6"/>
                    <a:pt x="284" y="6"/>
                    <a:pt x="284" y="6"/>
                  </a:cubicBezTo>
                  <a:cubicBezTo>
                    <a:pt x="284" y="3"/>
                    <a:pt x="282" y="0"/>
                    <a:pt x="27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0" y="0"/>
                    <a:pt x="27" y="3"/>
                    <a:pt x="27" y="6"/>
                  </a:cubicBezTo>
                  <a:cubicBezTo>
                    <a:pt x="27" y="156"/>
                    <a:pt x="27" y="156"/>
                    <a:pt x="27" y="156"/>
                  </a:cubicBezTo>
                  <a:cubicBezTo>
                    <a:pt x="27" y="160"/>
                    <a:pt x="30" y="163"/>
                    <a:pt x="34" y="163"/>
                  </a:cubicBezTo>
                  <a:close/>
                  <a:moveTo>
                    <a:pt x="50" y="22"/>
                  </a:moveTo>
                  <a:cubicBezTo>
                    <a:pt x="262" y="22"/>
                    <a:pt x="262" y="22"/>
                    <a:pt x="262" y="22"/>
                  </a:cubicBezTo>
                  <a:cubicBezTo>
                    <a:pt x="262" y="140"/>
                    <a:pt x="262" y="140"/>
                    <a:pt x="262" y="140"/>
                  </a:cubicBezTo>
                  <a:cubicBezTo>
                    <a:pt x="50" y="140"/>
                    <a:pt x="50" y="140"/>
                    <a:pt x="50" y="140"/>
                  </a:cubicBezTo>
                  <a:lnTo>
                    <a:pt x="50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85" name="Freeform 167"/>
            <p:cNvSpPr>
              <a:spLocks noEditPoints="1"/>
            </p:cNvSpPr>
            <p:nvPr/>
          </p:nvSpPr>
          <p:spPr bwMode="auto">
            <a:xfrm>
              <a:off x="1290134" y="3050540"/>
              <a:ext cx="170870" cy="112214"/>
            </a:xfrm>
            <a:custGeom>
              <a:avLst/>
              <a:gdLst>
                <a:gd name="T0" fmla="*/ 311 w 312"/>
                <a:gd name="T1" fmla="*/ 175 h 205"/>
                <a:gd name="T2" fmla="*/ 310 w 312"/>
                <a:gd name="T3" fmla="*/ 174 h 205"/>
                <a:gd name="T4" fmla="*/ 2 w 312"/>
                <a:gd name="T5" fmla="*/ 174 h 205"/>
                <a:gd name="T6" fmla="*/ 0 w 312"/>
                <a:gd name="T7" fmla="*/ 175 h 205"/>
                <a:gd name="T8" fmla="*/ 0 w 312"/>
                <a:gd name="T9" fmla="*/ 176 h 205"/>
                <a:gd name="T10" fmla="*/ 41 w 312"/>
                <a:gd name="T11" fmla="*/ 205 h 205"/>
                <a:gd name="T12" fmla="*/ 271 w 312"/>
                <a:gd name="T13" fmla="*/ 205 h 205"/>
                <a:gd name="T14" fmla="*/ 312 w 312"/>
                <a:gd name="T15" fmla="*/ 176 h 205"/>
                <a:gd name="T16" fmla="*/ 311 w 312"/>
                <a:gd name="T17" fmla="*/ 175 h 205"/>
                <a:gd name="T18" fmla="*/ 179 w 312"/>
                <a:gd name="T19" fmla="*/ 195 h 205"/>
                <a:gd name="T20" fmla="*/ 133 w 312"/>
                <a:gd name="T21" fmla="*/ 195 h 205"/>
                <a:gd name="T22" fmla="*/ 133 w 312"/>
                <a:gd name="T23" fmla="*/ 184 h 205"/>
                <a:gd name="T24" fmla="*/ 179 w 312"/>
                <a:gd name="T25" fmla="*/ 184 h 205"/>
                <a:gd name="T26" fmla="*/ 179 w 312"/>
                <a:gd name="T27" fmla="*/ 195 h 205"/>
                <a:gd name="T28" fmla="*/ 34 w 312"/>
                <a:gd name="T29" fmla="*/ 163 h 205"/>
                <a:gd name="T30" fmla="*/ 278 w 312"/>
                <a:gd name="T31" fmla="*/ 163 h 205"/>
                <a:gd name="T32" fmla="*/ 284 w 312"/>
                <a:gd name="T33" fmla="*/ 156 h 205"/>
                <a:gd name="T34" fmla="*/ 284 w 312"/>
                <a:gd name="T35" fmla="*/ 6 h 205"/>
                <a:gd name="T36" fmla="*/ 278 w 312"/>
                <a:gd name="T37" fmla="*/ 0 h 205"/>
                <a:gd name="T38" fmla="*/ 34 w 312"/>
                <a:gd name="T39" fmla="*/ 0 h 205"/>
                <a:gd name="T40" fmla="*/ 27 w 312"/>
                <a:gd name="T41" fmla="*/ 6 h 205"/>
                <a:gd name="T42" fmla="*/ 27 w 312"/>
                <a:gd name="T43" fmla="*/ 156 h 205"/>
                <a:gd name="T44" fmla="*/ 34 w 312"/>
                <a:gd name="T45" fmla="*/ 163 h 205"/>
                <a:gd name="T46" fmla="*/ 50 w 312"/>
                <a:gd name="T47" fmla="*/ 22 h 205"/>
                <a:gd name="T48" fmla="*/ 262 w 312"/>
                <a:gd name="T49" fmla="*/ 22 h 205"/>
                <a:gd name="T50" fmla="*/ 262 w 312"/>
                <a:gd name="T51" fmla="*/ 140 h 205"/>
                <a:gd name="T52" fmla="*/ 50 w 312"/>
                <a:gd name="T53" fmla="*/ 140 h 205"/>
                <a:gd name="T54" fmla="*/ 50 w 312"/>
                <a:gd name="T55" fmla="*/ 2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2" h="205">
                  <a:moveTo>
                    <a:pt x="311" y="175"/>
                  </a:moveTo>
                  <a:cubicBezTo>
                    <a:pt x="311" y="174"/>
                    <a:pt x="311" y="174"/>
                    <a:pt x="310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1" y="174"/>
                    <a:pt x="1" y="174"/>
                    <a:pt x="0" y="175"/>
                  </a:cubicBezTo>
                  <a:cubicBezTo>
                    <a:pt x="0" y="175"/>
                    <a:pt x="0" y="175"/>
                    <a:pt x="0" y="176"/>
                  </a:cubicBezTo>
                  <a:cubicBezTo>
                    <a:pt x="0" y="176"/>
                    <a:pt x="5" y="205"/>
                    <a:pt x="41" y="205"/>
                  </a:cubicBezTo>
                  <a:cubicBezTo>
                    <a:pt x="271" y="205"/>
                    <a:pt x="271" y="205"/>
                    <a:pt x="271" y="205"/>
                  </a:cubicBezTo>
                  <a:cubicBezTo>
                    <a:pt x="307" y="205"/>
                    <a:pt x="312" y="176"/>
                    <a:pt x="312" y="176"/>
                  </a:cubicBezTo>
                  <a:cubicBezTo>
                    <a:pt x="312" y="175"/>
                    <a:pt x="312" y="175"/>
                    <a:pt x="311" y="175"/>
                  </a:cubicBezTo>
                  <a:close/>
                  <a:moveTo>
                    <a:pt x="179" y="195"/>
                  </a:moveTo>
                  <a:cubicBezTo>
                    <a:pt x="133" y="195"/>
                    <a:pt x="133" y="195"/>
                    <a:pt x="133" y="195"/>
                  </a:cubicBezTo>
                  <a:cubicBezTo>
                    <a:pt x="133" y="184"/>
                    <a:pt x="133" y="184"/>
                    <a:pt x="133" y="184"/>
                  </a:cubicBezTo>
                  <a:cubicBezTo>
                    <a:pt x="179" y="184"/>
                    <a:pt x="179" y="184"/>
                    <a:pt x="179" y="184"/>
                  </a:cubicBezTo>
                  <a:lnTo>
                    <a:pt x="179" y="195"/>
                  </a:lnTo>
                  <a:close/>
                  <a:moveTo>
                    <a:pt x="34" y="163"/>
                  </a:moveTo>
                  <a:cubicBezTo>
                    <a:pt x="278" y="163"/>
                    <a:pt x="278" y="163"/>
                    <a:pt x="278" y="163"/>
                  </a:cubicBezTo>
                  <a:cubicBezTo>
                    <a:pt x="282" y="163"/>
                    <a:pt x="284" y="160"/>
                    <a:pt x="284" y="156"/>
                  </a:cubicBezTo>
                  <a:cubicBezTo>
                    <a:pt x="284" y="6"/>
                    <a:pt x="284" y="6"/>
                    <a:pt x="284" y="6"/>
                  </a:cubicBezTo>
                  <a:cubicBezTo>
                    <a:pt x="284" y="3"/>
                    <a:pt x="282" y="0"/>
                    <a:pt x="27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0" y="0"/>
                    <a:pt x="27" y="3"/>
                    <a:pt x="27" y="6"/>
                  </a:cubicBezTo>
                  <a:cubicBezTo>
                    <a:pt x="27" y="156"/>
                    <a:pt x="27" y="156"/>
                    <a:pt x="27" y="156"/>
                  </a:cubicBezTo>
                  <a:cubicBezTo>
                    <a:pt x="27" y="160"/>
                    <a:pt x="30" y="163"/>
                    <a:pt x="34" y="163"/>
                  </a:cubicBezTo>
                  <a:close/>
                  <a:moveTo>
                    <a:pt x="50" y="22"/>
                  </a:moveTo>
                  <a:cubicBezTo>
                    <a:pt x="262" y="22"/>
                    <a:pt x="262" y="22"/>
                    <a:pt x="262" y="22"/>
                  </a:cubicBezTo>
                  <a:cubicBezTo>
                    <a:pt x="262" y="140"/>
                    <a:pt x="262" y="140"/>
                    <a:pt x="262" y="140"/>
                  </a:cubicBezTo>
                  <a:cubicBezTo>
                    <a:pt x="50" y="140"/>
                    <a:pt x="50" y="140"/>
                    <a:pt x="50" y="140"/>
                  </a:cubicBezTo>
                  <a:lnTo>
                    <a:pt x="50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86" name="Freeform 167"/>
            <p:cNvSpPr>
              <a:spLocks noEditPoints="1"/>
            </p:cNvSpPr>
            <p:nvPr/>
          </p:nvSpPr>
          <p:spPr bwMode="auto">
            <a:xfrm>
              <a:off x="1150434" y="3710940"/>
              <a:ext cx="170870" cy="112214"/>
            </a:xfrm>
            <a:custGeom>
              <a:avLst/>
              <a:gdLst>
                <a:gd name="T0" fmla="*/ 311 w 312"/>
                <a:gd name="T1" fmla="*/ 175 h 205"/>
                <a:gd name="T2" fmla="*/ 310 w 312"/>
                <a:gd name="T3" fmla="*/ 174 h 205"/>
                <a:gd name="T4" fmla="*/ 2 w 312"/>
                <a:gd name="T5" fmla="*/ 174 h 205"/>
                <a:gd name="T6" fmla="*/ 0 w 312"/>
                <a:gd name="T7" fmla="*/ 175 h 205"/>
                <a:gd name="T8" fmla="*/ 0 w 312"/>
                <a:gd name="T9" fmla="*/ 176 h 205"/>
                <a:gd name="T10" fmla="*/ 41 w 312"/>
                <a:gd name="T11" fmla="*/ 205 h 205"/>
                <a:gd name="T12" fmla="*/ 271 w 312"/>
                <a:gd name="T13" fmla="*/ 205 h 205"/>
                <a:gd name="T14" fmla="*/ 312 w 312"/>
                <a:gd name="T15" fmla="*/ 176 h 205"/>
                <a:gd name="T16" fmla="*/ 311 w 312"/>
                <a:gd name="T17" fmla="*/ 175 h 205"/>
                <a:gd name="T18" fmla="*/ 179 w 312"/>
                <a:gd name="T19" fmla="*/ 195 h 205"/>
                <a:gd name="T20" fmla="*/ 133 w 312"/>
                <a:gd name="T21" fmla="*/ 195 h 205"/>
                <a:gd name="T22" fmla="*/ 133 w 312"/>
                <a:gd name="T23" fmla="*/ 184 h 205"/>
                <a:gd name="T24" fmla="*/ 179 w 312"/>
                <a:gd name="T25" fmla="*/ 184 h 205"/>
                <a:gd name="T26" fmla="*/ 179 w 312"/>
                <a:gd name="T27" fmla="*/ 195 h 205"/>
                <a:gd name="T28" fmla="*/ 34 w 312"/>
                <a:gd name="T29" fmla="*/ 163 h 205"/>
                <a:gd name="T30" fmla="*/ 278 w 312"/>
                <a:gd name="T31" fmla="*/ 163 h 205"/>
                <a:gd name="T32" fmla="*/ 284 w 312"/>
                <a:gd name="T33" fmla="*/ 156 h 205"/>
                <a:gd name="T34" fmla="*/ 284 w 312"/>
                <a:gd name="T35" fmla="*/ 6 h 205"/>
                <a:gd name="T36" fmla="*/ 278 w 312"/>
                <a:gd name="T37" fmla="*/ 0 h 205"/>
                <a:gd name="T38" fmla="*/ 34 w 312"/>
                <a:gd name="T39" fmla="*/ 0 h 205"/>
                <a:gd name="T40" fmla="*/ 27 w 312"/>
                <a:gd name="T41" fmla="*/ 6 h 205"/>
                <a:gd name="T42" fmla="*/ 27 w 312"/>
                <a:gd name="T43" fmla="*/ 156 h 205"/>
                <a:gd name="T44" fmla="*/ 34 w 312"/>
                <a:gd name="T45" fmla="*/ 163 h 205"/>
                <a:gd name="T46" fmla="*/ 50 w 312"/>
                <a:gd name="T47" fmla="*/ 22 h 205"/>
                <a:gd name="T48" fmla="*/ 262 w 312"/>
                <a:gd name="T49" fmla="*/ 22 h 205"/>
                <a:gd name="T50" fmla="*/ 262 w 312"/>
                <a:gd name="T51" fmla="*/ 140 h 205"/>
                <a:gd name="T52" fmla="*/ 50 w 312"/>
                <a:gd name="T53" fmla="*/ 140 h 205"/>
                <a:gd name="T54" fmla="*/ 50 w 312"/>
                <a:gd name="T55" fmla="*/ 2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2" h="205">
                  <a:moveTo>
                    <a:pt x="311" y="175"/>
                  </a:moveTo>
                  <a:cubicBezTo>
                    <a:pt x="311" y="174"/>
                    <a:pt x="311" y="174"/>
                    <a:pt x="310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1" y="174"/>
                    <a:pt x="1" y="174"/>
                    <a:pt x="0" y="175"/>
                  </a:cubicBezTo>
                  <a:cubicBezTo>
                    <a:pt x="0" y="175"/>
                    <a:pt x="0" y="175"/>
                    <a:pt x="0" y="176"/>
                  </a:cubicBezTo>
                  <a:cubicBezTo>
                    <a:pt x="0" y="176"/>
                    <a:pt x="5" y="205"/>
                    <a:pt x="41" y="205"/>
                  </a:cubicBezTo>
                  <a:cubicBezTo>
                    <a:pt x="271" y="205"/>
                    <a:pt x="271" y="205"/>
                    <a:pt x="271" y="205"/>
                  </a:cubicBezTo>
                  <a:cubicBezTo>
                    <a:pt x="307" y="205"/>
                    <a:pt x="312" y="176"/>
                    <a:pt x="312" y="176"/>
                  </a:cubicBezTo>
                  <a:cubicBezTo>
                    <a:pt x="312" y="175"/>
                    <a:pt x="312" y="175"/>
                    <a:pt x="311" y="175"/>
                  </a:cubicBezTo>
                  <a:close/>
                  <a:moveTo>
                    <a:pt x="179" y="195"/>
                  </a:moveTo>
                  <a:cubicBezTo>
                    <a:pt x="133" y="195"/>
                    <a:pt x="133" y="195"/>
                    <a:pt x="133" y="195"/>
                  </a:cubicBezTo>
                  <a:cubicBezTo>
                    <a:pt x="133" y="184"/>
                    <a:pt x="133" y="184"/>
                    <a:pt x="133" y="184"/>
                  </a:cubicBezTo>
                  <a:cubicBezTo>
                    <a:pt x="179" y="184"/>
                    <a:pt x="179" y="184"/>
                    <a:pt x="179" y="184"/>
                  </a:cubicBezTo>
                  <a:lnTo>
                    <a:pt x="179" y="195"/>
                  </a:lnTo>
                  <a:close/>
                  <a:moveTo>
                    <a:pt x="34" y="163"/>
                  </a:moveTo>
                  <a:cubicBezTo>
                    <a:pt x="278" y="163"/>
                    <a:pt x="278" y="163"/>
                    <a:pt x="278" y="163"/>
                  </a:cubicBezTo>
                  <a:cubicBezTo>
                    <a:pt x="282" y="163"/>
                    <a:pt x="284" y="160"/>
                    <a:pt x="284" y="156"/>
                  </a:cubicBezTo>
                  <a:cubicBezTo>
                    <a:pt x="284" y="6"/>
                    <a:pt x="284" y="6"/>
                    <a:pt x="284" y="6"/>
                  </a:cubicBezTo>
                  <a:cubicBezTo>
                    <a:pt x="284" y="3"/>
                    <a:pt x="282" y="0"/>
                    <a:pt x="27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0" y="0"/>
                    <a:pt x="27" y="3"/>
                    <a:pt x="27" y="6"/>
                  </a:cubicBezTo>
                  <a:cubicBezTo>
                    <a:pt x="27" y="156"/>
                    <a:pt x="27" y="156"/>
                    <a:pt x="27" y="156"/>
                  </a:cubicBezTo>
                  <a:cubicBezTo>
                    <a:pt x="27" y="160"/>
                    <a:pt x="30" y="163"/>
                    <a:pt x="34" y="163"/>
                  </a:cubicBezTo>
                  <a:close/>
                  <a:moveTo>
                    <a:pt x="50" y="22"/>
                  </a:moveTo>
                  <a:cubicBezTo>
                    <a:pt x="262" y="22"/>
                    <a:pt x="262" y="22"/>
                    <a:pt x="262" y="22"/>
                  </a:cubicBezTo>
                  <a:cubicBezTo>
                    <a:pt x="262" y="140"/>
                    <a:pt x="262" y="140"/>
                    <a:pt x="262" y="140"/>
                  </a:cubicBezTo>
                  <a:cubicBezTo>
                    <a:pt x="50" y="140"/>
                    <a:pt x="50" y="140"/>
                    <a:pt x="50" y="140"/>
                  </a:cubicBezTo>
                  <a:lnTo>
                    <a:pt x="50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87" name="Freeform 167"/>
            <p:cNvSpPr>
              <a:spLocks noEditPoints="1"/>
            </p:cNvSpPr>
            <p:nvPr/>
          </p:nvSpPr>
          <p:spPr bwMode="auto">
            <a:xfrm>
              <a:off x="1415864" y="2132330"/>
              <a:ext cx="170870" cy="112214"/>
            </a:xfrm>
            <a:custGeom>
              <a:avLst/>
              <a:gdLst>
                <a:gd name="T0" fmla="*/ 311 w 312"/>
                <a:gd name="T1" fmla="*/ 175 h 205"/>
                <a:gd name="T2" fmla="*/ 310 w 312"/>
                <a:gd name="T3" fmla="*/ 174 h 205"/>
                <a:gd name="T4" fmla="*/ 2 w 312"/>
                <a:gd name="T5" fmla="*/ 174 h 205"/>
                <a:gd name="T6" fmla="*/ 0 w 312"/>
                <a:gd name="T7" fmla="*/ 175 h 205"/>
                <a:gd name="T8" fmla="*/ 0 w 312"/>
                <a:gd name="T9" fmla="*/ 176 h 205"/>
                <a:gd name="T10" fmla="*/ 41 w 312"/>
                <a:gd name="T11" fmla="*/ 205 h 205"/>
                <a:gd name="T12" fmla="*/ 271 w 312"/>
                <a:gd name="T13" fmla="*/ 205 h 205"/>
                <a:gd name="T14" fmla="*/ 312 w 312"/>
                <a:gd name="T15" fmla="*/ 176 h 205"/>
                <a:gd name="T16" fmla="*/ 311 w 312"/>
                <a:gd name="T17" fmla="*/ 175 h 205"/>
                <a:gd name="T18" fmla="*/ 179 w 312"/>
                <a:gd name="T19" fmla="*/ 195 h 205"/>
                <a:gd name="T20" fmla="*/ 133 w 312"/>
                <a:gd name="T21" fmla="*/ 195 h 205"/>
                <a:gd name="T22" fmla="*/ 133 w 312"/>
                <a:gd name="T23" fmla="*/ 184 h 205"/>
                <a:gd name="T24" fmla="*/ 179 w 312"/>
                <a:gd name="T25" fmla="*/ 184 h 205"/>
                <a:gd name="T26" fmla="*/ 179 w 312"/>
                <a:gd name="T27" fmla="*/ 195 h 205"/>
                <a:gd name="T28" fmla="*/ 34 w 312"/>
                <a:gd name="T29" fmla="*/ 163 h 205"/>
                <a:gd name="T30" fmla="*/ 278 w 312"/>
                <a:gd name="T31" fmla="*/ 163 h 205"/>
                <a:gd name="T32" fmla="*/ 284 w 312"/>
                <a:gd name="T33" fmla="*/ 156 h 205"/>
                <a:gd name="T34" fmla="*/ 284 w 312"/>
                <a:gd name="T35" fmla="*/ 6 h 205"/>
                <a:gd name="T36" fmla="*/ 278 w 312"/>
                <a:gd name="T37" fmla="*/ 0 h 205"/>
                <a:gd name="T38" fmla="*/ 34 w 312"/>
                <a:gd name="T39" fmla="*/ 0 h 205"/>
                <a:gd name="T40" fmla="*/ 27 w 312"/>
                <a:gd name="T41" fmla="*/ 6 h 205"/>
                <a:gd name="T42" fmla="*/ 27 w 312"/>
                <a:gd name="T43" fmla="*/ 156 h 205"/>
                <a:gd name="T44" fmla="*/ 34 w 312"/>
                <a:gd name="T45" fmla="*/ 163 h 205"/>
                <a:gd name="T46" fmla="*/ 50 w 312"/>
                <a:gd name="T47" fmla="*/ 22 h 205"/>
                <a:gd name="T48" fmla="*/ 262 w 312"/>
                <a:gd name="T49" fmla="*/ 22 h 205"/>
                <a:gd name="T50" fmla="*/ 262 w 312"/>
                <a:gd name="T51" fmla="*/ 140 h 205"/>
                <a:gd name="T52" fmla="*/ 50 w 312"/>
                <a:gd name="T53" fmla="*/ 140 h 205"/>
                <a:gd name="T54" fmla="*/ 50 w 312"/>
                <a:gd name="T55" fmla="*/ 2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2" h="205">
                  <a:moveTo>
                    <a:pt x="311" y="175"/>
                  </a:moveTo>
                  <a:cubicBezTo>
                    <a:pt x="311" y="174"/>
                    <a:pt x="311" y="174"/>
                    <a:pt x="310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1" y="174"/>
                    <a:pt x="1" y="174"/>
                    <a:pt x="0" y="175"/>
                  </a:cubicBezTo>
                  <a:cubicBezTo>
                    <a:pt x="0" y="175"/>
                    <a:pt x="0" y="175"/>
                    <a:pt x="0" y="176"/>
                  </a:cubicBezTo>
                  <a:cubicBezTo>
                    <a:pt x="0" y="176"/>
                    <a:pt x="5" y="205"/>
                    <a:pt x="41" y="205"/>
                  </a:cubicBezTo>
                  <a:cubicBezTo>
                    <a:pt x="271" y="205"/>
                    <a:pt x="271" y="205"/>
                    <a:pt x="271" y="205"/>
                  </a:cubicBezTo>
                  <a:cubicBezTo>
                    <a:pt x="307" y="205"/>
                    <a:pt x="312" y="176"/>
                    <a:pt x="312" y="176"/>
                  </a:cubicBezTo>
                  <a:cubicBezTo>
                    <a:pt x="312" y="175"/>
                    <a:pt x="312" y="175"/>
                    <a:pt x="311" y="175"/>
                  </a:cubicBezTo>
                  <a:close/>
                  <a:moveTo>
                    <a:pt x="179" y="195"/>
                  </a:moveTo>
                  <a:cubicBezTo>
                    <a:pt x="133" y="195"/>
                    <a:pt x="133" y="195"/>
                    <a:pt x="133" y="195"/>
                  </a:cubicBezTo>
                  <a:cubicBezTo>
                    <a:pt x="133" y="184"/>
                    <a:pt x="133" y="184"/>
                    <a:pt x="133" y="184"/>
                  </a:cubicBezTo>
                  <a:cubicBezTo>
                    <a:pt x="179" y="184"/>
                    <a:pt x="179" y="184"/>
                    <a:pt x="179" y="184"/>
                  </a:cubicBezTo>
                  <a:lnTo>
                    <a:pt x="179" y="195"/>
                  </a:lnTo>
                  <a:close/>
                  <a:moveTo>
                    <a:pt x="34" y="163"/>
                  </a:moveTo>
                  <a:cubicBezTo>
                    <a:pt x="278" y="163"/>
                    <a:pt x="278" y="163"/>
                    <a:pt x="278" y="163"/>
                  </a:cubicBezTo>
                  <a:cubicBezTo>
                    <a:pt x="282" y="163"/>
                    <a:pt x="284" y="160"/>
                    <a:pt x="284" y="156"/>
                  </a:cubicBezTo>
                  <a:cubicBezTo>
                    <a:pt x="284" y="6"/>
                    <a:pt x="284" y="6"/>
                    <a:pt x="284" y="6"/>
                  </a:cubicBezTo>
                  <a:cubicBezTo>
                    <a:pt x="284" y="3"/>
                    <a:pt x="282" y="0"/>
                    <a:pt x="27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0" y="0"/>
                    <a:pt x="27" y="3"/>
                    <a:pt x="27" y="6"/>
                  </a:cubicBezTo>
                  <a:cubicBezTo>
                    <a:pt x="27" y="156"/>
                    <a:pt x="27" y="156"/>
                    <a:pt x="27" y="156"/>
                  </a:cubicBezTo>
                  <a:cubicBezTo>
                    <a:pt x="27" y="160"/>
                    <a:pt x="30" y="163"/>
                    <a:pt x="34" y="163"/>
                  </a:cubicBezTo>
                  <a:close/>
                  <a:moveTo>
                    <a:pt x="50" y="22"/>
                  </a:moveTo>
                  <a:cubicBezTo>
                    <a:pt x="262" y="22"/>
                    <a:pt x="262" y="22"/>
                    <a:pt x="262" y="22"/>
                  </a:cubicBezTo>
                  <a:cubicBezTo>
                    <a:pt x="262" y="140"/>
                    <a:pt x="262" y="140"/>
                    <a:pt x="262" y="140"/>
                  </a:cubicBezTo>
                  <a:cubicBezTo>
                    <a:pt x="50" y="140"/>
                    <a:pt x="50" y="140"/>
                    <a:pt x="50" y="140"/>
                  </a:cubicBezTo>
                  <a:lnTo>
                    <a:pt x="50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88" name="Freeform 167"/>
            <p:cNvSpPr>
              <a:spLocks noEditPoints="1"/>
            </p:cNvSpPr>
            <p:nvPr/>
          </p:nvSpPr>
          <p:spPr bwMode="auto">
            <a:xfrm>
              <a:off x="1553024" y="1572260"/>
              <a:ext cx="170870" cy="112214"/>
            </a:xfrm>
            <a:custGeom>
              <a:avLst/>
              <a:gdLst>
                <a:gd name="T0" fmla="*/ 311 w 312"/>
                <a:gd name="T1" fmla="*/ 175 h 205"/>
                <a:gd name="T2" fmla="*/ 310 w 312"/>
                <a:gd name="T3" fmla="*/ 174 h 205"/>
                <a:gd name="T4" fmla="*/ 2 w 312"/>
                <a:gd name="T5" fmla="*/ 174 h 205"/>
                <a:gd name="T6" fmla="*/ 0 w 312"/>
                <a:gd name="T7" fmla="*/ 175 h 205"/>
                <a:gd name="T8" fmla="*/ 0 w 312"/>
                <a:gd name="T9" fmla="*/ 176 h 205"/>
                <a:gd name="T10" fmla="*/ 41 w 312"/>
                <a:gd name="T11" fmla="*/ 205 h 205"/>
                <a:gd name="T12" fmla="*/ 271 w 312"/>
                <a:gd name="T13" fmla="*/ 205 h 205"/>
                <a:gd name="T14" fmla="*/ 312 w 312"/>
                <a:gd name="T15" fmla="*/ 176 h 205"/>
                <a:gd name="T16" fmla="*/ 311 w 312"/>
                <a:gd name="T17" fmla="*/ 175 h 205"/>
                <a:gd name="T18" fmla="*/ 179 w 312"/>
                <a:gd name="T19" fmla="*/ 195 h 205"/>
                <a:gd name="T20" fmla="*/ 133 w 312"/>
                <a:gd name="T21" fmla="*/ 195 h 205"/>
                <a:gd name="T22" fmla="*/ 133 w 312"/>
                <a:gd name="T23" fmla="*/ 184 h 205"/>
                <a:gd name="T24" fmla="*/ 179 w 312"/>
                <a:gd name="T25" fmla="*/ 184 h 205"/>
                <a:gd name="T26" fmla="*/ 179 w 312"/>
                <a:gd name="T27" fmla="*/ 195 h 205"/>
                <a:gd name="T28" fmla="*/ 34 w 312"/>
                <a:gd name="T29" fmla="*/ 163 h 205"/>
                <a:gd name="T30" fmla="*/ 278 w 312"/>
                <a:gd name="T31" fmla="*/ 163 h 205"/>
                <a:gd name="T32" fmla="*/ 284 w 312"/>
                <a:gd name="T33" fmla="*/ 156 h 205"/>
                <a:gd name="T34" fmla="*/ 284 w 312"/>
                <a:gd name="T35" fmla="*/ 6 h 205"/>
                <a:gd name="T36" fmla="*/ 278 w 312"/>
                <a:gd name="T37" fmla="*/ 0 h 205"/>
                <a:gd name="T38" fmla="*/ 34 w 312"/>
                <a:gd name="T39" fmla="*/ 0 h 205"/>
                <a:gd name="T40" fmla="*/ 27 w 312"/>
                <a:gd name="T41" fmla="*/ 6 h 205"/>
                <a:gd name="T42" fmla="*/ 27 w 312"/>
                <a:gd name="T43" fmla="*/ 156 h 205"/>
                <a:gd name="T44" fmla="*/ 34 w 312"/>
                <a:gd name="T45" fmla="*/ 163 h 205"/>
                <a:gd name="T46" fmla="*/ 50 w 312"/>
                <a:gd name="T47" fmla="*/ 22 h 205"/>
                <a:gd name="T48" fmla="*/ 262 w 312"/>
                <a:gd name="T49" fmla="*/ 22 h 205"/>
                <a:gd name="T50" fmla="*/ 262 w 312"/>
                <a:gd name="T51" fmla="*/ 140 h 205"/>
                <a:gd name="T52" fmla="*/ 50 w 312"/>
                <a:gd name="T53" fmla="*/ 140 h 205"/>
                <a:gd name="T54" fmla="*/ 50 w 312"/>
                <a:gd name="T55" fmla="*/ 2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2" h="205">
                  <a:moveTo>
                    <a:pt x="311" y="175"/>
                  </a:moveTo>
                  <a:cubicBezTo>
                    <a:pt x="311" y="174"/>
                    <a:pt x="311" y="174"/>
                    <a:pt x="310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1" y="174"/>
                    <a:pt x="1" y="174"/>
                    <a:pt x="0" y="175"/>
                  </a:cubicBezTo>
                  <a:cubicBezTo>
                    <a:pt x="0" y="175"/>
                    <a:pt x="0" y="175"/>
                    <a:pt x="0" y="176"/>
                  </a:cubicBezTo>
                  <a:cubicBezTo>
                    <a:pt x="0" y="176"/>
                    <a:pt x="5" y="205"/>
                    <a:pt x="41" y="205"/>
                  </a:cubicBezTo>
                  <a:cubicBezTo>
                    <a:pt x="271" y="205"/>
                    <a:pt x="271" y="205"/>
                    <a:pt x="271" y="205"/>
                  </a:cubicBezTo>
                  <a:cubicBezTo>
                    <a:pt x="307" y="205"/>
                    <a:pt x="312" y="176"/>
                    <a:pt x="312" y="176"/>
                  </a:cubicBezTo>
                  <a:cubicBezTo>
                    <a:pt x="312" y="175"/>
                    <a:pt x="312" y="175"/>
                    <a:pt x="311" y="175"/>
                  </a:cubicBezTo>
                  <a:close/>
                  <a:moveTo>
                    <a:pt x="179" y="195"/>
                  </a:moveTo>
                  <a:cubicBezTo>
                    <a:pt x="133" y="195"/>
                    <a:pt x="133" y="195"/>
                    <a:pt x="133" y="195"/>
                  </a:cubicBezTo>
                  <a:cubicBezTo>
                    <a:pt x="133" y="184"/>
                    <a:pt x="133" y="184"/>
                    <a:pt x="133" y="184"/>
                  </a:cubicBezTo>
                  <a:cubicBezTo>
                    <a:pt x="179" y="184"/>
                    <a:pt x="179" y="184"/>
                    <a:pt x="179" y="184"/>
                  </a:cubicBezTo>
                  <a:lnTo>
                    <a:pt x="179" y="195"/>
                  </a:lnTo>
                  <a:close/>
                  <a:moveTo>
                    <a:pt x="34" y="163"/>
                  </a:moveTo>
                  <a:cubicBezTo>
                    <a:pt x="278" y="163"/>
                    <a:pt x="278" y="163"/>
                    <a:pt x="278" y="163"/>
                  </a:cubicBezTo>
                  <a:cubicBezTo>
                    <a:pt x="282" y="163"/>
                    <a:pt x="284" y="160"/>
                    <a:pt x="284" y="156"/>
                  </a:cubicBezTo>
                  <a:cubicBezTo>
                    <a:pt x="284" y="6"/>
                    <a:pt x="284" y="6"/>
                    <a:pt x="284" y="6"/>
                  </a:cubicBezTo>
                  <a:cubicBezTo>
                    <a:pt x="284" y="3"/>
                    <a:pt x="282" y="0"/>
                    <a:pt x="27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0" y="0"/>
                    <a:pt x="27" y="3"/>
                    <a:pt x="27" y="6"/>
                  </a:cubicBezTo>
                  <a:cubicBezTo>
                    <a:pt x="27" y="156"/>
                    <a:pt x="27" y="156"/>
                    <a:pt x="27" y="156"/>
                  </a:cubicBezTo>
                  <a:cubicBezTo>
                    <a:pt x="27" y="160"/>
                    <a:pt x="30" y="163"/>
                    <a:pt x="34" y="163"/>
                  </a:cubicBezTo>
                  <a:close/>
                  <a:moveTo>
                    <a:pt x="50" y="22"/>
                  </a:moveTo>
                  <a:cubicBezTo>
                    <a:pt x="262" y="22"/>
                    <a:pt x="262" y="22"/>
                    <a:pt x="262" y="22"/>
                  </a:cubicBezTo>
                  <a:cubicBezTo>
                    <a:pt x="262" y="140"/>
                    <a:pt x="262" y="140"/>
                    <a:pt x="262" y="140"/>
                  </a:cubicBezTo>
                  <a:cubicBezTo>
                    <a:pt x="50" y="140"/>
                    <a:pt x="50" y="140"/>
                    <a:pt x="50" y="140"/>
                  </a:cubicBezTo>
                  <a:lnTo>
                    <a:pt x="50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</p:grpSp>
      <p:grpSp>
        <p:nvGrpSpPr>
          <p:cNvPr id="559" name="Group 558"/>
          <p:cNvGrpSpPr/>
          <p:nvPr/>
        </p:nvGrpSpPr>
        <p:grpSpPr>
          <a:xfrm>
            <a:off x="1684834" y="1226175"/>
            <a:ext cx="1028104" cy="2899048"/>
            <a:chOff x="1684834" y="1362478"/>
            <a:chExt cx="1028104" cy="2899048"/>
          </a:xfrm>
        </p:grpSpPr>
        <p:grpSp>
          <p:nvGrpSpPr>
            <p:cNvPr id="7321" name="Group 7320"/>
            <p:cNvGrpSpPr/>
            <p:nvPr/>
          </p:nvGrpSpPr>
          <p:grpSpPr>
            <a:xfrm>
              <a:off x="1684834" y="1362478"/>
              <a:ext cx="1028104" cy="2899048"/>
              <a:chOff x="1684834" y="1209005"/>
              <a:chExt cx="1028104" cy="2899048"/>
            </a:xfrm>
          </p:grpSpPr>
          <p:sp>
            <p:nvSpPr>
              <p:cNvPr id="576" name="Oval 127"/>
              <p:cNvSpPr>
                <a:spLocks noChangeArrowheads="1"/>
              </p:cNvSpPr>
              <p:nvPr/>
            </p:nvSpPr>
            <p:spPr bwMode="auto">
              <a:xfrm rot="5400000">
                <a:off x="1684834" y="2212776"/>
                <a:ext cx="310896" cy="310896"/>
              </a:xfrm>
              <a:prstGeom prst="ellipse">
                <a:avLst/>
              </a:prstGeom>
              <a:solidFill>
                <a:srgbClr val="36A4D7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9" name="Oval 130"/>
              <p:cNvSpPr>
                <a:spLocks noChangeArrowheads="1"/>
              </p:cNvSpPr>
              <p:nvPr/>
            </p:nvSpPr>
            <p:spPr bwMode="auto">
              <a:xfrm rot="5400000">
                <a:off x="2007669" y="1519433"/>
                <a:ext cx="310896" cy="310896"/>
              </a:xfrm>
              <a:prstGeom prst="ellipse">
                <a:avLst/>
              </a:prstGeom>
              <a:solidFill>
                <a:srgbClr val="36A4D7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0" name="Oval 131"/>
              <p:cNvSpPr>
                <a:spLocks noChangeArrowheads="1"/>
              </p:cNvSpPr>
              <p:nvPr/>
            </p:nvSpPr>
            <p:spPr bwMode="auto">
              <a:xfrm rot="5400000">
                <a:off x="1936566" y="1209005"/>
                <a:ext cx="310896" cy="310896"/>
              </a:xfrm>
              <a:prstGeom prst="ellipse">
                <a:avLst/>
              </a:prstGeom>
              <a:solidFill>
                <a:srgbClr val="36A4D7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1" name="Oval 132"/>
              <p:cNvSpPr>
                <a:spLocks noChangeArrowheads="1"/>
              </p:cNvSpPr>
              <p:nvPr/>
            </p:nvSpPr>
            <p:spPr bwMode="auto">
              <a:xfrm rot="5400000">
                <a:off x="1734780" y="2881891"/>
                <a:ext cx="310896" cy="310896"/>
              </a:xfrm>
              <a:prstGeom prst="ellipse">
                <a:avLst/>
              </a:prstGeom>
              <a:solidFill>
                <a:srgbClr val="36A4D7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2" name="Oval 133"/>
              <p:cNvSpPr>
                <a:spLocks noChangeArrowheads="1"/>
              </p:cNvSpPr>
              <p:nvPr/>
            </p:nvSpPr>
            <p:spPr bwMode="auto">
              <a:xfrm rot="5400000">
                <a:off x="1824240" y="3206963"/>
                <a:ext cx="310896" cy="310896"/>
              </a:xfrm>
              <a:prstGeom prst="ellipse">
                <a:avLst/>
              </a:prstGeom>
              <a:solidFill>
                <a:srgbClr val="36A4D7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3" name="Oval 134"/>
              <p:cNvSpPr>
                <a:spLocks noChangeArrowheads="1"/>
              </p:cNvSpPr>
              <p:nvPr/>
            </p:nvSpPr>
            <p:spPr bwMode="auto">
              <a:xfrm rot="5400000">
                <a:off x="1882461" y="3797157"/>
                <a:ext cx="310896" cy="310896"/>
              </a:xfrm>
              <a:prstGeom prst="ellipse">
                <a:avLst/>
              </a:prstGeom>
              <a:solidFill>
                <a:srgbClr val="36A4D7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4" name="Oval 135"/>
              <p:cNvSpPr>
                <a:spLocks noChangeArrowheads="1"/>
              </p:cNvSpPr>
              <p:nvPr/>
            </p:nvSpPr>
            <p:spPr bwMode="auto">
              <a:xfrm rot="5400000">
                <a:off x="2293829" y="3133314"/>
                <a:ext cx="310896" cy="310896"/>
              </a:xfrm>
              <a:prstGeom prst="ellipse">
                <a:avLst/>
              </a:prstGeom>
              <a:solidFill>
                <a:srgbClr val="36A4D7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5" name="Oval 136"/>
              <p:cNvSpPr>
                <a:spLocks noChangeArrowheads="1"/>
              </p:cNvSpPr>
              <p:nvPr/>
            </p:nvSpPr>
            <p:spPr bwMode="auto">
              <a:xfrm rot="5400000">
                <a:off x="2105702" y="3382613"/>
                <a:ext cx="310896" cy="310896"/>
              </a:xfrm>
              <a:prstGeom prst="ellipse">
                <a:avLst/>
              </a:prstGeom>
              <a:solidFill>
                <a:srgbClr val="36A4D7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6" name="Oval 137"/>
              <p:cNvSpPr>
                <a:spLocks noChangeArrowheads="1"/>
              </p:cNvSpPr>
              <p:nvPr/>
            </p:nvSpPr>
            <p:spPr bwMode="auto">
              <a:xfrm rot="5400000">
                <a:off x="2349296" y="3591261"/>
                <a:ext cx="310896" cy="310896"/>
              </a:xfrm>
              <a:prstGeom prst="ellipse">
                <a:avLst/>
              </a:prstGeom>
              <a:solidFill>
                <a:srgbClr val="36A4D7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7" name="Oval 148"/>
              <p:cNvSpPr>
                <a:spLocks noChangeArrowheads="1"/>
              </p:cNvSpPr>
              <p:nvPr/>
            </p:nvSpPr>
            <p:spPr bwMode="auto">
              <a:xfrm rot="5400000">
                <a:off x="2401531" y="1695291"/>
                <a:ext cx="310896" cy="310896"/>
              </a:xfrm>
              <a:prstGeom prst="ellipse">
                <a:avLst/>
              </a:prstGeom>
              <a:solidFill>
                <a:srgbClr val="36A4D7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8" name="Oval 149"/>
              <p:cNvSpPr>
                <a:spLocks noChangeArrowheads="1"/>
              </p:cNvSpPr>
              <p:nvPr/>
            </p:nvSpPr>
            <p:spPr bwMode="auto">
              <a:xfrm rot="5400000">
                <a:off x="2265387" y="2133928"/>
                <a:ext cx="310896" cy="310896"/>
              </a:xfrm>
              <a:prstGeom prst="ellipse">
                <a:avLst/>
              </a:prstGeom>
              <a:solidFill>
                <a:srgbClr val="36A4D7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9" name="Oval 150"/>
              <p:cNvSpPr>
                <a:spLocks noChangeArrowheads="1"/>
              </p:cNvSpPr>
              <p:nvPr/>
            </p:nvSpPr>
            <p:spPr bwMode="auto">
              <a:xfrm rot="5400000">
                <a:off x="2402042" y="2589723"/>
                <a:ext cx="310896" cy="310896"/>
              </a:xfrm>
              <a:prstGeom prst="ellipse">
                <a:avLst/>
              </a:prstGeom>
              <a:solidFill>
                <a:srgbClr val="36A4D7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554" name="Freeform 172"/>
            <p:cNvSpPr>
              <a:spLocks noEditPoints="1"/>
            </p:cNvSpPr>
            <p:nvPr/>
          </p:nvSpPr>
          <p:spPr bwMode="auto">
            <a:xfrm>
              <a:off x="2507757" y="1925320"/>
              <a:ext cx="88300" cy="166528"/>
            </a:xfrm>
            <a:custGeom>
              <a:avLst/>
              <a:gdLst>
                <a:gd name="T0" fmla="*/ 194 w 208"/>
                <a:gd name="T1" fmla="*/ 0 h 392"/>
                <a:gd name="T2" fmla="*/ 14 w 208"/>
                <a:gd name="T3" fmla="*/ 0 h 392"/>
                <a:gd name="T4" fmla="*/ 0 w 208"/>
                <a:gd name="T5" fmla="*/ 14 h 392"/>
                <a:gd name="T6" fmla="*/ 0 w 208"/>
                <a:gd name="T7" fmla="*/ 378 h 392"/>
                <a:gd name="T8" fmla="*/ 14 w 208"/>
                <a:gd name="T9" fmla="*/ 392 h 392"/>
                <a:gd name="T10" fmla="*/ 194 w 208"/>
                <a:gd name="T11" fmla="*/ 392 h 392"/>
                <a:gd name="T12" fmla="*/ 208 w 208"/>
                <a:gd name="T13" fmla="*/ 378 h 392"/>
                <a:gd name="T14" fmla="*/ 208 w 208"/>
                <a:gd name="T15" fmla="*/ 14 h 392"/>
                <a:gd name="T16" fmla="*/ 194 w 208"/>
                <a:gd name="T17" fmla="*/ 0 h 392"/>
                <a:gd name="T18" fmla="*/ 80 w 208"/>
                <a:gd name="T19" fmla="*/ 24 h 392"/>
                <a:gd name="T20" fmla="*/ 128 w 208"/>
                <a:gd name="T21" fmla="*/ 24 h 392"/>
                <a:gd name="T22" fmla="*/ 132 w 208"/>
                <a:gd name="T23" fmla="*/ 28 h 392"/>
                <a:gd name="T24" fmla="*/ 128 w 208"/>
                <a:gd name="T25" fmla="*/ 32 h 392"/>
                <a:gd name="T26" fmla="*/ 80 w 208"/>
                <a:gd name="T27" fmla="*/ 32 h 392"/>
                <a:gd name="T28" fmla="*/ 76 w 208"/>
                <a:gd name="T29" fmla="*/ 28 h 392"/>
                <a:gd name="T30" fmla="*/ 80 w 208"/>
                <a:gd name="T31" fmla="*/ 24 h 392"/>
                <a:gd name="T32" fmla="*/ 102 w 208"/>
                <a:gd name="T33" fmla="*/ 380 h 392"/>
                <a:gd name="T34" fmla="*/ 88 w 208"/>
                <a:gd name="T35" fmla="*/ 366 h 392"/>
                <a:gd name="T36" fmla="*/ 102 w 208"/>
                <a:gd name="T37" fmla="*/ 352 h 392"/>
                <a:gd name="T38" fmla="*/ 116 w 208"/>
                <a:gd name="T39" fmla="*/ 366 h 392"/>
                <a:gd name="T40" fmla="*/ 102 w 208"/>
                <a:gd name="T41" fmla="*/ 380 h 392"/>
                <a:gd name="T42" fmla="*/ 192 w 208"/>
                <a:gd name="T43" fmla="*/ 342 h 392"/>
                <a:gd name="T44" fmla="*/ 16 w 208"/>
                <a:gd name="T45" fmla="*/ 342 h 392"/>
                <a:gd name="T46" fmla="*/ 16 w 208"/>
                <a:gd name="T47" fmla="*/ 50 h 392"/>
                <a:gd name="T48" fmla="*/ 192 w 208"/>
                <a:gd name="T49" fmla="*/ 50 h 392"/>
                <a:gd name="T50" fmla="*/ 192 w 208"/>
                <a:gd name="T51" fmla="*/ 34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8" h="392">
                  <a:moveTo>
                    <a:pt x="19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78"/>
                    <a:pt x="0" y="378"/>
                    <a:pt x="0" y="378"/>
                  </a:cubicBezTo>
                  <a:cubicBezTo>
                    <a:pt x="0" y="386"/>
                    <a:pt x="6" y="392"/>
                    <a:pt x="14" y="392"/>
                  </a:cubicBezTo>
                  <a:cubicBezTo>
                    <a:pt x="194" y="392"/>
                    <a:pt x="194" y="392"/>
                    <a:pt x="194" y="392"/>
                  </a:cubicBezTo>
                  <a:cubicBezTo>
                    <a:pt x="202" y="392"/>
                    <a:pt x="208" y="386"/>
                    <a:pt x="208" y="378"/>
                  </a:cubicBezTo>
                  <a:cubicBezTo>
                    <a:pt x="208" y="14"/>
                    <a:pt x="208" y="14"/>
                    <a:pt x="208" y="14"/>
                  </a:cubicBezTo>
                  <a:cubicBezTo>
                    <a:pt x="208" y="6"/>
                    <a:pt x="202" y="0"/>
                    <a:pt x="194" y="0"/>
                  </a:cubicBezTo>
                  <a:close/>
                  <a:moveTo>
                    <a:pt x="80" y="24"/>
                  </a:moveTo>
                  <a:cubicBezTo>
                    <a:pt x="128" y="24"/>
                    <a:pt x="128" y="24"/>
                    <a:pt x="128" y="24"/>
                  </a:cubicBezTo>
                  <a:cubicBezTo>
                    <a:pt x="130" y="24"/>
                    <a:pt x="132" y="26"/>
                    <a:pt x="132" y="28"/>
                  </a:cubicBezTo>
                  <a:cubicBezTo>
                    <a:pt x="132" y="30"/>
                    <a:pt x="130" y="32"/>
                    <a:pt x="128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78" y="32"/>
                    <a:pt x="76" y="30"/>
                    <a:pt x="76" y="28"/>
                  </a:cubicBezTo>
                  <a:cubicBezTo>
                    <a:pt x="76" y="26"/>
                    <a:pt x="78" y="24"/>
                    <a:pt x="80" y="24"/>
                  </a:cubicBezTo>
                  <a:close/>
                  <a:moveTo>
                    <a:pt x="102" y="380"/>
                  </a:moveTo>
                  <a:cubicBezTo>
                    <a:pt x="94" y="380"/>
                    <a:pt x="88" y="374"/>
                    <a:pt x="88" y="366"/>
                  </a:cubicBezTo>
                  <a:cubicBezTo>
                    <a:pt x="88" y="358"/>
                    <a:pt x="94" y="352"/>
                    <a:pt x="102" y="352"/>
                  </a:cubicBezTo>
                  <a:cubicBezTo>
                    <a:pt x="110" y="352"/>
                    <a:pt x="116" y="358"/>
                    <a:pt x="116" y="366"/>
                  </a:cubicBezTo>
                  <a:cubicBezTo>
                    <a:pt x="116" y="374"/>
                    <a:pt x="110" y="380"/>
                    <a:pt x="102" y="380"/>
                  </a:cubicBezTo>
                  <a:close/>
                  <a:moveTo>
                    <a:pt x="192" y="342"/>
                  </a:moveTo>
                  <a:cubicBezTo>
                    <a:pt x="16" y="342"/>
                    <a:pt x="16" y="342"/>
                    <a:pt x="16" y="342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92" y="50"/>
                    <a:pt x="192" y="50"/>
                    <a:pt x="192" y="50"/>
                  </a:cubicBezTo>
                  <a:lnTo>
                    <a:pt x="192" y="3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93" name="Freeform 167"/>
            <p:cNvSpPr>
              <a:spLocks noEditPoints="1"/>
            </p:cNvSpPr>
            <p:nvPr/>
          </p:nvSpPr>
          <p:spPr bwMode="auto">
            <a:xfrm>
              <a:off x="2075284" y="1775699"/>
              <a:ext cx="179814" cy="118086"/>
            </a:xfrm>
            <a:custGeom>
              <a:avLst/>
              <a:gdLst>
                <a:gd name="T0" fmla="*/ 311 w 312"/>
                <a:gd name="T1" fmla="*/ 175 h 205"/>
                <a:gd name="T2" fmla="*/ 310 w 312"/>
                <a:gd name="T3" fmla="*/ 174 h 205"/>
                <a:gd name="T4" fmla="*/ 2 w 312"/>
                <a:gd name="T5" fmla="*/ 174 h 205"/>
                <a:gd name="T6" fmla="*/ 0 w 312"/>
                <a:gd name="T7" fmla="*/ 175 h 205"/>
                <a:gd name="T8" fmla="*/ 0 w 312"/>
                <a:gd name="T9" fmla="*/ 176 h 205"/>
                <a:gd name="T10" fmla="*/ 41 w 312"/>
                <a:gd name="T11" fmla="*/ 205 h 205"/>
                <a:gd name="T12" fmla="*/ 271 w 312"/>
                <a:gd name="T13" fmla="*/ 205 h 205"/>
                <a:gd name="T14" fmla="*/ 312 w 312"/>
                <a:gd name="T15" fmla="*/ 176 h 205"/>
                <a:gd name="T16" fmla="*/ 311 w 312"/>
                <a:gd name="T17" fmla="*/ 175 h 205"/>
                <a:gd name="T18" fmla="*/ 179 w 312"/>
                <a:gd name="T19" fmla="*/ 195 h 205"/>
                <a:gd name="T20" fmla="*/ 133 w 312"/>
                <a:gd name="T21" fmla="*/ 195 h 205"/>
                <a:gd name="T22" fmla="*/ 133 w 312"/>
                <a:gd name="T23" fmla="*/ 184 h 205"/>
                <a:gd name="T24" fmla="*/ 179 w 312"/>
                <a:gd name="T25" fmla="*/ 184 h 205"/>
                <a:gd name="T26" fmla="*/ 179 w 312"/>
                <a:gd name="T27" fmla="*/ 195 h 205"/>
                <a:gd name="T28" fmla="*/ 34 w 312"/>
                <a:gd name="T29" fmla="*/ 163 h 205"/>
                <a:gd name="T30" fmla="*/ 278 w 312"/>
                <a:gd name="T31" fmla="*/ 163 h 205"/>
                <a:gd name="T32" fmla="*/ 284 w 312"/>
                <a:gd name="T33" fmla="*/ 156 h 205"/>
                <a:gd name="T34" fmla="*/ 284 w 312"/>
                <a:gd name="T35" fmla="*/ 6 h 205"/>
                <a:gd name="T36" fmla="*/ 278 w 312"/>
                <a:gd name="T37" fmla="*/ 0 h 205"/>
                <a:gd name="T38" fmla="*/ 34 w 312"/>
                <a:gd name="T39" fmla="*/ 0 h 205"/>
                <a:gd name="T40" fmla="*/ 27 w 312"/>
                <a:gd name="T41" fmla="*/ 6 h 205"/>
                <a:gd name="T42" fmla="*/ 27 w 312"/>
                <a:gd name="T43" fmla="*/ 156 h 205"/>
                <a:gd name="T44" fmla="*/ 34 w 312"/>
                <a:gd name="T45" fmla="*/ 163 h 205"/>
                <a:gd name="T46" fmla="*/ 50 w 312"/>
                <a:gd name="T47" fmla="*/ 22 h 205"/>
                <a:gd name="T48" fmla="*/ 262 w 312"/>
                <a:gd name="T49" fmla="*/ 22 h 205"/>
                <a:gd name="T50" fmla="*/ 262 w 312"/>
                <a:gd name="T51" fmla="*/ 140 h 205"/>
                <a:gd name="T52" fmla="*/ 50 w 312"/>
                <a:gd name="T53" fmla="*/ 140 h 205"/>
                <a:gd name="T54" fmla="*/ 50 w 312"/>
                <a:gd name="T55" fmla="*/ 2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2" h="205">
                  <a:moveTo>
                    <a:pt x="311" y="175"/>
                  </a:moveTo>
                  <a:cubicBezTo>
                    <a:pt x="311" y="174"/>
                    <a:pt x="311" y="174"/>
                    <a:pt x="310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1" y="174"/>
                    <a:pt x="1" y="174"/>
                    <a:pt x="0" y="175"/>
                  </a:cubicBezTo>
                  <a:cubicBezTo>
                    <a:pt x="0" y="175"/>
                    <a:pt x="0" y="175"/>
                    <a:pt x="0" y="176"/>
                  </a:cubicBezTo>
                  <a:cubicBezTo>
                    <a:pt x="0" y="176"/>
                    <a:pt x="5" y="205"/>
                    <a:pt x="41" y="205"/>
                  </a:cubicBezTo>
                  <a:cubicBezTo>
                    <a:pt x="271" y="205"/>
                    <a:pt x="271" y="205"/>
                    <a:pt x="271" y="205"/>
                  </a:cubicBezTo>
                  <a:cubicBezTo>
                    <a:pt x="307" y="205"/>
                    <a:pt x="312" y="176"/>
                    <a:pt x="312" y="176"/>
                  </a:cubicBezTo>
                  <a:cubicBezTo>
                    <a:pt x="312" y="175"/>
                    <a:pt x="312" y="175"/>
                    <a:pt x="311" y="175"/>
                  </a:cubicBezTo>
                  <a:close/>
                  <a:moveTo>
                    <a:pt x="179" y="195"/>
                  </a:moveTo>
                  <a:cubicBezTo>
                    <a:pt x="133" y="195"/>
                    <a:pt x="133" y="195"/>
                    <a:pt x="133" y="195"/>
                  </a:cubicBezTo>
                  <a:cubicBezTo>
                    <a:pt x="133" y="184"/>
                    <a:pt x="133" y="184"/>
                    <a:pt x="133" y="184"/>
                  </a:cubicBezTo>
                  <a:cubicBezTo>
                    <a:pt x="179" y="184"/>
                    <a:pt x="179" y="184"/>
                    <a:pt x="179" y="184"/>
                  </a:cubicBezTo>
                  <a:lnTo>
                    <a:pt x="179" y="195"/>
                  </a:lnTo>
                  <a:close/>
                  <a:moveTo>
                    <a:pt x="34" y="163"/>
                  </a:moveTo>
                  <a:cubicBezTo>
                    <a:pt x="278" y="163"/>
                    <a:pt x="278" y="163"/>
                    <a:pt x="278" y="163"/>
                  </a:cubicBezTo>
                  <a:cubicBezTo>
                    <a:pt x="282" y="163"/>
                    <a:pt x="284" y="160"/>
                    <a:pt x="284" y="156"/>
                  </a:cubicBezTo>
                  <a:cubicBezTo>
                    <a:pt x="284" y="6"/>
                    <a:pt x="284" y="6"/>
                    <a:pt x="284" y="6"/>
                  </a:cubicBezTo>
                  <a:cubicBezTo>
                    <a:pt x="284" y="3"/>
                    <a:pt x="282" y="0"/>
                    <a:pt x="27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0" y="0"/>
                    <a:pt x="27" y="3"/>
                    <a:pt x="27" y="6"/>
                  </a:cubicBezTo>
                  <a:cubicBezTo>
                    <a:pt x="27" y="156"/>
                    <a:pt x="27" y="156"/>
                    <a:pt x="27" y="156"/>
                  </a:cubicBezTo>
                  <a:cubicBezTo>
                    <a:pt x="27" y="160"/>
                    <a:pt x="30" y="163"/>
                    <a:pt x="34" y="163"/>
                  </a:cubicBezTo>
                  <a:close/>
                  <a:moveTo>
                    <a:pt x="50" y="22"/>
                  </a:moveTo>
                  <a:cubicBezTo>
                    <a:pt x="262" y="22"/>
                    <a:pt x="262" y="22"/>
                    <a:pt x="262" y="22"/>
                  </a:cubicBezTo>
                  <a:cubicBezTo>
                    <a:pt x="262" y="140"/>
                    <a:pt x="262" y="140"/>
                    <a:pt x="262" y="140"/>
                  </a:cubicBezTo>
                  <a:cubicBezTo>
                    <a:pt x="50" y="140"/>
                    <a:pt x="50" y="140"/>
                    <a:pt x="50" y="140"/>
                  </a:cubicBezTo>
                  <a:lnTo>
                    <a:pt x="50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557" name="Freeform 177"/>
            <p:cNvSpPr>
              <a:spLocks noEditPoints="1"/>
            </p:cNvSpPr>
            <p:nvPr/>
          </p:nvSpPr>
          <p:spPr bwMode="auto">
            <a:xfrm>
              <a:off x="2028340" y="1444191"/>
              <a:ext cx="106064" cy="153640"/>
            </a:xfrm>
            <a:custGeom>
              <a:avLst/>
              <a:gdLst>
                <a:gd name="T0" fmla="*/ 371 w 384"/>
                <a:gd name="T1" fmla="*/ 0 h 556"/>
                <a:gd name="T2" fmla="*/ 13 w 384"/>
                <a:gd name="T3" fmla="*/ 0 h 556"/>
                <a:gd name="T4" fmla="*/ 0 w 384"/>
                <a:gd name="T5" fmla="*/ 14 h 556"/>
                <a:gd name="T6" fmla="*/ 0 w 384"/>
                <a:gd name="T7" fmla="*/ 542 h 556"/>
                <a:gd name="T8" fmla="*/ 13 w 384"/>
                <a:gd name="T9" fmla="*/ 556 h 556"/>
                <a:gd name="T10" fmla="*/ 371 w 384"/>
                <a:gd name="T11" fmla="*/ 556 h 556"/>
                <a:gd name="T12" fmla="*/ 384 w 384"/>
                <a:gd name="T13" fmla="*/ 542 h 556"/>
                <a:gd name="T14" fmla="*/ 384 w 384"/>
                <a:gd name="T15" fmla="*/ 14 h 556"/>
                <a:gd name="T16" fmla="*/ 371 w 384"/>
                <a:gd name="T17" fmla="*/ 0 h 556"/>
                <a:gd name="T18" fmla="*/ 192 w 384"/>
                <a:gd name="T19" fmla="*/ 528 h 556"/>
                <a:gd name="T20" fmla="*/ 170 w 384"/>
                <a:gd name="T21" fmla="*/ 506 h 556"/>
                <a:gd name="T22" fmla="*/ 192 w 384"/>
                <a:gd name="T23" fmla="*/ 484 h 556"/>
                <a:gd name="T24" fmla="*/ 214 w 384"/>
                <a:gd name="T25" fmla="*/ 506 h 556"/>
                <a:gd name="T26" fmla="*/ 192 w 384"/>
                <a:gd name="T27" fmla="*/ 528 h 556"/>
                <a:gd name="T28" fmla="*/ 358 w 384"/>
                <a:gd name="T29" fmla="*/ 464 h 556"/>
                <a:gd name="T30" fmla="*/ 26 w 384"/>
                <a:gd name="T31" fmla="*/ 464 h 556"/>
                <a:gd name="T32" fmla="*/ 26 w 384"/>
                <a:gd name="T33" fmla="*/ 32 h 556"/>
                <a:gd name="T34" fmla="*/ 358 w 384"/>
                <a:gd name="T35" fmla="*/ 32 h 556"/>
                <a:gd name="T36" fmla="*/ 358 w 384"/>
                <a:gd name="T37" fmla="*/ 464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4" h="556">
                  <a:moveTo>
                    <a:pt x="371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542"/>
                    <a:pt x="0" y="542"/>
                    <a:pt x="0" y="542"/>
                  </a:cubicBezTo>
                  <a:cubicBezTo>
                    <a:pt x="0" y="550"/>
                    <a:pt x="6" y="556"/>
                    <a:pt x="13" y="556"/>
                  </a:cubicBezTo>
                  <a:cubicBezTo>
                    <a:pt x="371" y="556"/>
                    <a:pt x="371" y="556"/>
                    <a:pt x="371" y="556"/>
                  </a:cubicBezTo>
                  <a:cubicBezTo>
                    <a:pt x="378" y="556"/>
                    <a:pt x="384" y="550"/>
                    <a:pt x="384" y="542"/>
                  </a:cubicBezTo>
                  <a:cubicBezTo>
                    <a:pt x="384" y="14"/>
                    <a:pt x="384" y="14"/>
                    <a:pt x="384" y="14"/>
                  </a:cubicBezTo>
                  <a:cubicBezTo>
                    <a:pt x="384" y="6"/>
                    <a:pt x="378" y="0"/>
                    <a:pt x="371" y="0"/>
                  </a:cubicBezTo>
                  <a:close/>
                  <a:moveTo>
                    <a:pt x="192" y="528"/>
                  </a:moveTo>
                  <a:cubicBezTo>
                    <a:pt x="180" y="528"/>
                    <a:pt x="170" y="518"/>
                    <a:pt x="170" y="506"/>
                  </a:cubicBezTo>
                  <a:cubicBezTo>
                    <a:pt x="170" y="494"/>
                    <a:pt x="180" y="484"/>
                    <a:pt x="192" y="484"/>
                  </a:cubicBezTo>
                  <a:cubicBezTo>
                    <a:pt x="204" y="484"/>
                    <a:pt x="214" y="494"/>
                    <a:pt x="214" y="506"/>
                  </a:cubicBezTo>
                  <a:cubicBezTo>
                    <a:pt x="214" y="518"/>
                    <a:pt x="204" y="528"/>
                    <a:pt x="192" y="528"/>
                  </a:cubicBezTo>
                  <a:close/>
                  <a:moveTo>
                    <a:pt x="358" y="464"/>
                  </a:moveTo>
                  <a:cubicBezTo>
                    <a:pt x="26" y="464"/>
                    <a:pt x="26" y="464"/>
                    <a:pt x="26" y="464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358" y="32"/>
                    <a:pt x="358" y="32"/>
                    <a:pt x="358" y="32"/>
                  </a:cubicBezTo>
                  <a:lnTo>
                    <a:pt x="358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98" name="Freeform 177"/>
            <p:cNvSpPr>
              <a:spLocks noEditPoints="1"/>
            </p:cNvSpPr>
            <p:nvPr/>
          </p:nvSpPr>
          <p:spPr bwMode="auto">
            <a:xfrm>
              <a:off x="2505860" y="2818331"/>
              <a:ext cx="106064" cy="153640"/>
            </a:xfrm>
            <a:custGeom>
              <a:avLst/>
              <a:gdLst>
                <a:gd name="T0" fmla="*/ 371 w 384"/>
                <a:gd name="T1" fmla="*/ 0 h 556"/>
                <a:gd name="T2" fmla="*/ 13 w 384"/>
                <a:gd name="T3" fmla="*/ 0 h 556"/>
                <a:gd name="T4" fmla="*/ 0 w 384"/>
                <a:gd name="T5" fmla="*/ 14 h 556"/>
                <a:gd name="T6" fmla="*/ 0 w 384"/>
                <a:gd name="T7" fmla="*/ 542 h 556"/>
                <a:gd name="T8" fmla="*/ 13 w 384"/>
                <a:gd name="T9" fmla="*/ 556 h 556"/>
                <a:gd name="T10" fmla="*/ 371 w 384"/>
                <a:gd name="T11" fmla="*/ 556 h 556"/>
                <a:gd name="T12" fmla="*/ 384 w 384"/>
                <a:gd name="T13" fmla="*/ 542 h 556"/>
                <a:gd name="T14" fmla="*/ 384 w 384"/>
                <a:gd name="T15" fmla="*/ 14 h 556"/>
                <a:gd name="T16" fmla="*/ 371 w 384"/>
                <a:gd name="T17" fmla="*/ 0 h 556"/>
                <a:gd name="T18" fmla="*/ 192 w 384"/>
                <a:gd name="T19" fmla="*/ 528 h 556"/>
                <a:gd name="T20" fmla="*/ 170 w 384"/>
                <a:gd name="T21" fmla="*/ 506 h 556"/>
                <a:gd name="T22" fmla="*/ 192 w 384"/>
                <a:gd name="T23" fmla="*/ 484 h 556"/>
                <a:gd name="T24" fmla="*/ 214 w 384"/>
                <a:gd name="T25" fmla="*/ 506 h 556"/>
                <a:gd name="T26" fmla="*/ 192 w 384"/>
                <a:gd name="T27" fmla="*/ 528 h 556"/>
                <a:gd name="T28" fmla="*/ 358 w 384"/>
                <a:gd name="T29" fmla="*/ 464 h 556"/>
                <a:gd name="T30" fmla="*/ 26 w 384"/>
                <a:gd name="T31" fmla="*/ 464 h 556"/>
                <a:gd name="T32" fmla="*/ 26 w 384"/>
                <a:gd name="T33" fmla="*/ 32 h 556"/>
                <a:gd name="T34" fmla="*/ 358 w 384"/>
                <a:gd name="T35" fmla="*/ 32 h 556"/>
                <a:gd name="T36" fmla="*/ 358 w 384"/>
                <a:gd name="T37" fmla="*/ 464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4" h="556">
                  <a:moveTo>
                    <a:pt x="371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542"/>
                    <a:pt x="0" y="542"/>
                    <a:pt x="0" y="542"/>
                  </a:cubicBezTo>
                  <a:cubicBezTo>
                    <a:pt x="0" y="550"/>
                    <a:pt x="6" y="556"/>
                    <a:pt x="13" y="556"/>
                  </a:cubicBezTo>
                  <a:cubicBezTo>
                    <a:pt x="371" y="556"/>
                    <a:pt x="371" y="556"/>
                    <a:pt x="371" y="556"/>
                  </a:cubicBezTo>
                  <a:cubicBezTo>
                    <a:pt x="378" y="556"/>
                    <a:pt x="384" y="550"/>
                    <a:pt x="384" y="542"/>
                  </a:cubicBezTo>
                  <a:cubicBezTo>
                    <a:pt x="384" y="14"/>
                    <a:pt x="384" y="14"/>
                    <a:pt x="384" y="14"/>
                  </a:cubicBezTo>
                  <a:cubicBezTo>
                    <a:pt x="384" y="6"/>
                    <a:pt x="378" y="0"/>
                    <a:pt x="371" y="0"/>
                  </a:cubicBezTo>
                  <a:close/>
                  <a:moveTo>
                    <a:pt x="192" y="528"/>
                  </a:moveTo>
                  <a:cubicBezTo>
                    <a:pt x="180" y="528"/>
                    <a:pt x="170" y="518"/>
                    <a:pt x="170" y="506"/>
                  </a:cubicBezTo>
                  <a:cubicBezTo>
                    <a:pt x="170" y="494"/>
                    <a:pt x="180" y="484"/>
                    <a:pt x="192" y="484"/>
                  </a:cubicBezTo>
                  <a:cubicBezTo>
                    <a:pt x="204" y="484"/>
                    <a:pt x="214" y="494"/>
                    <a:pt x="214" y="506"/>
                  </a:cubicBezTo>
                  <a:cubicBezTo>
                    <a:pt x="214" y="518"/>
                    <a:pt x="204" y="528"/>
                    <a:pt x="192" y="528"/>
                  </a:cubicBezTo>
                  <a:close/>
                  <a:moveTo>
                    <a:pt x="358" y="464"/>
                  </a:moveTo>
                  <a:cubicBezTo>
                    <a:pt x="26" y="464"/>
                    <a:pt x="26" y="464"/>
                    <a:pt x="26" y="464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358" y="32"/>
                    <a:pt x="358" y="32"/>
                    <a:pt x="358" y="32"/>
                  </a:cubicBezTo>
                  <a:lnTo>
                    <a:pt x="358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99" name="Freeform 167"/>
            <p:cNvSpPr>
              <a:spLocks noEditPoints="1"/>
            </p:cNvSpPr>
            <p:nvPr/>
          </p:nvSpPr>
          <p:spPr bwMode="auto">
            <a:xfrm>
              <a:off x="2331824" y="2387839"/>
              <a:ext cx="179814" cy="118086"/>
            </a:xfrm>
            <a:custGeom>
              <a:avLst/>
              <a:gdLst>
                <a:gd name="T0" fmla="*/ 311 w 312"/>
                <a:gd name="T1" fmla="*/ 175 h 205"/>
                <a:gd name="T2" fmla="*/ 310 w 312"/>
                <a:gd name="T3" fmla="*/ 174 h 205"/>
                <a:gd name="T4" fmla="*/ 2 w 312"/>
                <a:gd name="T5" fmla="*/ 174 h 205"/>
                <a:gd name="T6" fmla="*/ 0 w 312"/>
                <a:gd name="T7" fmla="*/ 175 h 205"/>
                <a:gd name="T8" fmla="*/ 0 w 312"/>
                <a:gd name="T9" fmla="*/ 176 h 205"/>
                <a:gd name="T10" fmla="*/ 41 w 312"/>
                <a:gd name="T11" fmla="*/ 205 h 205"/>
                <a:gd name="T12" fmla="*/ 271 w 312"/>
                <a:gd name="T13" fmla="*/ 205 h 205"/>
                <a:gd name="T14" fmla="*/ 312 w 312"/>
                <a:gd name="T15" fmla="*/ 176 h 205"/>
                <a:gd name="T16" fmla="*/ 311 w 312"/>
                <a:gd name="T17" fmla="*/ 175 h 205"/>
                <a:gd name="T18" fmla="*/ 179 w 312"/>
                <a:gd name="T19" fmla="*/ 195 h 205"/>
                <a:gd name="T20" fmla="*/ 133 w 312"/>
                <a:gd name="T21" fmla="*/ 195 h 205"/>
                <a:gd name="T22" fmla="*/ 133 w 312"/>
                <a:gd name="T23" fmla="*/ 184 h 205"/>
                <a:gd name="T24" fmla="*/ 179 w 312"/>
                <a:gd name="T25" fmla="*/ 184 h 205"/>
                <a:gd name="T26" fmla="*/ 179 w 312"/>
                <a:gd name="T27" fmla="*/ 195 h 205"/>
                <a:gd name="T28" fmla="*/ 34 w 312"/>
                <a:gd name="T29" fmla="*/ 163 h 205"/>
                <a:gd name="T30" fmla="*/ 278 w 312"/>
                <a:gd name="T31" fmla="*/ 163 h 205"/>
                <a:gd name="T32" fmla="*/ 284 w 312"/>
                <a:gd name="T33" fmla="*/ 156 h 205"/>
                <a:gd name="T34" fmla="*/ 284 w 312"/>
                <a:gd name="T35" fmla="*/ 6 h 205"/>
                <a:gd name="T36" fmla="*/ 278 w 312"/>
                <a:gd name="T37" fmla="*/ 0 h 205"/>
                <a:gd name="T38" fmla="*/ 34 w 312"/>
                <a:gd name="T39" fmla="*/ 0 h 205"/>
                <a:gd name="T40" fmla="*/ 27 w 312"/>
                <a:gd name="T41" fmla="*/ 6 h 205"/>
                <a:gd name="T42" fmla="*/ 27 w 312"/>
                <a:gd name="T43" fmla="*/ 156 h 205"/>
                <a:gd name="T44" fmla="*/ 34 w 312"/>
                <a:gd name="T45" fmla="*/ 163 h 205"/>
                <a:gd name="T46" fmla="*/ 50 w 312"/>
                <a:gd name="T47" fmla="*/ 22 h 205"/>
                <a:gd name="T48" fmla="*/ 262 w 312"/>
                <a:gd name="T49" fmla="*/ 22 h 205"/>
                <a:gd name="T50" fmla="*/ 262 w 312"/>
                <a:gd name="T51" fmla="*/ 140 h 205"/>
                <a:gd name="T52" fmla="*/ 50 w 312"/>
                <a:gd name="T53" fmla="*/ 140 h 205"/>
                <a:gd name="T54" fmla="*/ 50 w 312"/>
                <a:gd name="T55" fmla="*/ 2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2" h="205">
                  <a:moveTo>
                    <a:pt x="311" y="175"/>
                  </a:moveTo>
                  <a:cubicBezTo>
                    <a:pt x="311" y="174"/>
                    <a:pt x="311" y="174"/>
                    <a:pt x="310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1" y="174"/>
                    <a:pt x="1" y="174"/>
                    <a:pt x="0" y="175"/>
                  </a:cubicBezTo>
                  <a:cubicBezTo>
                    <a:pt x="0" y="175"/>
                    <a:pt x="0" y="175"/>
                    <a:pt x="0" y="176"/>
                  </a:cubicBezTo>
                  <a:cubicBezTo>
                    <a:pt x="0" y="176"/>
                    <a:pt x="5" y="205"/>
                    <a:pt x="41" y="205"/>
                  </a:cubicBezTo>
                  <a:cubicBezTo>
                    <a:pt x="271" y="205"/>
                    <a:pt x="271" y="205"/>
                    <a:pt x="271" y="205"/>
                  </a:cubicBezTo>
                  <a:cubicBezTo>
                    <a:pt x="307" y="205"/>
                    <a:pt x="312" y="176"/>
                    <a:pt x="312" y="176"/>
                  </a:cubicBezTo>
                  <a:cubicBezTo>
                    <a:pt x="312" y="175"/>
                    <a:pt x="312" y="175"/>
                    <a:pt x="311" y="175"/>
                  </a:cubicBezTo>
                  <a:close/>
                  <a:moveTo>
                    <a:pt x="179" y="195"/>
                  </a:moveTo>
                  <a:cubicBezTo>
                    <a:pt x="133" y="195"/>
                    <a:pt x="133" y="195"/>
                    <a:pt x="133" y="195"/>
                  </a:cubicBezTo>
                  <a:cubicBezTo>
                    <a:pt x="133" y="184"/>
                    <a:pt x="133" y="184"/>
                    <a:pt x="133" y="184"/>
                  </a:cubicBezTo>
                  <a:cubicBezTo>
                    <a:pt x="179" y="184"/>
                    <a:pt x="179" y="184"/>
                    <a:pt x="179" y="184"/>
                  </a:cubicBezTo>
                  <a:lnTo>
                    <a:pt x="179" y="195"/>
                  </a:lnTo>
                  <a:close/>
                  <a:moveTo>
                    <a:pt x="34" y="163"/>
                  </a:moveTo>
                  <a:cubicBezTo>
                    <a:pt x="278" y="163"/>
                    <a:pt x="278" y="163"/>
                    <a:pt x="278" y="163"/>
                  </a:cubicBezTo>
                  <a:cubicBezTo>
                    <a:pt x="282" y="163"/>
                    <a:pt x="284" y="160"/>
                    <a:pt x="284" y="156"/>
                  </a:cubicBezTo>
                  <a:cubicBezTo>
                    <a:pt x="284" y="6"/>
                    <a:pt x="284" y="6"/>
                    <a:pt x="284" y="6"/>
                  </a:cubicBezTo>
                  <a:cubicBezTo>
                    <a:pt x="284" y="3"/>
                    <a:pt x="282" y="0"/>
                    <a:pt x="27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0" y="0"/>
                    <a:pt x="27" y="3"/>
                    <a:pt x="27" y="6"/>
                  </a:cubicBezTo>
                  <a:cubicBezTo>
                    <a:pt x="27" y="156"/>
                    <a:pt x="27" y="156"/>
                    <a:pt x="27" y="156"/>
                  </a:cubicBezTo>
                  <a:cubicBezTo>
                    <a:pt x="27" y="160"/>
                    <a:pt x="30" y="163"/>
                    <a:pt x="34" y="163"/>
                  </a:cubicBezTo>
                  <a:close/>
                  <a:moveTo>
                    <a:pt x="50" y="22"/>
                  </a:moveTo>
                  <a:cubicBezTo>
                    <a:pt x="262" y="22"/>
                    <a:pt x="262" y="22"/>
                    <a:pt x="262" y="22"/>
                  </a:cubicBezTo>
                  <a:cubicBezTo>
                    <a:pt x="262" y="140"/>
                    <a:pt x="262" y="140"/>
                    <a:pt x="262" y="140"/>
                  </a:cubicBezTo>
                  <a:cubicBezTo>
                    <a:pt x="50" y="140"/>
                    <a:pt x="50" y="140"/>
                    <a:pt x="50" y="140"/>
                  </a:cubicBezTo>
                  <a:lnTo>
                    <a:pt x="50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00" name="Freeform 172"/>
            <p:cNvSpPr>
              <a:spLocks noEditPoints="1"/>
            </p:cNvSpPr>
            <p:nvPr/>
          </p:nvSpPr>
          <p:spPr bwMode="auto">
            <a:xfrm>
              <a:off x="1794017" y="2435860"/>
              <a:ext cx="88300" cy="166528"/>
            </a:xfrm>
            <a:custGeom>
              <a:avLst/>
              <a:gdLst>
                <a:gd name="T0" fmla="*/ 194 w 208"/>
                <a:gd name="T1" fmla="*/ 0 h 392"/>
                <a:gd name="T2" fmla="*/ 14 w 208"/>
                <a:gd name="T3" fmla="*/ 0 h 392"/>
                <a:gd name="T4" fmla="*/ 0 w 208"/>
                <a:gd name="T5" fmla="*/ 14 h 392"/>
                <a:gd name="T6" fmla="*/ 0 w 208"/>
                <a:gd name="T7" fmla="*/ 378 h 392"/>
                <a:gd name="T8" fmla="*/ 14 w 208"/>
                <a:gd name="T9" fmla="*/ 392 h 392"/>
                <a:gd name="T10" fmla="*/ 194 w 208"/>
                <a:gd name="T11" fmla="*/ 392 h 392"/>
                <a:gd name="T12" fmla="*/ 208 w 208"/>
                <a:gd name="T13" fmla="*/ 378 h 392"/>
                <a:gd name="T14" fmla="*/ 208 w 208"/>
                <a:gd name="T15" fmla="*/ 14 h 392"/>
                <a:gd name="T16" fmla="*/ 194 w 208"/>
                <a:gd name="T17" fmla="*/ 0 h 392"/>
                <a:gd name="T18" fmla="*/ 80 w 208"/>
                <a:gd name="T19" fmla="*/ 24 h 392"/>
                <a:gd name="T20" fmla="*/ 128 w 208"/>
                <a:gd name="T21" fmla="*/ 24 h 392"/>
                <a:gd name="T22" fmla="*/ 132 w 208"/>
                <a:gd name="T23" fmla="*/ 28 h 392"/>
                <a:gd name="T24" fmla="*/ 128 w 208"/>
                <a:gd name="T25" fmla="*/ 32 h 392"/>
                <a:gd name="T26" fmla="*/ 80 w 208"/>
                <a:gd name="T27" fmla="*/ 32 h 392"/>
                <a:gd name="T28" fmla="*/ 76 w 208"/>
                <a:gd name="T29" fmla="*/ 28 h 392"/>
                <a:gd name="T30" fmla="*/ 80 w 208"/>
                <a:gd name="T31" fmla="*/ 24 h 392"/>
                <a:gd name="T32" fmla="*/ 102 w 208"/>
                <a:gd name="T33" fmla="*/ 380 h 392"/>
                <a:gd name="T34" fmla="*/ 88 w 208"/>
                <a:gd name="T35" fmla="*/ 366 h 392"/>
                <a:gd name="T36" fmla="*/ 102 w 208"/>
                <a:gd name="T37" fmla="*/ 352 h 392"/>
                <a:gd name="T38" fmla="*/ 116 w 208"/>
                <a:gd name="T39" fmla="*/ 366 h 392"/>
                <a:gd name="T40" fmla="*/ 102 w 208"/>
                <a:gd name="T41" fmla="*/ 380 h 392"/>
                <a:gd name="T42" fmla="*/ 192 w 208"/>
                <a:gd name="T43" fmla="*/ 342 h 392"/>
                <a:gd name="T44" fmla="*/ 16 w 208"/>
                <a:gd name="T45" fmla="*/ 342 h 392"/>
                <a:gd name="T46" fmla="*/ 16 w 208"/>
                <a:gd name="T47" fmla="*/ 50 h 392"/>
                <a:gd name="T48" fmla="*/ 192 w 208"/>
                <a:gd name="T49" fmla="*/ 50 h 392"/>
                <a:gd name="T50" fmla="*/ 192 w 208"/>
                <a:gd name="T51" fmla="*/ 34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8" h="392">
                  <a:moveTo>
                    <a:pt x="19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78"/>
                    <a:pt x="0" y="378"/>
                    <a:pt x="0" y="378"/>
                  </a:cubicBezTo>
                  <a:cubicBezTo>
                    <a:pt x="0" y="386"/>
                    <a:pt x="6" y="392"/>
                    <a:pt x="14" y="392"/>
                  </a:cubicBezTo>
                  <a:cubicBezTo>
                    <a:pt x="194" y="392"/>
                    <a:pt x="194" y="392"/>
                    <a:pt x="194" y="392"/>
                  </a:cubicBezTo>
                  <a:cubicBezTo>
                    <a:pt x="202" y="392"/>
                    <a:pt x="208" y="386"/>
                    <a:pt x="208" y="378"/>
                  </a:cubicBezTo>
                  <a:cubicBezTo>
                    <a:pt x="208" y="14"/>
                    <a:pt x="208" y="14"/>
                    <a:pt x="208" y="14"/>
                  </a:cubicBezTo>
                  <a:cubicBezTo>
                    <a:pt x="208" y="6"/>
                    <a:pt x="202" y="0"/>
                    <a:pt x="194" y="0"/>
                  </a:cubicBezTo>
                  <a:close/>
                  <a:moveTo>
                    <a:pt x="80" y="24"/>
                  </a:moveTo>
                  <a:cubicBezTo>
                    <a:pt x="128" y="24"/>
                    <a:pt x="128" y="24"/>
                    <a:pt x="128" y="24"/>
                  </a:cubicBezTo>
                  <a:cubicBezTo>
                    <a:pt x="130" y="24"/>
                    <a:pt x="132" y="26"/>
                    <a:pt x="132" y="28"/>
                  </a:cubicBezTo>
                  <a:cubicBezTo>
                    <a:pt x="132" y="30"/>
                    <a:pt x="130" y="32"/>
                    <a:pt x="128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78" y="32"/>
                    <a:pt x="76" y="30"/>
                    <a:pt x="76" y="28"/>
                  </a:cubicBezTo>
                  <a:cubicBezTo>
                    <a:pt x="76" y="26"/>
                    <a:pt x="78" y="24"/>
                    <a:pt x="80" y="24"/>
                  </a:cubicBezTo>
                  <a:close/>
                  <a:moveTo>
                    <a:pt x="102" y="380"/>
                  </a:moveTo>
                  <a:cubicBezTo>
                    <a:pt x="94" y="380"/>
                    <a:pt x="88" y="374"/>
                    <a:pt x="88" y="366"/>
                  </a:cubicBezTo>
                  <a:cubicBezTo>
                    <a:pt x="88" y="358"/>
                    <a:pt x="94" y="352"/>
                    <a:pt x="102" y="352"/>
                  </a:cubicBezTo>
                  <a:cubicBezTo>
                    <a:pt x="110" y="352"/>
                    <a:pt x="116" y="358"/>
                    <a:pt x="116" y="366"/>
                  </a:cubicBezTo>
                  <a:cubicBezTo>
                    <a:pt x="116" y="374"/>
                    <a:pt x="110" y="380"/>
                    <a:pt x="102" y="380"/>
                  </a:cubicBezTo>
                  <a:close/>
                  <a:moveTo>
                    <a:pt x="192" y="342"/>
                  </a:moveTo>
                  <a:cubicBezTo>
                    <a:pt x="16" y="342"/>
                    <a:pt x="16" y="342"/>
                    <a:pt x="16" y="342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92" y="50"/>
                    <a:pt x="192" y="50"/>
                    <a:pt x="192" y="50"/>
                  </a:cubicBezTo>
                  <a:lnTo>
                    <a:pt x="192" y="3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01" name="Freeform 167"/>
            <p:cNvSpPr>
              <a:spLocks noEditPoints="1"/>
            </p:cNvSpPr>
            <p:nvPr/>
          </p:nvSpPr>
          <p:spPr bwMode="auto">
            <a:xfrm>
              <a:off x="1790804" y="3132059"/>
              <a:ext cx="179814" cy="118086"/>
            </a:xfrm>
            <a:custGeom>
              <a:avLst/>
              <a:gdLst>
                <a:gd name="T0" fmla="*/ 311 w 312"/>
                <a:gd name="T1" fmla="*/ 175 h 205"/>
                <a:gd name="T2" fmla="*/ 310 w 312"/>
                <a:gd name="T3" fmla="*/ 174 h 205"/>
                <a:gd name="T4" fmla="*/ 2 w 312"/>
                <a:gd name="T5" fmla="*/ 174 h 205"/>
                <a:gd name="T6" fmla="*/ 0 w 312"/>
                <a:gd name="T7" fmla="*/ 175 h 205"/>
                <a:gd name="T8" fmla="*/ 0 w 312"/>
                <a:gd name="T9" fmla="*/ 176 h 205"/>
                <a:gd name="T10" fmla="*/ 41 w 312"/>
                <a:gd name="T11" fmla="*/ 205 h 205"/>
                <a:gd name="T12" fmla="*/ 271 w 312"/>
                <a:gd name="T13" fmla="*/ 205 h 205"/>
                <a:gd name="T14" fmla="*/ 312 w 312"/>
                <a:gd name="T15" fmla="*/ 176 h 205"/>
                <a:gd name="T16" fmla="*/ 311 w 312"/>
                <a:gd name="T17" fmla="*/ 175 h 205"/>
                <a:gd name="T18" fmla="*/ 179 w 312"/>
                <a:gd name="T19" fmla="*/ 195 h 205"/>
                <a:gd name="T20" fmla="*/ 133 w 312"/>
                <a:gd name="T21" fmla="*/ 195 h 205"/>
                <a:gd name="T22" fmla="*/ 133 w 312"/>
                <a:gd name="T23" fmla="*/ 184 h 205"/>
                <a:gd name="T24" fmla="*/ 179 w 312"/>
                <a:gd name="T25" fmla="*/ 184 h 205"/>
                <a:gd name="T26" fmla="*/ 179 w 312"/>
                <a:gd name="T27" fmla="*/ 195 h 205"/>
                <a:gd name="T28" fmla="*/ 34 w 312"/>
                <a:gd name="T29" fmla="*/ 163 h 205"/>
                <a:gd name="T30" fmla="*/ 278 w 312"/>
                <a:gd name="T31" fmla="*/ 163 h 205"/>
                <a:gd name="T32" fmla="*/ 284 w 312"/>
                <a:gd name="T33" fmla="*/ 156 h 205"/>
                <a:gd name="T34" fmla="*/ 284 w 312"/>
                <a:gd name="T35" fmla="*/ 6 h 205"/>
                <a:gd name="T36" fmla="*/ 278 w 312"/>
                <a:gd name="T37" fmla="*/ 0 h 205"/>
                <a:gd name="T38" fmla="*/ 34 w 312"/>
                <a:gd name="T39" fmla="*/ 0 h 205"/>
                <a:gd name="T40" fmla="*/ 27 w 312"/>
                <a:gd name="T41" fmla="*/ 6 h 205"/>
                <a:gd name="T42" fmla="*/ 27 w 312"/>
                <a:gd name="T43" fmla="*/ 156 h 205"/>
                <a:gd name="T44" fmla="*/ 34 w 312"/>
                <a:gd name="T45" fmla="*/ 163 h 205"/>
                <a:gd name="T46" fmla="*/ 50 w 312"/>
                <a:gd name="T47" fmla="*/ 22 h 205"/>
                <a:gd name="T48" fmla="*/ 262 w 312"/>
                <a:gd name="T49" fmla="*/ 22 h 205"/>
                <a:gd name="T50" fmla="*/ 262 w 312"/>
                <a:gd name="T51" fmla="*/ 140 h 205"/>
                <a:gd name="T52" fmla="*/ 50 w 312"/>
                <a:gd name="T53" fmla="*/ 140 h 205"/>
                <a:gd name="T54" fmla="*/ 50 w 312"/>
                <a:gd name="T55" fmla="*/ 2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2" h="205">
                  <a:moveTo>
                    <a:pt x="311" y="175"/>
                  </a:moveTo>
                  <a:cubicBezTo>
                    <a:pt x="311" y="174"/>
                    <a:pt x="311" y="174"/>
                    <a:pt x="310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1" y="174"/>
                    <a:pt x="1" y="174"/>
                    <a:pt x="0" y="175"/>
                  </a:cubicBezTo>
                  <a:cubicBezTo>
                    <a:pt x="0" y="175"/>
                    <a:pt x="0" y="175"/>
                    <a:pt x="0" y="176"/>
                  </a:cubicBezTo>
                  <a:cubicBezTo>
                    <a:pt x="0" y="176"/>
                    <a:pt x="5" y="205"/>
                    <a:pt x="41" y="205"/>
                  </a:cubicBezTo>
                  <a:cubicBezTo>
                    <a:pt x="271" y="205"/>
                    <a:pt x="271" y="205"/>
                    <a:pt x="271" y="205"/>
                  </a:cubicBezTo>
                  <a:cubicBezTo>
                    <a:pt x="307" y="205"/>
                    <a:pt x="312" y="176"/>
                    <a:pt x="312" y="176"/>
                  </a:cubicBezTo>
                  <a:cubicBezTo>
                    <a:pt x="312" y="175"/>
                    <a:pt x="312" y="175"/>
                    <a:pt x="311" y="175"/>
                  </a:cubicBezTo>
                  <a:close/>
                  <a:moveTo>
                    <a:pt x="179" y="195"/>
                  </a:moveTo>
                  <a:cubicBezTo>
                    <a:pt x="133" y="195"/>
                    <a:pt x="133" y="195"/>
                    <a:pt x="133" y="195"/>
                  </a:cubicBezTo>
                  <a:cubicBezTo>
                    <a:pt x="133" y="184"/>
                    <a:pt x="133" y="184"/>
                    <a:pt x="133" y="184"/>
                  </a:cubicBezTo>
                  <a:cubicBezTo>
                    <a:pt x="179" y="184"/>
                    <a:pt x="179" y="184"/>
                    <a:pt x="179" y="184"/>
                  </a:cubicBezTo>
                  <a:lnTo>
                    <a:pt x="179" y="195"/>
                  </a:lnTo>
                  <a:close/>
                  <a:moveTo>
                    <a:pt x="34" y="163"/>
                  </a:moveTo>
                  <a:cubicBezTo>
                    <a:pt x="278" y="163"/>
                    <a:pt x="278" y="163"/>
                    <a:pt x="278" y="163"/>
                  </a:cubicBezTo>
                  <a:cubicBezTo>
                    <a:pt x="282" y="163"/>
                    <a:pt x="284" y="160"/>
                    <a:pt x="284" y="156"/>
                  </a:cubicBezTo>
                  <a:cubicBezTo>
                    <a:pt x="284" y="6"/>
                    <a:pt x="284" y="6"/>
                    <a:pt x="284" y="6"/>
                  </a:cubicBezTo>
                  <a:cubicBezTo>
                    <a:pt x="284" y="3"/>
                    <a:pt x="282" y="0"/>
                    <a:pt x="27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0" y="0"/>
                    <a:pt x="27" y="3"/>
                    <a:pt x="27" y="6"/>
                  </a:cubicBezTo>
                  <a:cubicBezTo>
                    <a:pt x="27" y="156"/>
                    <a:pt x="27" y="156"/>
                    <a:pt x="27" y="156"/>
                  </a:cubicBezTo>
                  <a:cubicBezTo>
                    <a:pt x="27" y="160"/>
                    <a:pt x="30" y="163"/>
                    <a:pt x="34" y="163"/>
                  </a:cubicBezTo>
                  <a:close/>
                  <a:moveTo>
                    <a:pt x="50" y="22"/>
                  </a:moveTo>
                  <a:cubicBezTo>
                    <a:pt x="262" y="22"/>
                    <a:pt x="262" y="22"/>
                    <a:pt x="262" y="22"/>
                  </a:cubicBezTo>
                  <a:cubicBezTo>
                    <a:pt x="262" y="140"/>
                    <a:pt x="262" y="140"/>
                    <a:pt x="262" y="140"/>
                  </a:cubicBezTo>
                  <a:cubicBezTo>
                    <a:pt x="50" y="140"/>
                    <a:pt x="50" y="140"/>
                    <a:pt x="50" y="140"/>
                  </a:cubicBezTo>
                  <a:lnTo>
                    <a:pt x="50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02" name="Freeform 172"/>
            <p:cNvSpPr>
              <a:spLocks noEditPoints="1"/>
            </p:cNvSpPr>
            <p:nvPr/>
          </p:nvSpPr>
          <p:spPr bwMode="auto">
            <a:xfrm>
              <a:off x="1918477" y="3421380"/>
              <a:ext cx="88300" cy="166528"/>
            </a:xfrm>
            <a:custGeom>
              <a:avLst/>
              <a:gdLst>
                <a:gd name="T0" fmla="*/ 194 w 208"/>
                <a:gd name="T1" fmla="*/ 0 h 392"/>
                <a:gd name="T2" fmla="*/ 14 w 208"/>
                <a:gd name="T3" fmla="*/ 0 h 392"/>
                <a:gd name="T4" fmla="*/ 0 w 208"/>
                <a:gd name="T5" fmla="*/ 14 h 392"/>
                <a:gd name="T6" fmla="*/ 0 w 208"/>
                <a:gd name="T7" fmla="*/ 378 h 392"/>
                <a:gd name="T8" fmla="*/ 14 w 208"/>
                <a:gd name="T9" fmla="*/ 392 h 392"/>
                <a:gd name="T10" fmla="*/ 194 w 208"/>
                <a:gd name="T11" fmla="*/ 392 h 392"/>
                <a:gd name="T12" fmla="*/ 208 w 208"/>
                <a:gd name="T13" fmla="*/ 378 h 392"/>
                <a:gd name="T14" fmla="*/ 208 w 208"/>
                <a:gd name="T15" fmla="*/ 14 h 392"/>
                <a:gd name="T16" fmla="*/ 194 w 208"/>
                <a:gd name="T17" fmla="*/ 0 h 392"/>
                <a:gd name="T18" fmla="*/ 80 w 208"/>
                <a:gd name="T19" fmla="*/ 24 h 392"/>
                <a:gd name="T20" fmla="*/ 128 w 208"/>
                <a:gd name="T21" fmla="*/ 24 h 392"/>
                <a:gd name="T22" fmla="*/ 132 w 208"/>
                <a:gd name="T23" fmla="*/ 28 h 392"/>
                <a:gd name="T24" fmla="*/ 128 w 208"/>
                <a:gd name="T25" fmla="*/ 32 h 392"/>
                <a:gd name="T26" fmla="*/ 80 w 208"/>
                <a:gd name="T27" fmla="*/ 32 h 392"/>
                <a:gd name="T28" fmla="*/ 76 w 208"/>
                <a:gd name="T29" fmla="*/ 28 h 392"/>
                <a:gd name="T30" fmla="*/ 80 w 208"/>
                <a:gd name="T31" fmla="*/ 24 h 392"/>
                <a:gd name="T32" fmla="*/ 102 w 208"/>
                <a:gd name="T33" fmla="*/ 380 h 392"/>
                <a:gd name="T34" fmla="*/ 88 w 208"/>
                <a:gd name="T35" fmla="*/ 366 h 392"/>
                <a:gd name="T36" fmla="*/ 102 w 208"/>
                <a:gd name="T37" fmla="*/ 352 h 392"/>
                <a:gd name="T38" fmla="*/ 116 w 208"/>
                <a:gd name="T39" fmla="*/ 366 h 392"/>
                <a:gd name="T40" fmla="*/ 102 w 208"/>
                <a:gd name="T41" fmla="*/ 380 h 392"/>
                <a:gd name="T42" fmla="*/ 192 w 208"/>
                <a:gd name="T43" fmla="*/ 342 h 392"/>
                <a:gd name="T44" fmla="*/ 16 w 208"/>
                <a:gd name="T45" fmla="*/ 342 h 392"/>
                <a:gd name="T46" fmla="*/ 16 w 208"/>
                <a:gd name="T47" fmla="*/ 50 h 392"/>
                <a:gd name="T48" fmla="*/ 192 w 208"/>
                <a:gd name="T49" fmla="*/ 50 h 392"/>
                <a:gd name="T50" fmla="*/ 192 w 208"/>
                <a:gd name="T51" fmla="*/ 34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8" h="392">
                  <a:moveTo>
                    <a:pt x="19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78"/>
                    <a:pt x="0" y="378"/>
                    <a:pt x="0" y="378"/>
                  </a:cubicBezTo>
                  <a:cubicBezTo>
                    <a:pt x="0" y="386"/>
                    <a:pt x="6" y="392"/>
                    <a:pt x="14" y="392"/>
                  </a:cubicBezTo>
                  <a:cubicBezTo>
                    <a:pt x="194" y="392"/>
                    <a:pt x="194" y="392"/>
                    <a:pt x="194" y="392"/>
                  </a:cubicBezTo>
                  <a:cubicBezTo>
                    <a:pt x="202" y="392"/>
                    <a:pt x="208" y="386"/>
                    <a:pt x="208" y="378"/>
                  </a:cubicBezTo>
                  <a:cubicBezTo>
                    <a:pt x="208" y="14"/>
                    <a:pt x="208" y="14"/>
                    <a:pt x="208" y="14"/>
                  </a:cubicBezTo>
                  <a:cubicBezTo>
                    <a:pt x="208" y="6"/>
                    <a:pt x="202" y="0"/>
                    <a:pt x="194" y="0"/>
                  </a:cubicBezTo>
                  <a:close/>
                  <a:moveTo>
                    <a:pt x="80" y="24"/>
                  </a:moveTo>
                  <a:cubicBezTo>
                    <a:pt x="128" y="24"/>
                    <a:pt x="128" y="24"/>
                    <a:pt x="128" y="24"/>
                  </a:cubicBezTo>
                  <a:cubicBezTo>
                    <a:pt x="130" y="24"/>
                    <a:pt x="132" y="26"/>
                    <a:pt x="132" y="28"/>
                  </a:cubicBezTo>
                  <a:cubicBezTo>
                    <a:pt x="132" y="30"/>
                    <a:pt x="130" y="32"/>
                    <a:pt x="128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78" y="32"/>
                    <a:pt x="76" y="30"/>
                    <a:pt x="76" y="28"/>
                  </a:cubicBezTo>
                  <a:cubicBezTo>
                    <a:pt x="76" y="26"/>
                    <a:pt x="78" y="24"/>
                    <a:pt x="80" y="24"/>
                  </a:cubicBezTo>
                  <a:close/>
                  <a:moveTo>
                    <a:pt x="102" y="380"/>
                  </a:moveTo>
                  <a:cubicBezTo>
                    <a:pt x="94" y="380"/>
                    <a:pt x="88" y="374"/>
                    <a:pt x="88" y="366"/>
                  </a:cubicBezTo>
                  <a:cubicBezTo>
                    <a:pt x="88" y="358"/>
                    <a:pt x="94" y="352"/>
                    <a:pt x="102" y="352"/>
                  </a:cubicBezTo>
                  <a:cubicBezTo>
                    <a:pt x="110" y="352"/>
                    <a:pt x="116" y="358"/>
                    <a:pt x="116" y="366"/>
                  </a:cubicBezTo>
                  <a:cubicBezTo>
                    <a:pt x="116" y="374"/>
                    <a:pt x="110" y="380"/>
                    <a:pt x="102" y="380"/>
                  </a:cubicBezTo>
                  <a:close/>
                  <a:moveTo>
                    <a:pt x="192" y="342"/>
                  </a:moveTo>
                  <a:cubicBezTo>
                    <a:pt x="16" y="342"/>
                    <a:pt x="16" y="342"/>
                    <a:pt x="16" y="342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92" y="50"/>
                    <a:pt x="192" y="50"/>
                    <a:pt x="192" y="50"/>
                  </a:cubicBezTo>
                  <a:lnTo>
                    <a:pt x="192" y="3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03" name="Freeform 177"/>
            <p:cNvSpPr>
              <a:spLocks noEditPoints="1"/>
            </p:cNvSpPr>
            <p:nvPr/>
          </p:nvSpPr>
          <p:spPr bwMode="auto">
            <a:xfrm>
              <a:off x="2399815" y="3374591"/>
              <a:ext cx="106064" cy="153640"/>
            </a:xfrm>
            <a:custGeom>
              <a:avLst/>
              <a:gdLst>
                <a:gd name="T0" fmla="*/ 371 w 384"/>
                <a:gd name="T1" fmla="*/ 0 h 556"/>
                <a:gd name="T2" fmla="*/ 13 w 384"/>
                <a:gd name="T3" fmla="*/ 0 h 556"/>
                <a:gd name="T4" fmla="*/ 0 w 384"/>
                <a:gd name="T5" fmla="*/ 14 h 556"/>
                <a:gd name="T6" fmla="*/ 0 w 384"/>
                <a:gd name="T7" fmla="*/ 542 h 556"/>
                <a:gd name="T8" fmla="*/ 13 w 384"/>
                <a:gd name="T9" fmla="*/ 556 h 556"/>
                <a:gd name="T10" fmla="*/ 371 w 384"/>
                <a:gd name="T11" fmla="*/ 556 h 556"/>
                <a:gd name="T12" fmla="*/ 384 w 384"/>
                <a:gd name="T13" fmla="*/ 542 h 556"/>
                <a:gd name="T14" fmla="*/ 384 w 384"/>
                <a:gd name="T15" fmla="*/ 14 h 556"/>
                <a:gd name="T16" fmla="*/ 371 w 384"/>
                <a:gd name="T17" fmla="*/ 0 h 556"/>
                <a:gd name="T18" fmla="*/ 192 w 384"/>
                <a:gd name="T19" fmla="*/ 528 h 556"/>
                <a:gd name="T20" fmla="*/ 170 w 384"/>
                <a:gd name="T21" fmla="*/ 506 h 556"/>
                <a:gd name="T22" fmla="*/ 192 w 384"/>
                <a:gd name="T23" fmla="*/ 484 h 556"/>
                <a:gd name="T24" fmla="*/ 214 w 384"/>
                <a:gd name="T25" fmla="*/ 506 h 556"/>
                <a:gd name="T26" fmla="*/ 192 w 384"/>
                <a:gd name="T27" fmla="*/ 528 h 556"/>
                <a:gd name="T28" fmla="*/ 358 w 384"/>
                <a:gd name="T29" fmla="*/ 464 h 556"/>
                <a:gd name="T30" fmla="*/ 26 w 384"/>
                <a:gd name="T31" fmla="*/ 464 h 556"/>
                <a:gd name="T32" fmla="*/ 26 w 384"/>
                <a:gd name="T33" fmla="*/ 32 h 556"/>
                <a:gd name="T34" fmla="*/ 358 w 384"/>
                <a:gd name="T35" fmla="*/ 32 h 556"/>
                <a:gd name="T36" fmla="*/ 358 w 384"/>
                <a:gd name="T37" fmla="*/ 464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4" h="556">
                  <a:moveTo>
                    <a:pt x="371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542"/>
                    <a:pt x="0" y="542"/>
                    <a:pt x="0" y="542"/>
                  </a:cubicBezTo>
                  <a:cubicBezTo>
                    <a:pt x="0" y="550"/>
                    <a:pt x="6" y="556"/>
                    <a:pt x="13" y="556"/>
                  </a:cubicBezTo>
                  <a:cubicBezTo>
                    <a:pt x="371" y="556"/>
                    <a:pt x="371" y="556"/>
                    <a:pt x="371" y="556"/>
                  </a:cubicBezTo>
                  <a:cubicBezTo>
                    <a:pt x="378" y="556"/>
                    <a:pt x="384" y="550"/>
                    <a:pt x="384" y="542"/>
                  </a:cubicBezTo>
                  <a:cubicBezTo>
                    <a:pt x="384" y="14"/>
                    <a:pt x="384" y="14"/>
                    <a:pt x="384" y="14"/>
                  </a:cubicBezTo>
                  <a:cubicBezTo>
                    <a:pt x="384" y="6"/>
                    <a:pt x="378" y="0"/>
                    <a:pt x="371" y="0"/>
                  </a:cubicBezTo>
                  <a:close/>
                  <a:moveTo>
                    <a:pt x="192" y="528"/>
                  </a:moveTo>
                  <a:cubicBezTo>
                    <a:pt x="180" y="528"/>
                    <a:pt x="170" y="518"/>
                    <a:pt x="170" y="506"/>
                  </a:cubicBezTo>
                  <a:cubicBezTo>
                    <a:pt x="170" y="494"/>
                    <a:pt x="180" y="484"/>
                    <a:pt x="192" y="484"/>
                  </a:cubicBezTo>
                  <a:cubicBezTo>
                    <a:pt x="204" y="484"/>
                    <a:pt x="214" y="494"/>
                    <a:pt x="214" y="506"/>
                  </a:cubicBezTo>
                  <a:cubicBezTo>
                    <a:pt x="214" y="518"/>
                    <a:pt x="204" y="528"/>
                    <a:pt x="192" y="528"/>
                  </a:cubicBezTo>
                  <a:close/>
                  <a:moveTo>
                    <a:pt x="358" y="464"/>
                  </a:moveTo>
                  <a:cubicBezTo>
                    <a:pt x="26" y="464"/>
                    <a:pt x="26" y="464"/>
                    <a:pt x="26" y="464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358" y="32"/>
                    <a:pt x="358" y="32"/>
                    <a:pt x="358" y="32"/>
                  </a:cubicBezTo>
                  <a:lnTo>
                    <a:pt x="358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04" name="Freeform 167"/>
            <p:cNvSpPr>
              <a:spLocks noEditPoints="1"/>
            </p:cNvSpPr>
            <p:nvPr/>
          </p:nvSpPr>
          <p:spPr bwMode="auto">
            <a:xfrm>
              <a:off x="2161644" y="3624819"/>
              <a:ext cx="179814" cy="118086"/>
            </a:xfrm>
            <a:custGeom>
              <a:avLst/>
              <a:gdLst>
                <a:gd name="T0" fmla="*/ 311 w 312"/>
                <a:gd name="T1" fmla="*/ 175 h 205"/>
                <a:gd name="T2" fmla="*/ 310 w 312"/>
                <a:gd name="T3" fmla="*/ 174 h 205"/>
                <a:gd name="T4" fmla="*/ 2 w 312"/>
                <a:gd name="T5" fmla="*/ 174 h 205"/>
                <a:gd name="T6" fmla="*/ 0 w 312"/>
                <a:gd name="T7" fmla="*/ 175 h 205"/>
                <a:gd name="T8" fmla="*/ 0 w 312"/>
                <a:gd name="T9" fmla="*/ 176 h 205"/>
                <a:gd name="T10" fmla="*/ 41 w 312"/>
                <a:gd name="T11" fmla="*/ 205 h 205"/>
                <a:gd name="T12" fmla="*/ 271 w 312"/>
                <a:gd name="T13" fmla="*/ 205 h 205"/>
                <a:gd name="T14" fmla="*/ 312 w 312"/>
                <a:gd name="T15" fmla="*/ 176 h 205"/>
                <a:gd name="T16" fmla="*/ 311 w 312"/>
                <a:gd name="T17" fmla="*/ 175 h 205"/>
                <a:gd name="T18" fmla="*/ 179 w 312"/>
                <a:gd name="T19" fmla="*/ 195 h 205"/>
                <a:gd name="T20" fmla="*/ 133 w 312"/>
                <a:gd name="T21" fmla="*/ 195 h 205"/>
                <a:gd name="T22" fmla="*/ 133 w 312"/>
                <a:gd name="T23" fmla="*/ 184 h 205"/>
                <a:gd name="T24" fmla="*/ 179 w 312"/>
                <a:gd name="T25" fmla="*/ 184 h 205"/>
                <a:gd name="T26" fmla="*/ 179 w 312"/>
                <a:gd name="T27" fmla="*/ 195 h 205"/>
                <a:gd name="T28" fmla="*/ 34 w 312"/>
                <a:gd name="T29" fmla="*/ 163 h 205"/>
                <a:gd name="T30" fmla="*/ 278 w 312"/>
                <a:gd name="T31" fmla="*/ 163 h 205"/>
                <a:gd name="T32" fmla="*/ 284 w 312"/>
                <a:gd name="T33" fmla="*/ 156 h 205"/>
                <a:gd name="T34" fmla="*/ 284 w 312"/>
                <a:gd name="T35" fmla="*/ 6 h 205"/>
                <a:gd name="T36" fmla="*/ 278 w 312"/>
                <a:gd name="T37" fmla="*/ 0 h 205"/>
                <a:gd name="T38" fmla="*/ 34 w 312"/>
                <a:gd name="T39" fmla="*/ 0 h 205"/>
                <a:gd name="T40" fmla="*/ 27 w 312"/>
                <a:gd name="T41" fmla="*/ 6 h 205"/>
                <a:gd name="T42" fmla="*/ 27 w 312"/>
                <a:gd name="T43" fmla="*/ 156 h 205"/>
                <a:gd name="T44" fmla="*/ 34 w 312"/>
                <a:gd name="T45" fmla="*/ 163 h 205"/>
                <a:gd name="T46" fmla="*/ 50 w 312"/>
                <a:gd name="T47" fmla="*/ 22 h 205"/>
                <a:gd name="T48" fmla="*/ 262 w 312"/>
                <a:gd name="T49" fmla="*/ 22 h 205"/>
                <a:gd name="T50" fmla="*/ 262 w 312"/>
                <a:gd name="T51" fmla="*/ 140 h 205"/>
                <a:gd name="T52" fmla="*/ 50 w 312"/>
                <a:gd name="T53" fmla="*/ 140 h 205"/>
                <a:gd name="T54" fmla="*/ 50 w 312"/>
                <a:gd name="T55" fmla="*/ 2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2" h="205">
                  <a:moveTo>
                    <a:pt x="311" y="175"/>
                  </a:moveTo>
                  <a:cubicBezTo>
                    <a:pt x="311" y="174"/>
                    <a:pt x="311" y="174"/>
                    <a:pt x="310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1" y="174"/>
                    <a:pt x="1" y="174"/>
                    <a:pt x="0" y="175"/>
                  </a:cubicBezTo>
                  <a:cubicBezTo>
                    <a:pt x="0" y="175"/>
                    <a:pt x="0" y="175"/>
                    <a:pt x="0" y="176"/>
                  </a:cubicBezTo>
                  <a:cubicBezTo>
                    <a:pt x="0" y="176"/>
                    <a:pt x="5" y="205"/>
                    <a:pt x="41" y="205"/>
                  </a:cubicBezTo>
                  <a:cubicBezTo>
                    <a:pt x="271" y="205"/>
                    <a:pt x="271" y="205"/>
                    <a:pt x="271" y="205"/>
                  </a:cubicBezTo>
                  <a:cubicBezTo>
                    <a:pt x="307" y="205"/>
                    <a:pt x="312" y="176"/>
                    <a:pt x="312" y="176"/>
                  </a:cubicBezTo>
                  <a:cubicBezTo>
                    <a:pt x="312" y="175"/>
                    <a:pt x="312" y="175"/>
                    <a:pt x="311" y="175"/>
                  </a:cubicBezTo>
                  <a:close/>
                  <a:moveTo>
                    <a:pt x="179" y="195"/>
                  </a:moveTo>
                  <a:cubicBezTo>
                    <a:pt x="133" y="195"/>
                    <a:pt x="133" y="195"/>
                    <a:pt x="133" y="195"/>
                  </a:cubicBezTo>
                  <a:cubicBezTo>
                    <a:pt x="133" y="184"/>
                    <a:pt x="133" y="184"/>
                    <a:pt x="133" y="184"/>
                  </a:cubicBezTo>
                  <a:cubicBezTo>
                    <a:pt x="179" y="184"/>
                    <a:pt x="179" y="184"/>
                    <a:pt x="179" y="184"/>
                  </a:cubicBezTo>
                  <a:lnTo>
                    <a:pt x="179" y="195"/>
                  </a:lnTo>
                  <a:close/>
                  <a:moveTo>
                    <a:pt x="34" y="163"/>
                  </a:moveTo>
                  <a:cubicBezTo>
                    <a:pt x="278" y="163"/>
                    <a:pt x="278" y="163"/>
                    <a:pt x="278" y="163"/>
                  </a:cubicBezTo>
                  <a:cubicBezTo>
                    <a:pt x="282" y="163"/>
                    <a:pt x="284" y="160"/>
                    <a:pt x="284" y="156"/>
                  </a:cubicBezTo>
                  <a:cubicBezTo>
                    <a:pt x="284" y="6"/>
                    <a:pt x="284" y="6"/>
                    <a:pt x="284" y="6"/>
                  </a:cubicBezTo>
                  <a:cubicBezTo>
                    <a:pt x="284" y="3"/>
                    <a:pt x="282" y="0"/>
                    <a:pt x="27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0" y="0"/>
                    <a:pt x="27" y="3"/>
                    <a:pt x="27" y="6"/>
                  </a:cubicBezTo>
                  <a:cubicBezTo>
                    <a:pt x="27" y="156"/>
                    <a:pt x="27" y="156"/>
                    <a:pt x="27" y="156"/>
                  </a:cubicBezTo>
                  <a:cubicBezTo>
                    <a:pt x="27" y="160"/>
                    <a:pt x="30" y="163"/>
                    <a:pt x="34" y="163"/>
                  </a:cubicBezTo>
                  <a:close/>
                  <a:moveTo>
                    <a:pt x="50" y="22"/>
                  </a:moveTo>
                  <a:cubicBezTo>
                    <a:pt x="262" y="22"/>
                    <a:pt x="262" y="22"/>
                    <a:pt x="262" y="22"/>
                  </a:cubicBezTo>
                  <a:cubicBezTo>
                    <a:pt x="262" y="140"/>
                    <a:pt x="262" y="140"/>
                    <a:pt x="262" y="140"/>
                  </a:cubicBezTo>
                  <a:cubicBezTo>
                    <a:pt x="50" y="140"/>
                    <a:pt x="50" y="140"/>
                    <a:pt x="50" y="140"/>
                  </a:cubicBezTo>
                  <a:lnTo>
                    <a:pt x="50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05" name="Freeform 177"/>
            <p:cNvSpPr>
              <a:spLocks noEditPoints="1"/>
            </p:cNvSpPr>
            <p:nvPr/>
          </p:nvSpPr>
          <p:spPr bwMode="auto">
            <a:xfrm>
              <a:off x="1985160" y="4029911"/>
              <a:ext cx="106064" cy="153640"/>
            </a:xfrm>
            <a:custGeom>
              <a:avLst/>
              <a:gdLst>
                <a:gd name="T0" fmla="*/ 371 w 384"/>
                <a:gd name="T1" fmla="*/ 0 h 556"/>
                <a:gd name="T2" fmla="*/ 13 w 384"/>
                <a:gd name="T3" fmla="*/ 0 h 556"/>
                <a:gd name="T4" fmla="*/ 0 w 384"/>
                <a:gd name="T5" fmla="*/ 14 h 556"/>
                <a:gd name="T6" fmla="*/ 0 w 384"/>
                <a:gd name="T7" fmla="*/ 542 h 556"/>
                <a:gd name="T8" fmla="*/ 13 w 384"/>
                <a:gd name="T9" fmla="*/ 556 h 556"/>
                <a:gd name="T10" fmla="*/ 371 w 384"/>
                <a:gd name="T11" fmla="*/ 556 h 556"/>
                <a:gd name="T12" fmla="*/ 384 w 384"/>
                <a:gd name="T13" fmla="*/ 542 h 556"/>
                <a:gd name="T14" fmla="*/ 384 w 384"/>
                <a:gd name="T15" fmla="*/ 14 h 556"/>
                <a:gd name="T16" fmla="*/ 371 w 384"/>
                <a:gd name="T17" fmla="*/ 0 h 556"/>
                <a:gd name="T18" fmla="*/ 192 w 384"/>
                <a:gd name="T19" fmla="*/ 528 h 556"/>
                <a:gd name="T20" fmla="*/ 170 w 384"/>
                <a:gd name="T21" fmla="*/ 506 h 556"/>
                <a:gd name="T22" fmla="*/ 192 w 384"/>
                <a:gd name="T23" fmla="*/ 484 h 556"/>
                <a:gd name="T24" fmla="*/ 214 w 384"/>
                <a:gd name="T25" fmla="*/ 506 h 556"/>
                <a:gd name="T26" fmla="*/ 192 w 384"/>
                <a:gd name="T27" fmla="*/ 528 h 556"/>
                <a:gd name="T28" fmla="*/ 358 w 384"/>
                <a:gd name="T29" fmla="*/ 464 h 556"/>
                <a:gd name="T30" fmla="*/ 26 w 384"/>
                <a:gd name="T31" fmla="*/ 464 h 556"/>
                <a:gd name="T32" fmla="*/ 26 w 384"/>
                <a:gd name="T33" fmla="*/ 32 h 556"/>
                <a:gd name="T34" fmla="*/ 358 w 384"/>
                <a:gd name="T35" fmla="*/ 32 h 556"/>
                <a:gd name="T36" fmla="*/ 358 w 384"/>
                <a:gd name="T37" fmla="*/ 464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4" h="556">
                  <a:moveTo>
                    <a:pt x="371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542"/>
                    <a:pt x="0" y="542"/>
                    <a:pt x="0" y="542"/>
                  </a:cubicBezTo>
                  <a:cubicBezTo>
                    <a:pt x="0" y="550"/>
                    <a:pt x="6" y="556"/>
                    <a:pt x="13" y="556"/>
                  </a:cubicBezTo>
                  <a:cubicBezTo>
                    <a:pt x="371" y="556"/>
                    <a:pt x="371" y="556"/>
                    <a:pt x="371" y="556"/>
                  </a:cubicBezTo>
                  <a:cubicBezTo>
                    <a:pt x="378" y="556"/>
                    <a:pt x="384" y="550"/>
                    <a:pt x="384" y="542"/>
                  </a:cubicBezTo>
                  <a:cubicBezTo>
                    <a:pt x="384" y="14"/>
                    <a:pt x="384" y="14"/>
                    <a:pt x="384" y="14"/>
                  </a:cubicBezTo>
                  <a:cubicBezTo>
                    <a:pt x="384" y="6"/>
                    <a:pt x="378" y="0"/>
                    <a:pt x="371" y="0"/>
                  </a:cubicBezTo>
                  <a:close/>
                  <a:moveTo>
                    <a:pt x="192" y="528"/>
                  </a:moveTo>
                  <a:cubicBezTo>
                    <a:pt x="180" y="528"/>
                    <a:pt x="170" y="518"/>
                    <a:pt x="170" y="506"/>
                  </a:cubicBezTo>
                  <a:cubicBezTo>
                    <a:pt x="170" y="494"/>
                    <a:pt x="180" y="484"/>
                    <a:pt x="192" y="484"/>
                  </a:cubicBezTo>
                  <a:cubicBezTo>
                    <a:pt x="204" y="484"/>
                    <a:pt x="214" y="494"/>
                    <a:pt x="214" y="506"/>
                  </a:cubicBezTo>
                  <a:cubicBezTo>
                    <a:pt x="214" y="518"/>
                    <a:pt x="204" y="528"/>
                    <a:pt x="192" y="528"/>
                  </a:cubicBezTo>
                  <a:close/>
                  <a:moveTo>
                    <a:pt x="358" y="464"/>
                  </a:moveTo>
                  <a:cubicBezTo>
                    <a:pt x="26" y="464"/>
                    <a:pt x="26" y="464"/>
                    <a:pt x="26" y="464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358" y="32"/>
                    <a:pt x="358" y="32"/>
                    <a:pt x="358" y="32"/>
                  </a:cubicBezTo>
                  <a:lnTo>
                    <a:pt x="358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06" name="Freeform 172"/>
            <p:cNvSpPr>
              <a:spLocks noEditPoints="1"/>
            </p:cNvSpPr>
            <p:nvPr/>
          </p:nvSpPr>
          <p:spPr bwMode="auto">
            <a:xfrm>
              <a:off x="2459497" y="3820160"/>
              <a:ext cx="88300" cy="166528"/>
            </a:xfrm>
            <a:custGeom>
              <a:avLst/>
              <a:gdLst>
                <a:gd name="T0" fmla="*/ 194 w 208"/>
                <a:gd name="T1" fmla="*/ 0 h 392"/>
                <a:gd name="T2" fmla="*/ 14 w 208"/>
                <a:gd name="T3" fmla="*/ 0 h 392"/>
                <a:gd name="T4" fmla="*/ 0 w 208"/>
                <a:gd name="T5" fmla="*/ 14 h 392"/>
                <a:gd name="T6" fmla="*/ 0 w 208"/>
                <a:gd name="T7" fmla="*/ 378 h 392"/>
                <a:gd name="T8" fmla="*/ 14 w 208"/>
                <a:gd name="T9" fmla="*/ 392 h 392"/>
                <a:gd name="T10" fmla="*/ 194 w 208"/>
                <a:gd name="T11" fmla="*/ 392 h 392"/>
                <a:gd name="T12" fmla="*/ 208 w 208"/>
                <a:gd name="T13" fmla="*/ 378 h 392"/>
                <a:gd name="T14" fmla="*/ 208 w 208"/>
                <a:gd name="T15" fmla="*/ 14 h 392"/>
                <a:gd name="T16" fmla="*/ 194 w 208"/>
                <a:gd name="T17" fmla="*/ 0 h 392"/>
                <a:gd name="T18" fmla="*/ 80 w 208"/>
                <a:gd name="T19" fmla="*/ 24 h 392"/>
                <a:gd name="T20" fmla="*/ 128 w 208"/>
                <a:gd name="T21" fmla="*/ 24 h 392"/>
                <a:gd name="T22" fmla="*/ 132 w 208"/>
                <a:gd name="T23" fmla="*/ 28 h 392"/>
                <a:gd name="T24" fmla="*/ 128 w 208"/>
                <a:gd name="T25" fmla="*/ 32 h 392"/>
                <a:gd name="T26" fmla="*/ 80 w 208"/>
                <a:gd name="T27" fmla="*/ 32 h 392"/>
                <a:gd name="T28" fmla="*/ 76 w 208"/>
                <a:gd name="T29" fmla="*/ 28 h 392"/>
                <a:gd name="T30" fmla="*/ 80 w 208"/>
                <a:gd name="T31" fmla="*/ 24 h 392"/>
                <a:gd name="T32" fmla="*/ 102 w 208"/>
                <a:gd name="T33" fmla="*/ 380 h 392"/>
                <a:gd name="T34" fmla="*/ 88 w 208"/>
                <a:gd name="T35" fmla="*/ 366 h 392"/>
                <a:gd name="T36" fmla="*/ 102 w 208"/>
                <a:gd name="T37" fmla="*/ 352 h 392"/>
                <a:gd name="T38" fmla="*/ 116 w 208"/>
                <a:gd name="T39" fmla="*/ 366 h 392"/>
                <a:gd name="T40" fmla="*/ 102 w 208"/>
                <a:gd name="T41" fmla="*/ 380 h 392"/>
                <a:gd name="T42" fmla="*/ 192 w 208"/>
                <a:gd name="T43" fmla="*/ 342 h 392"/>
                <a:gd name="T44" fmla="*/ 16 w 208"/>
                <a:gd name="T45" fmla="*/ 342 h 392"/>
                <a:gd name="T46" fmla="*/ 16 w 208"/>
                <a:gd name="T47" fmla="*/ 50 h 392"/>
                <a:gd name="T48" fmla="*/ 192 w 208"/>
                <a:gd name="T49" fmla="*/ 50 h 392"/>
                <a:gd name="T50" fmla="*/ 192 w 208"/>
                <a:gd name="T51" fmla="*/ 34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8" h="392">
                  <a:moveTo>
                    <a:pt x="19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78"/>
                    <a:pt x="0" y="378"/>
                    <a:pt x="0" y="378"/>
                  </a:cubicBezTo>
                  <a:cubicBezTo>
                    <a:pt x="0" y="386"/>
                    <a:pt x="6" y="392"/>
                    <a:pt x="14" y="392"/>
                  </a:cubicBezTo>
                  <a:cubicBezTo>
                    <a:pt x="194" y="392"/>
                    <a:pt x="194" y="392"/>
                    <a:pt x="194" y="392"/>
                  </a:cubicBezTo>
                  <a:cubicBezTo>
                    <a:pt x="202" y="392"/>
                    <a:pt x="208" y="386"/>
                    <a:pt x="208" y="378"/>
                  </a:cubicBezTo>
                  <a:cubicBezTo>
                    <a:pt x="208" y="14"/>
                    <a:pt x="208" y="14"/>
                    <a:pt x="208" y="14"/>
                  </a:cubicBezTo>
                  <a:cubicBezTo>
                    <a:pt x="208" y="6"/>
                    <a:pt x="202" y="0"/>
                    <a:pt x="194" y="0"/>
                  </a:cubicBezTo>
                  <a:close/>
                  <a:moveTo>
                    <a:pt x="80" y="24"/>
                  </a:moveTo>
                  <a:cubicBezTo>
                    <a:pt x="128" y="24"/>
                    <a:pt x="128" y="24"/>
                    <a:pt x="128" y="24"/>
                  </a:cubicBezTo>
                  <a:cubicBezTo>
                    <a:pt x="130" y="24"/>
                    <a:pt x="132" y="26"/>
                    <a:pt x="132" y="28"/>
                  </a:cubicBezTo>
                  <a:cubicBezTo>
                    <a:pt x="132" y="30"/>
                    <a:pt x="130" y="32"/>
                    <a:pt x="128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78" y="32"/>
                    <a:pt x="76" y="30"/>
                    <a:pt x="76" y="28"/>
                  </a:cubicBezTo>
                  <a:cubicBezTo>
                    <a:pt x="76" y="26"/>
                    <a:pt x="78" y="24"/>
                    <a:pt x="80" y="24"/>
                  </a:cubicBezTo>
                  <a:close/>
                  <a:moveTo>
                    <a:pt x="102" y="380"/>
                  </a:moveTo>
                  <a:cubicBezTo>
                    <a:pt x="94" y="380"/>
                    <a:pt x="88" y="374"/>
                    <a:pt x="88" y="366"/>
                  </a:cubicBezTo>
                  <a:cubicBezTo>
                    <a:pt x="88" y="358"/>
                    <a:pt x="94" y="352"/>
                    <a:pt x="102" y="352"/>
                  </a:cubicBezTo>
                  <a:cubicBezTo>
                    <a:pt x="110" y="352"/>
                    <a:pt x="116" y="358"/>
                    <a:pt x="116" y="366"/>
                  </a:cubicBezTo>
                  <a:cubicBezTo>
                    <a:pt x="116" y="374"/>
                    <a:pt x="110" y="380"/>
                    <a:pt x="102" y="380"/>
                  </a:cubicBezTo>
                  <a:close/>
                  <a:moveTo>
                    <a:pt x="192" y="342"/>
                  </a:moveTo>
                  <a:cubicBezTo>
                    <a:pt x="16" y="342"/>
                    <a:pt x="16" y="342"/>
                    <a:pt x="16" y="342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92" y="50"/>
                    <a:pt x="192" y="50"/>
                    <a:pt x="192" y="50"/>
                  </a:cubicBezTo>
                  <a:lnTo>
                    <a:pt x="192" y="3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</p:grpSp>
      <p:grpSp>
        <p:nvGrpSpPr>
          <p:cNvPr id="681" name="Group 680"/>
          <p:cNvGrpSpPr/>
          <p:nvPr/>
        </p:nvGrpSpPr>
        <p:grpSpPr>
          <a:xfrm>
            <a:off x="2505613" y="1064920"/>
            <a:ext cx="2004630" cy="3307255"/>
            <a:chOff x="2505613" y="1201223"/>
            <a:chExt cx="2004630" cy="3307255"/>
          </a:xfrm>
        </p:grpSpPr>
        <p:grpSp>
          <p:nvGrpSpPr>
            <p:cNvPr id="7320" name="Group 7319"/>
            <p:cNvGrpSpPr/>
            <p:nvPr/>
          </p:nvGrpSpPr>
          <p:grpSpPr>
            <a:xfrm>
              <a:off x="2505613" y="1201223"/>
              <a:ext cx="2004630" cy="3307255"/>
              <a:chOff x="2505613" y="1047750"/>
              <a:chExt cx="2004630" cy="3307255"/>
            </a:xfrm>
          </p:grpSpPr>
          <p:sp>
            <p:nvSpPr>
              <p:cNvPr id="587" name="Oval 138"/>
              <p:cNvSpPr>
                <a:spLocks noChangeArrowheads="1"/>
              </p:cNvSpPr>
              <p:nvPr/>
            </p:nvSpPr>
            <p:spPr bwMode="auto">
              <a:xfrm rot="5400000">
                <a:off x="2505613" y="4044109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8" name="Oval 139"/>
              <p:cNvSpPr>
                <a:spLocks noChangeArrowheads="1"/>
              </p:cNvSpPr>
              <p:nvPr/>
            </p:nvSpPr>
            <p:spPr bwMode="auto">
              <a:xfrm rot="5400000">
                <a:off x="2838823" y="3854468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9" name="Oval 140"/>
              <p:cNvSpPr>
                <a:spLocks noChangeArrowheads="1"/>
              </p:cNvSpPr>
              <p:nvPr/>
            </p:nvSpPr>
            <p:spPr bwMode="auto">
              <a:xfrm rot="5400000">
                <a:off x="2685940" y="3557801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0" name="Oval 141"/>
              <p:cNvSpPr>
                <a:spLocks noChangeArrowheads="1"/>
              </p:cNvSpPr>
              <p:nvPr/>
            </p:nvSpPr>
            <p:spPr bwMode="auto">
              <a:xfrm rot="5400000">
                <a:off x="3033039" y="3482107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1" name="Oval 142"/>
              <p:cNvSpPr>
                <a:spLocks noChangeArrowheads="1"/>
              </p:cNvSpPr>
              <p:nvPr/>
            </p:nvSpPr>
            <p:spPr bwMode="auto">
              <a:xfrm rot="5400000">
                <a:off x="3199959" y="3107910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2" name="Oval 143"/>
              <p:cNvSpPr>
                <a:spLocks noChangeArrowheads="1"/>
              </p:cNvSpPr>
              <p:nvPr/>
            </p:nvSpPr>
            <p:spPr bwMode="auto">
              <a:xfrm rot="5400000">
                <a:off x="2661665" y="2954391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3" name="Oval 144"/>
              <p:cNvSpPr>
                <a:spLocks noChangeArrowheads="1"/>
              </p:cNvSpPr>
              <p:nvPr/>
            </p:nvSpPr>
            <p:spPr bwMode="auto">
              <a:xfrm rot="5400000">
                <a:off x="3346703" y="2602563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4" name="Oval 145"/>
              <p:cNvSpPr>
                <a:spLocks noChangeArrowheads="1"/>
              </p:cNvSpPr>
              <p:nvPr/>
            </p:nvSpPr>
            <p:spPr bwMode="auto">
              <a:xfrm rot="5400000">
                <a:off x="3240088" y="2172350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5" name="Oval 146"/>
              <p:cNvSpPr>
                <a:spLocks noChangeArrowheads="1"/>
              </p:cNvSpPr>
              <p:nvPr/>
            </p:nvSpPr>
            <p:spPr bwMode="auto">
              <a:xfrm rot="5400000">
                <a:off x="3008978" y="1931212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6" name="Oval 147"/>
              <p:cNvSpPr>
                <a:spLocks noChangeArrowheads="1"/>
              </p:cNvSpPr>
              <p:nvPr/>
            </p:nvSpPr>
            <p:spPr bwMode="auto">
              <a:xfrm rot="5400000">
                <a:off x="2866118" y="1606541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0" name="Oval 151"/>
              <p:cNvSpPr>
                <a:spLocks noChangeArrowheads="1"/>
              </p:cNvSpPr>
              <p:nvPr/>
            </p:nvSpPr>
            <p:spPr bwMode="auto">
              <a:xfrm rot="5400000">
                <a:off x="2836700" y="2387951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1" name="Oval 152"/>
              <p:cNvSpPr>
                <a:spLocks noChangeArrowheads="1"/>
              </p:cNvSpPr>
              <p:nvPr/>
            </p:nvSpPr>
            <p:spPr bwMode="auto">
              <a:xfrm rot="5400000">
                <a:off x="2586388" y="1385509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4" name="Oval 142"/>
              <p:cNvSpPr>
                <a:spLocks noChangeArrowheads="1"/>
              </p:cNvSpPr>
              <p:nvPr/>
            </p:nvSpPr>
            <p:spPr bwMode="auto">
              <a:xfrm rot="5400000">
                <a:off x="3787207" y="2796102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5" name="Oval 142"/>
              <p:cNvSpPr>
                <a:spLocks noChangeArrowheads="1"/>
              </p:cNvSpPr>
              <p:nvPr/>
            </p:nvSpPr>
            <p:spPr bwMode="auto">
              <a:xfrm rot="5400000">
                <a:off x="3723859" y="2431543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6" name="Oval 142"/>
              <p:cNvSpPr>
                <a:spLocks noChangeArrowheads="1"/>
              </p:cNvSpPr>
              <p:nvPr/>
            </p:nvSpPr>
            <p:spPr bwMode="auto">
              <a:xfrm rot="5400000">
                <a:off x="4153627" y="3470910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7" name="Oval 142"/>
              <p:cNvSpPr>
                <a:spLocks noChangeArrowheads="1"/>
              </p:cNvSpPr>
              <p:nvPr/>
            </p:nvSpPr>
            <p:spPr bwMode="auto">
              <a:xfrm rot="5400000">
                <a:off x="3960587" y="3105150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8" name="Oval 142"/>
              <p:cNvSpPr>
                <a:spLocks noChangeArrowheads="1"/>
              </p:cNvSpPr>
              <p:nvPr/>
            </p:nvSpPr>
            <p:spPr bwMode="auto">
              <a:xfrm rot="5400000">
                <a:off x="3571815" y="3354799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9" name="Oval 142"/>
              <p:cNvSpPr>
                <a:spLocks noChangeArrowheads="1"/>
              </p:cNvSpPr>
              <p:nvPr/>
            </p:nvSpPr>
            <p:spPr bwMode="auto">
              <a:xfrm rot="5400000">
                <a:off x="3919947" y="3943350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0" name="Oval 142"/>
              <p:cNvSpPr>
                <a:spLocks noChangeArrowheads="1"/>
              </p:cNvSpPr>
              <p:nvPr/>
            </p:nvSpPr>
            <p:spPr bwMode="auto">
              <a:xfrm rot="5400000">
                <a:off x="3820379" y="3583687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1" name="Oval 142"/>
              <p:cNvSpPr>
                <a:spLocks noChangeArrowheads="1"/>
              </p:cNvSpPr>
              <p:nvPr/>
            </p:nvSpPr>
            <p:spPr bwMode="auto">
              <a:xfrm rot="5400000">
                <a:off x="4046947" y="2114550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2" name="Oval 142"/>
              <p:cNvSpPr>
                <a:spLocks noChangeArrowheads="1"/>
              </p:cNvSpPr>
              <p:nvPr/>
            </p:nvSpPr>
            <p:spPr bwMode="auto">
              <a:xfrm rot="5400000">
                <a:off x="4199347" y="1733550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3" name="Oval 142"/>
              <p:cNvSpPr>
                <a:spLocks noChangeArrowheads="1"/>
              </p:cNvSpPr>
              <p:nvPr/>
            </p:nvSpPr>
            <p:spPr bwMode="auto">
              <a:xfrm rot="5400000">
                <a:off x="3894547" y="1047750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4" name="Oval 142"/>
              <p:cNvSpPr>
                <a:spLocks noChangeArrowheads="1"/>
              </p:cNvSpPr>
              <p:nvPr/>
            </p:nvSpPr>
            <p:spPr bwMode="auto">
              <a:xfrm rot="5400000">
                <a:off x="3818347" y="1428750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5" name="Oval 142"/>
              <p:cNvSpPr>
                <a:spLocks noChangeArrowheads="1"/>
              </p:cNvSpPr>
              <p:nvPr/>
            </p:nvSpPr>
            <p:spPr bwMode="auto">
              <a:xfrm rot="5400000">
                <a:off x="3437347" y="1733550"/>
                <a:ext cx="310896" cy="310896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562" name="Freeform 182"/>
            <p:cNvSpPr>
              <a:spLocks noEditPoints="1"/>
            </p:cNvSpPr>
            <p:nvPr/>
          </p:nvSpPr>
          <p:spPr bwMode="auto">
            <a:xfrm>
              <a:off x="2672075" y="1625600"/>
              <a:ext cx="149728" cy="137478"/>
            </a:xfrm>
            <a:custGeom>
              <a:avLst/>
              <a:gdLst>
                <a:gd name="T0" fmla="*/ 19 w 140"/>
                <a:gd name="T1" fmla="*/ 14 h 128"/>
                <a:gd name="T2" fmla="*/ 26 w 140"/>
                <a:gd name="T3" fmla="*/ 85 h 128"/>
                <a:gd name="T4" fmla="*/ 33 w 140"/>
                <a:gd name="T5" fmla="*/ 128 h 128"/>
                <a:gd name="T6" fmla="*/ 62 w 140"/>
                <a:gd name="T7" fmla="*/ 97 h 128"/>
                <a:gd name="T8" fmla="*/ 62 w 140"/>
                <a:gd name="T9" fmla="*/ 31 h 128"/>
                <a:gd name="T10" fmla="*/ 0 w 140"/>
                <a:gd name="T11" fmla="*/ 20 h 128"/>
                <a:gd name="T12" fmla="*/ 16 w 140"/>
                <a:gd name="T13" fmla="*/ 119 h 128"/>
                <a:gd name="T14" fmla="*/ 8 w 140"/>
                <a:gd name="T15" fmla="*/ 20 h 128"/>
                <a:gd name="T16" fmla="*/ 8 w 140"/>
                <a:gd name="T17" fmla="*/ 12 h 128"/>
                <a:gd name="T18" fmla="*/ 65 w 140"/>
                <a:gd name="T19" fmla="*/ 12 h 128"/>
                <a:gd name="T20" fmla="*/ 132 w 140"/>
                <a:gd name="T21" fmla="*/ 111 h 128"/>
                <a:gd name="T22" fmla="*/ 132 w 140"/>
                <a:gd name="T23" fmla="*/ 119 h 128"/>
                <a:gd name="T24" fmla="*/ 132 w 140"/>
                <a:gd name="T25" fmla="*/ 12 h 128"/>
                <a:gd name="T26" fmla="*/ 83 w 140"/>
                <a:gd name="T27" fmla="*/ 38 h 128"/>
                <a:gd name="T28" fmla="*/ 72 w 140"/>
                <a:gd name="T29" fmla="*/ 27 h 128"/>
                <a:gd name="T30" fmla="*/ 72 w 140"/>
                <a:gd name="T31" fmla="*/ 42 h 128"/>
                <a:gd name="T32" fmla="*/ 104 w 140"/>
                <a:gd name="T33" fmla="*/ 38 h 128"/>
                <a:gd name="T34" fmla="*/ 93 w 140"/>
                <a:gd name="T35" fmla="*/ 27 h 128"/>
                <a:gd name="T36" fmla="*/ 93 w 140"/>
                <a:gd name="T37" fmla="*/ 42 h 128"/>
                <a:gd name="T38" fmla="*/ 125 w 140"/>
                <a:gd name="T39" fmla="*/ 38 h 128"/>
                <a:gd name="T40" fmla="*/ 113 w 140"/>
                <a:gd name="T41" fmla="*/ 27 h 128"/>
                <a:gd name="T42" fmla="*/ 113 w 140"/>
                <a:gd name="T43" fmla="*/ 42 h 128"/>
                <a:gd name="T44" fmla="*/ 79 w 140"/>
                <a:gd name="T45" fmla="*/ 62 h 128"/>
                <a:gd name="T46" fmla="*/ 79 w 140"/>
                <a:gd name="T47" fmla="*/ 47 h 128"/>
                <a:gd name="T48" fmla="*/ 68 w 140"/>
                <a:gd name="T49" fmla="*/ 58 h 128"/>
                <a:gd name="T50" fmla="*/ 100 w 140"/>
                <a:gd name="T51" fmla="*/ 62 h 128"/>
                <a:gd name="T52" fmla="*/ 100 w 140"/>
                <a:gd name="T53" fmla="*/ 47 h 128"/>
                <a:gd name="T54" fmla="*/ 89 w 140"/>
                <a:gd name="T55" fmla="*/ 58 h 128"/>
                <a:gd name="T56" fmla="*/ 120 w 140"/>
                <a:gd name="T57" fmla="*/ 62 h 128"/>
                <a:gd name="T58" fmla="*/ 120 w 140"/>
                <a:gd name="T59" fmla="*/ 47 h 128"/>
                <a:gd name="T60" fmla="*/ 109 w 140"/>
                <a:gd name="T61" fmla="*/ 58 h 128"/>
                <a:gd name="T62" fmla="*/ 79 w 140"/>
                <a:gd name="T63" fmla="*/ 82 h 128"/>
                <a:gd name="T64" fmla="*/ 79 w 140"/>
                <a:gd name="T65" fmla="*/ 67 h 128"/>
                <a:gd name="T66" fmla="*/ 68 w 140"/>
                <a:gd name="T67" fmla="*/ 78 h 128"/>
                <a:gd name="T68" fmla="*/ 100 w 140"/>
                <a:gd name="T69" fmla="*/ 82 h 128"/>
                <a:gd name="T70" fmla="*/ 100 w 140"/>
                <a:gd name="T71" fmla="*/ 67 h 128"/>
                <a:gd name="T72" fmla="*/ 89 w 140"/>
                <a:gd name="T73" fmla="*/ 78 h 128"/>
                <a:gd name="T74" fmla="*/ 120 w 140"/>
                <a:gd name="T75" fmla="*/ 82 h 128"/>
                <a:gd name="T76" fmla="*/ 120 w 140"/>
                <a:gd name="T77" fmla="*/ 67 h 128"/>
                <a:gd name="T78" fmla="*/ 109 w 140"/>
                <a:gd name="T79" fmla="*/ 78 h 128"/>
                <a:gd name="T80" fmla="*/ 79 w 140"/>
                <a:gd name="T81" fmla="*/ 102 h 128"/>
                <a:gd name="T82" fmla="*/ 79 w 140"/>
                <a:gd name="T83" fmla="*/ 87 h 128"/>
                <a:gd name="T84" fmla="*/ 68 w 140"/>
                <a:gd name="T85" fmla="*/ 98 h 128"/>
                <a:gd name="T86" fmla="*/ 100 w 140"/>
                <a:gd name="T87" fmla="*/ 102 h 128"/>
                <a:gd name="T88" fmla="*/ 100 w 140"/>
                <a:gd name="T89" fmla="*/ 87 h 128"/>
                <a:gd name="T90" fmla="*/ 89 w 140"/>
                <a:gd name="T91" fmla="*/ 98 h 128"/>
                <a:gd name="T92" fmla="*/ 120 w 140"/>
                <a:gd name="T93" fmla="*/ 102 h 128"/>
                <a:gd name="T94" fmla="*/ 120 w 140"/>
                <a:gd name="T95" fmla="*/ 87 h 128"/>
                <a:gd name="T96" fmla="*/ 109 w 140"/>
                <a:gd name="T97" fmla="*/ 9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0" h="128">
                  <a:moveTo>
                    <a:pt x="48" y="0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25" y="0"/>
                    <a:pt x="19" y="6"/>
                    <a:pt x="19" y="14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7"/>
                    <a:pt x="22" y="41"/>
                    <a:pt x="26" y="43"/>
                  </a:cubicBezTo>
                  <a:cubicBezTo>
                    <a:pt x="26" y="85"/>
                    <a:pt x="26" y="85"/>
                    <a:pt x="26" y="85"/>
                  </a:cubicBezTo>
                  <a:cubicBezTo>
                    <a:pt x="22" y="87"/>
                    <a:pt x="19" y="91"/>
                    <a:pt x="19" y="97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19" y="122"/>
                    <a:pt x="25" y="128"/>
                    <a:pt x="33" y="128"/>
                  </a:cubicBezTo>
                  <a:cubicBezTo>
                    <a:pt x="48" y="128"/>
                    <a:pt x="48" y="128"/>
                    <a:pt x="48" y="128"/>
                  </a:cubicBezTo>
                  <a:cubicBezTo>
                    <a:pt x="56" y="128"/>
                    <a:pt x="62" y="122"/>
                    <a:pt x="62" y="114"/>
                  </a:cubicBezTo>
                  <a:cubicBezTo>
                    <a:pt x="62" y="97"/>
                    <a:pt x="62" y="97"/>
                    <a:pt x="62" y="97"/>
                  </a:cubicBezTo>
                  <a:cubicBezTo>
                    <a:pt x="62" y="91"/>
                    <a:pt x="59" y="87"/>
                    <a:pt x="55" y="85"/>
                  </a:cubicBezTo>
                  <a:cubicBezTo>
                    <a:pt x="55" y="43"/>
                    <a:pt x="55" y="43"/>
                    <a:pt x="55" y="43"/>
                  </a:cubicBezTo>
                  <a:cubicBezTo>
                    <a:pt x="59" y="41"/>
                    <a:pt x="62" y="37"/>
                    <a:pt x="62" y="31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62" y="6"/>
                    <a:pt x="56" y="0"/>
                    <a:pt x="48" y="0"/>
                  </a:cubicBezTo>
                  <a:close/>
                  <a:moveTo>
                    <a:pt x="0" y="20"/>
                  </a:move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19"/>
                    <a:pt x="8" y="119"/>
                  </a:cubicBezTo>
                  <a:cubicBezTo>
                    <a:pt x="16" y="119"/>
                    <a:pt x="16" y="119"/>
                    <a:pt x="16" y="119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4" y="12"/>
                    <a:pt x="0" y="16"/>
                    <a:pt x="0" y="20"/>
                  </a:cubicBezTo>
                  <a:close/>
                  <a:moveTo>
                    <a:pt x="132" y="12"/>
                  </a:moveTo>
                  <a:cubicBezTo>
                    <a:pt x="65" y="12"/>
                    <a:pt x="65" y="12"/>
                    <a:pt x="65" y="12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132" y="20"/>
                    <a:pt x="132" y="20"/>
                    <a:pt x="132" y="20"/>
                  </a:cubicBezTo>
                  <a:cubicBezTo>
                    <a:pt x="132" y="111"/>
                    <a:pt x="132" y="111"/>
                    <a:pt x="132" y="111"/>
                  </a:cubicBezTo>
                  <a:cubicBezTo>
                    <a:pt x="65" y="111"/>
                    <a:pt x="65" y="111"/>
                    <a:pt x="65" y="111"/>
                  </a:cubicBezTo>
                  <a:cubicBezTo>
                    <a:pt x="65" y="119"/>
                    <a:pt x="65" y="119"/>
                    <a:pt x="65" y="119"/>
                  </a:cubicBezTo>
                  <a:cubicBezTo>
                    <a:pt x="132" y="119"/>
                    <a:pt x="132" y="119"/>
                    <a:pt x="132" y="119"/>
                  </a:cubicBezTo>
                  <a:cubicBezTo>
                    <a:pt x="136" y="119"/>
                    <a:pt x="140" y="116"/>
                    <a:pt x="140" y="111"/>
                  </a:cubicBezTo>
                  <a:cubicBezTo>
                    <a:pt x="140" y="20"/>
                    <a:pt x="140" y="20"/>
                    <a:pt x="140" y="20"/>
                  </a:cubicBezTo>
                  <a:cubicBezTo>
                    <a:pt x="140" y="16"/>
                    <a:pt x="136" y="12"/>
                    <a:pt x="132" y="12"/>
                  </a:cubicBezTo>
                  <a:close/>
                  <a:moveTo>
                    <a:pt x="72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81" y="42"/>
                    <a:pt x="83" y="40"/>
                    <a:pt x="83" y="38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83" y="28"/>
                    <a:pt x="81" y="27"/>
                    <a:pt x="79" y="27"/>
                  </a:cubicBezTo>
                  <a:cubicBezTo>
                    <a:pt x="72" y="27"/>
                    <a:pt x="72" y="27"/>
                    <a:pt x="72" y="27"/>
                  </a:cubicBezTo>
                  <a:cubicBezTo>
                    <a:pt x="70" y="27"/>
                    <a:pt x="68" y="28"/>
                    <a:pt x="68" y="3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40"/>
                    <a:pt x="70" y="42"/>
                    <a:pt x="72" y="42"/>
                  </a:cubicBezTo>
                  <a:close/>
                  <a:moveTo>
                    <a:pt x="93" y="42"/>
                  </a:moveTo>
                  <a:cubicBezTo>
                    <a:pt x="100" y="42"/>
                    <a:pt x="100" y="42"/>
                    <a:pt x="100" y="42"/>
                  </a:cubicBezTo>
                  <a:cubicBezTo>
                    <a:pt x="102" y="42"/>
                    <a:pt x="104" y="40"/>
                    <a:pt x="104" y="38"/>
                  </a:cubicBezTo>
                  <a:cubicBezTo>
                    <a:pt x="104" y="31"/>
                    <a:pt x="104" y="31"/>
                    <a:pt x="104" y="31"/>
                  </a:cubicBezTo>
                  <a:cubicBezTo>
                    <a:pt x="104" y="28"/>
                    <a:pt x="102" y="27"/>
                    <a:pt x="100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0" y="27"/>
                    <a:pt x="89" y="28"/>
                    <a:pt x="89" y="31"/>
                  </a:cubicBezTo>
                  <a:cubicBezTo>
                    <a:pt x="89" y="38"/>
                    <a:pt x="89" y="38"/>
                    <a:pt x="89" y="38"/>
                  </a:cubicBezTo>
                  <a:cubicBezTo>
                    <a:pt x="89" y="40"/>
                    <a:pt x="90" y="42"/>
                    <a:pt x="93" y="42"/>
                  </a:cubicBezTo>
                  <a:close/>
                  <a:moveTo>
                    <a:pt x="113" y="42"/>
                  </a:moveTo>
                  <a:cubicBezTo>
                    <a:pt x="120" y="42"/>
                    <a:pt x="120" y="42"/>
                    <a:pt x="120" y="42"/>
                  </a:cubicBezTo>
                  <a:cubicBezTo>
                    <a:pt x="123" y="42"/>
                    <a:pt x="125" y="40"/>
                    <a:pt x="125" y="38"/>
                  </a:cubicBezTo>
                  <a:cubicBezTo>
                    <a:pt x="125" y="31"/>
                    <a:pt x="125" y="31"/>
                    <a:pt x="125" y="31"/>
                  </a:cubicBezTo>
                  <a:cubicBezTo>
                    <a:pt x="125" y="28"/>
                    <a:pt x="123" y="27"/>
                    <a:pt x="120" y="27"/>
                  </a:cubicBezTo>
                  <a:cubicBezTo>
                    <a:pt x="113" y="27"/>
                    <a:pt x="113" y="27"/>
                    <a:pt x="113" y="27"/>
                  </a:cubicBezTo>
                  <a:cubicBezTo>
                    <a:pt x="111" y="27"/>
                    <a:pt x="109" y="28"/>
                    <a:pt x="109" y="31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40"/>
                    <a:pt x="111" y="42"/>
                    <a:pt x="113" y="42"/>
                  </a:cubicBezTo>
                  <a:close/>
                  <a:moveTo>
                    <a:pt x="68" y="58"/>
                  </a:moveTo>
                  <a:cubicBezTo>
                    <a:pt x="68" y="60"/>
                    <a:pt x="70" y="62"/>
                    <a:pt x="72" y="62"/>
                  </a:cubicBezTo>
                  <a:cubicBezTo>
                    <a:pt x="79" y="62"/>
                    <a:pt x="79" y="62"/>
                    <a:pt x="79" y="62"/>
                  </a:cubicBezTo>
                  <a:cubicBezTo>
                    <a:pt x="81" y="62"/>
                    <a:pt x="83" y="60"/>
                    <a:pt x="83" y="58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83" y="49"/>
                    <a:pt x="81" y="47"/>
                    <a:pt x="79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0" y="47"/>
                    <a:pt x="68" y="49"/>
                    <a:pt x="68" y="51"/>
                  </a:cubicBezTo>
                  <a:lnTo>
                    <a:pt x="68" y="58"/>
                  </a:lnTo>
                  <a:close/>
                  <a:moveTo>
                    <a:pt x="89" y="58"/>
                  </a:moveTo>
                  <a:cubicBezTo>
                    <a:pt x="89" y="60"/>
                    <a:pt x="90" y="62"/>
                    <a:pt x="93" y="62"/>
                  </a:cubicBezTo>
                  <a:cubicBezTo>
                    <a:pt x="100" y="62"/>
                    <a:pt x="100" y="62"/>
                    <a:pt x="100" y="62"/>
                  </a:cubicBezTo>
                  <a:cubicBezTo>
                    <a:pt x="102" y="62"/>
                    <a:pt x="104" y="60"/>
                    <a:pt x="104" y="58"/>
                  </a:cubicBezTo>
                  <a:cubicBezTo>
                    <a:pt x="104" y="51"/>
                    <a:pt x="104" y="51"/>
                    <a:pt x="104" y="51"/>
                  </a:cubicBezTo>
                  <a:cubicBezTo>
                    <a:pt x="104" y="49"/>
                    <a:pt x="102" y="47"/>
                    <a:pt x="100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0" y="47"/>
                    <a:pt x="89" y="49"/>
                    <a:pt x="89" y="51"/>
                  </a:cubicBezTo>
                  <a:lnTo>
                    <a:pt x="89" y="58"/>
                  </a:lnTo>
                  <a:close/>
                  <a:moveTo>
                    <a:pt x="109" y="58"/>
                  </a:moveTo>
                  <a:cubicBezTo>
                    <a:pt x="109" y="60"/>
                    <a:pt x="111" y="62"/>
                    <a:pt x="113" y="62"/>
                  </a:cubicBezTo>
                  <a:cubicBezTo>
                    <a:pt x="120" y="62"/>
                    <a:pt x="120" y="62"/>
                    <a:pt x="120" y="62"/>
                  </a:cubicBezTo>
                  <a:cubicBezTo>
                    <a:pt x="123" y="62"/>
                    <a:pt x="125" y="60"/>
                    <a:pt x="125" y="58"/>
                  </a:cubicBezTo>
                  <a:cubicBezTo>
                    <a:pt x="125" y="51"/>
                    <a:pt x="125" y="51"/>
                    <a:pt x="125" y="51"/>
                  </a:cubicBezTo>
                  <a:cubicBezTo>
                    <a:pt x="125" y="49"/>
                    <a:pt x="123" y="47"/>
                    <a:pt x="120" y="47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1" y="47"/>
                    <a:pt x="109" y="49"/>
                    <a:pt x="109" y="51"/>
                  </a:cubicBezTo>
                  <a:lnTo>
                    <a:pt x="109" y="58"/>
                  </a:lnTo>
                  <a:close/>
                  <a:moveTo>
                    <a:pt x="68" y="78"/>
                  </a:moveTo>
                  <a:cubicBezTo>
                    <a:pt x="68" y="80"/>
                    <a:pt x="70" y="82"/>
                    <a:pt x="72" y="82"/>
                  </a:cubicBezTo>
                  <a:cubicBezTo>
                    <a:pt x="79" y="82"/>
                    <a:pt x="79" y="82"/>
                    <a:pt x="79" y="82"/>
                  </a:cubicBezTo>
                  <a:cubicBezTo>
                    <a:pt x="81" y="82"/>
                    <a:pt x="83" y="80"/>
                    <a:pt x="83" y="78"/>
                  </a:cubicBezTo>
                  <a:cubicBezTo>
                    <a:pt x="83" y="71"/>
                    <a:pt x="83" y="71"/>
                    <a:pt x="83" y="71"/>
                  </a:cubicBezTo>
                  <a:cubicBezTo>
                    <a:pt x="83" y="69"/>
                    <a:pt x="81" y="67"/>
                    <a:pt x="79" y="67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70" y="67"/>
                    <a:pt x="68" y="69"/>
                    <a:pt x="68" y="71"/>
                  </a:cubicBezTo>
                  <a:lnTo>
                    <a:pt x="68" y="78"/>
                  </a:lnTo>
                  <a:close/>
                  <a:moveTo>
                    <a:pt x="89" y="78"/>
                  </a:moveTo>
                  <a:cubicBezTo>
                    <a:pt x="89" y="80"/>
                    <a:pt x="90" y="82"/>
                    <a:pt x="93" y="82"/>
                  </a:cubicBezTo>
                  <a:cubicBezTo>
                    <a:pt x="100" y="82"/>
                    <a:pt x="100" y="82"/>
                    <a:pt x="100" y="82"/>
                  </a:cubicBezTo>
                  <a:cubicBezTo>
                    <a:pt x="102" y="82"/>
                    <a:pt x="104" y="80"/>
                    <a:pt x="104" y="78"/>
                  </a:cubicBezTo>
                  <a:cubicBezTo>
                    <a:pt x="104" y="71"/>
                    <a:pt x="104" y="71"/>
                    <a:pt x="104" y="71"/>
                  </a:cubicBezTo>
                  <a:cubicBezTo>
                    <a:pt x="104" y="69"/>
                    <a:pt x="102" y="67"/>
                    <a:pt x="100" y="67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0" y="67"/>
                    <a:pt x="89" y="69"/>
                    <a:pt x="89" y="71"/>
                  </a:cubicBezTo>
                  <a:lnTo>
                    <a:pt x="89" y="78"/>
                  </a:lnTo>
                  <a:close/>
                  <a:moveTo>
                    <a:pt x="109" y="78"/>
                  </a:moveTo>
                  <a:cubicBezTo>
                    <a:pt x="109" y="80"/>
                    <a:pt x="111" y="82"/>
                    <a:pt x="113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23" y="82"/>
                    <a:pt x="125" y="80"/>
                    <a:pt x="125" y="78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25" y="69"/>
                    <a:pt x="123" y="67"/>
                    <a:pt x="120" y="67"/>
                  </a:cubicBezTo>
                  <a:cubicBezTo>
                    <a:pt x="113" y="67"/>
                    <a:pt x="113" y="67"/>
                    <a:pt x="113" y="67"/>
                  </a:cubicBezTo>
                  <a:cubicBezTo>
                    <a:pt x="111" y="67"/>
                    <a:pt x="109" y="69"/>
                    <a:pt x="109" y="71"/>
                  </a:cubicBezTo>
                  <a:lnTo>
                    <a:pt x="109" y="78"/>
                  </a:lnTo>
                  <a:close/>
                  <a:moveTo>
                    <a:pt x="68" y="98"/>
                  </a:moveTo>
                  <a:cubicBezTo>
                    <a:pt x="68" y="100"/>
                    <a:pt x="70" y="102"/>
                    <a:pt x="72" y="102"/>
                  </a:cubicBezTo>
                  <a:cubicBezTo>
                    <a:pt x="79" y="102"/>
                    <a:pt x="79" y="102"/>
                    <a:pt x="79" y="102"/>
                  </a:cubicBezTo>
                  <a:cubicBezTo>
                    <a:pt x="81" y="102"/>
                    <a:pt x="83" y="100"/>
                    <a:pt x="83" y="98"/>
                  </a:cubicBezTo>
                  <a:cubicBezTo>
                    <a:pt x="83" y="91"/>
                    <a:pt x="83" y="91"/>
                    <a:pt x="83" y="91"/>
                  </a:cubicBezTo>
                  <a:cubicBezTo>
                    <a:pt x="83" y="89"/>
                    <a:pt x="81" y="87"/>
                    <a:pt x="79" y="87"/>
                  </a:cubicBezTo>
                  <a:cubicBezTo>
                    <a:pt x="72" y="87"/>
                    <a:pt x="72" y="87"/>
                    <a:pt x="72" y="87"/>
                  </a:cubicBezTo>
                  <a:cubicBezTo>
                    <a:pt x="70" y="87"/>
                    <a:pt x="68" y="89"/>
                    <a:pt x="68" y="91"/>
                  </a:cubicBezTo>
                  <a:lnTo>
                    <a:pt x="68" y="98"/>
                  </a:lnTo>
                  <a:close/>
                  <a:moveTo>
                    <a:pt x="89" y="98"/>
                  </a:moveTo>
                  <a:cubicBezTo>
                    <a:pt x="89" y="100"/>
                    <a:pt x="90" y="102"/>
                    <a:pt x="93" y="10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102" y="102"/>
                    <a:pt x="104" y="100"/>
                    <a:pt x="104" y="98"/>
                  </a:cubicBezTo>
                  <a:cubicBezTo>
                    <a:pt x="104" y="91"/>
                    <a:pt x="104" y="91"/>
                    <a:pt x="104" y="91"/>
                  </a:cubicBezTo>
                  <a:cubicBezTo>
                    <a:pt x="104" y="89"/>
                    <a:pt x="102" y="87"/>
                    <a:pt x="100" y="87"/>
                  </a:cubicBezTo>
                  <a:cubicBezTo>
                    <a:pt x="93" y="87"/>
                    <a:pt x="93" y="87"/>
                    <a:pt x="93" y="87"/>
                  </a:cubicBezTo>
                  <a:cubicBezTo>
                    <a:pt x="90" y="87"/>
                    <a:pt x="89" y="89"/>
                    <a:pt x="89" y="91"/>
                  </a:cubicBezTo>
                  <a:lnTo>
                    <a:pt x="89" y="98"/>
                  </a:lnTo>
                  <a:close/>
                  <a:moveTo>
                    <a:pt x="109" y="98"/>
                  </a:moveTo>
                  <a:cubicBezTo>
                    <a:pt x="109" y="100"/>
                    <a:pt x="111" y="102"/>
                    <a:pt x="113" y="102"/>
                  </a:cubicBezTo>
                  <a:cubicBezTo>
                    <a:pt x="120" y="102"/>
                    <a:pt x="120" y="102"/>
                    <a:pt x="120" y="102"/>
                  </a:cubicBezTo>
                  <a:cubicBezTo>
                    <a:pt x="123" y="102"/>
                    <a:pt x="125" y="100"/>
                    <a:pt x="125" y="98"/>
                  </a:cubicBezTo>
                  <a:cubicBezTo>
                    <a:pt x="125" y="91"/>
                    <a:pt x="125" y="91"/>
                    <a:pt x="125" y="91"/>
                  </a:cubicBezTo>
                  <a:cubicBezTo>
                    <a:pt x="125" y="89"/>
                    <a:pt x="123" y="87"/>
                    <a:pt x="120" y="87"/>
                  </a:cubicBezTo>
                  <a:cubicBezTo>
                    <a:pt x="113" y="87"/>
                    <a:pt x="113" y="87"/>
                    <a:pt x="113" y="87"/>
                  </a:cubicBezTo>
                  <a:cubicBezTo>
                    <a:pt x="111" y="87"/>
                    <a:pt x="109" y="89"/>
                    <a:pt x="109" y="91"/>
                  </a:cubicBezTo>
                  <a:lnTo>
                    <a:pt x="109" y="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565" name="Freeform 187"/>
            <p:cNvSpPr>
              <a:spLocks noEditPoints="1"/>
            </p:cNvSpPr>
            <p:nvPr/>
          </p:nvSpPr>
          <p:spPr bwMode="auto">
            <a:xfrm>
              <a:off x="3108362" y="2166620"/>
              <a:ext cx="112594" cy="159372"/>
            </a:xfrm>
            <a:custGeom>
              <a:avLst/>
              <a:gdLst>
                <a:gd name="T0" fmla="*/ 0 w 88"/>
                <a:gd name="T1" fmla="*/ 8 h 124"/>
                <a:gd name="T2" fmla="*/ 80 w 88"/>
                <a:gd name="T3" fmla="*/ 124 h 124"/>
                <a:gd name="T4" fmla="*/ 80 w 88"/>
                <a:gd name="T5" fmla="*/ 0 h 124"/>
                <a:gd name="T6" fmla="*/ 8 w 88"/>
                <a:gd name="T7" fmla="*/ 8 h 124"/>
                <a:gd name="T8" fmla="*/ 20 w 88"/>
                <a:gd name="T9" fmla="*/ 44 h 124"/>
                <a:gd name="T10" fmla="*/ 72 w 88"/>
                <a:gd name="T11" fmla="*/ 20 h 124"/>
                <a:gd name="T12" fmla="*/ 16 w 88"/>
                <a:gd name="T13" fmla="*/ 20 h 124"/>
                <a:gd name="T14" fmla="*/ 24 w 88"/>
                <a:gd name="T15" fmla="*/ 66 h 124"/>
                <a:gd name="T16" fmla="*/ 28 w 88"/>
                <a:gd name="T17" fmla="*/ 70 h 124"/>
                <a:gd name="T18" fmla="*/ 32 w 88"/>
                <a:gd name="T19" fmla="*/ 66 h 124"/>
                <a:gd name="T20" fmla="*/ 30 w 88"/>
                <a:gd name="T21" fmla="*/ 62 h 124"/>
                <a:gd name="T22" fmla="*/ 26 w 88"/>
                <a:gd name="T23" fmla="*/ 60 h 124"/>
                <a:gd name="T24" fmla="*/ 22 w 88"/>
                <a:gd name="T25" fmla="*/ 64 h 124"/>
                <a:gd name="T26" fmla="*/ 36 w 88"/>
                <a:gd name="T27" fmla="*/ 78 h 124"/>
                <a:gd name="T28" fmla="*/ 36 w 88"/>
                <a:gd name="T29" fmla="*/ 50 h 124"/>
                <a:gd name="T30" fmla="*/ 14 w 88"/>
                <a:gd name="T31" fmla="*/ 72 h 124"/>
                <a:gd name="T32" fmla="*/ 20 w 88"/>
                <a:gd name="T33" fmla="*/ 54 h 124"/>
                <a:gd name="T34" fmla="*/ 38 w 88"/>
                <a:gd name="T35" fmla="*/ 72 h 124"/>
                <a:gd name="T36" fmla="*/ 18 w 88"/>
                <a:gd name="T37" fmla="*/ 72 h 124"/>
                <a:gd name="T38" fmla="*/ 36 w 88"/>
                <a:gd name="T39" fmla="*/ 110 h 124"/>
                <a:gd name="T40" fmla="*/ 36 w 88"/>
                <a:gd name="T41" fmla="*/ 82 h 124"/>
                <a:gd name="T42" fmla="*/ 14 w 88"/>
                <a:gd name="T43" fmla="*/ 104 h 124"/>
                <a:gd name="T44" fmla="*/ 20 w 88"/>
                <a:gd name="T45" fmla="*/ 86 h 124"/>
                <a:gd name="T46" fmla="*/ 38 w 88"/>
                <a:gd name="T47" fmla="*/ 104 h 124"/>
                <a:gd name="T48" fmla="*/ 18 w 88"/>
                <a:gd name="T49" fmla="*/ 104 h 124"/>
                <a:gd name="T50" fmla="*/ 25 w 88"/>
                <a:gd name="T51" fmla="*/ 101 h 124"/>
                <a:gd name="T52" fmla="*/ 29 w 88"/>
                <a:gd name="T53" fmla="*/ 100 h 124"/>
                <a:gd name="T54" fmla="*/ 32 w 88"/>
                <a:gd name="T55" fmla="*/ 97 h 124"/>
                <a:gd name="T56" fmla="*/ 32 w 88"/>
                <a:gd name="T57" fmla="*/ 92 h 124"/>
                <a:gd name="T58" fmla="*/ 27 w 88"/>
                <a:gd name="T59" fmla="*/ 92 h 124"/>
                <a:gd name="T60" fmla="*/ 25 w 88"/>
                <a:gd name="T61" fmla="*/ 96 h 124"/>
                <a:gd name="T62" fmla="*/ 64 w 88"/>
                <a:gd name="T63" fmla="*/ 62 h 124"/>
                <a:gd name="T64" fmla="*/ 56 w 88"/>
                <a:gd name="T65" fmla="*/ 66 h 124"/>
                <a:gd name="T66" fmla="*/ 64 w 88"/>
                <a:gd name="T67" fmla="*/ 62 h 124"/>
                <a:gd name="T68" fmla="*/ 46 w 88"/>
                <a:gd name="T69" fmla="*/ 72 h 124"/>
                <a:gd name="T70" fmla="*/ 74 w 88"/>
                <a:gd name="T71" fmla="*/ 72 h 124"/>
                <a:gd name="T72" fmla="*/ 52 w 88"/>
                <a:gd name="T73" fmla="*/ 50 h 124"/>
                <a:gd name="T74" fmla="*/ 68 w 88"/>
                <a:gd name="T75" fmla="*/ 74 h 124"/>
                <a:gd name="T76" fmla="*/ 50 w 88"/>
                <a:gd name="T77" fmla="*/ 56 h 124"/>
                <a:gd name="T78" fmla="*/ 70 w 88"/>
                <a:gd name="T79" fmla="*/ 56 h 124"/>
                <a:gd name="T80" fmla="*/ 60 w 88"/>
                <a:gd name="T81" fmla="*/ 89 h 124"/>
                <a:gd name="T82" fmla="*/ 60 w 88"/>
                <a:gd name="T83" fmla="*/ 99 h 124"/>
                <a:gd name="T84" fmla="*/ 62 w 88"/>
                <a:gd name="T85" fmla="*/ 101 h 124"/>
                <a:gd name="T86" fmla="*/ 52 w 88"/>
                <a:gd name="T87" fmla="*/ 82 h 124"/>
                <a:gd name="T88" fmla="*/ 52 w 88"/>
                <a:gd name="T89" fmla="*/ 110 h 124"/>
                <a:gd name="T90" fmla="*/ 74 w 88"/>
                <a:gd name="T91" fmla="*/ 88 h 124"/>
                <a:gd name="T92" fmla="*/ 68 w 88"/>
                <a:gd name="T93" fmla="*/ 106 h 124"/>
                <a:gd name="T94" fmla="*/ 50 w 88"/>
                <a:gd name="T95" fmla="*/ 88 h 124"/>
                <a:gd name="T96" fmla="*/ 70 w 88"/>
                <a:gd name="T97" fmla="*/ 88 h 124"/>
                <a:gd name="T98" fmla="*/ 56 w 88"/>
                <a:gd name="T99" fmla="*/ 94 h 124"/>
                <a:gd name="T100" fmla="*/ 64 w 88"/>
                <a:gd name="T101" fmla="*/ 9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" h="124">
                  <a:moveTo>
                    <a:pt x="8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20"/>
                    <a:pt x="4" y="124"/>
                    <a:pt x="8" y="124"/>
                  </a:cubicBezTo>
                  <a:cubicBezTo>
                    <a:pt x="80" y="124"/>
                    <a:pt x="80" y="124"/>
                    <a:pt x="80" y="124"/>
                  </a:cubicBezTo>
                  <a:cubicBezTo>
                    <a:pt x="84" y="124"/>
                    <a:pt x="88" y="120"/>
                    <a:pt x="88" y="116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88" y="4"/>
                    <a:pt x="84" y="0"/>
                    <a:pt x="80" y="0"/>
                  </a:cubicBezTo>
                  <a:close/>
                  <a:moveTo>
                    <a:pt x="80" y="116"/>
                  </a:moveTo>
                  <a:cubicBezTo>
                    <a:pt x="8" y="116"/>
                    <a:pt x="8" y="116"/>
                    <a:pt x="8" y="116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0" y="8"/>
                    <a:pt x="80" y="8"/>
                    <a:pt x="80" y="8"/>
                  </a:cubicBezTo>
                  <a:lnTo>
                    <a:pt x="80" y="116"/>
                  </a:lnTo>
                  <a:close/>
                  <a:moveTo>
                    <a:pt x="20" y="44"/>
                  </a:moveTo>
                  <a:cubicBezTo>
                    <a:pt x="68" y="44"/>
                    <a:pt x="68" y="44"/>
                    <a:pt x="68" y="44"/>
                  </a:cubicBezTo>
                  <a:cubicBezTo>
                    <a:pt x="70" y="44"/>
                    <a:pt x="72" y="42"/>
                    <a:pt x="72" y="40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8"/>
                    <a:pt x="70" y="16"/>
                    <a:pt x="68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8" y="16"/>
                    <a:pt x="16" y="18"/>
                    <a:pt x="16" y="20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2"/>
                    <a:pt x="18" y="44"/>
                    <a:pt x="20" y="44"/>
                  </a:cubicBezTo>
                  <a:close/>
                  <a:moveTo>
                    <a:pt x="24" y="66"/>
                  </a:moveTo>
                  <a:cubicBezTo>
                    <a:pt x="26" y="66"/>
                    <a:pt x="26" y="66"/>
                    <a:pt x="26" y="66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9"/>
                    <a:pt x="27" y="70"/>
                    <a:pt x="28" y="70"/>
                  </a:cubicBezTo>
                  <a:cubicBezTo>
                    <a:pt x="29" y="70"/>
                    <a:pt x="30" y="69"/>
                    <a:pt x="30" y="68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3" y="66"/>
                    <a:pt x="34" y="65"/>
                    <a:pt x="34" y="64"/>
                  </a:cubicBezTo>
                  <a:cubicBezTo>
                    <a:pt x="34" y="63"/>
                    <a:pt x="33" y="62"/>
                    <a:pt x="32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0" y="59"/>
                    <a:pt x="29" y="58"/>
                    <a:pt x="28" y="58"/>
                  </a:cubicBezTo>
                  <a:cubicBezTo>
                    <a:pt x="27" y="58"/>
                    <a:pt x="26" y="59"/>
                    <a:pt x="26" y="60"/>
                  </a:cubicBezTo>
                  <a:cubicBezTo>
                    <a:pt x="26" y="62"/>
                    <a:pt x="26" y="62"/>
                    <a:pt x="26" y="62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3" y="62"/>
                    <a:pt x="22" y="63"/>
                    <a:pt x="22" y="64"/>
                  </a:cubicBezTo>
                  <a:cubicBezTo>
                    <a:pt x="22" y="65"/>
                    <a:pt x="23" y="66"/>
                    <a:pt x="24" y="66"/>
                  </a:cubicBezTo>
                  <a:close/>
                  <a:moveTo>
                    <a:pt x="20" y="78"/>
                  </a:moveTo>
                  <a:cubicBezTo>
                    <a:pt x="36" y="78"/>
                    <a:pt x="36" y="78"/>
                    <a:pt x="36" y="78"/>
                  </a:cubicBezTo>
                  <a:cubicBezTo>
                    <a:pt x="39" y="78"/>
                    <a:pt x="42" y="75"/>
                    <a:pt x="42" y="72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3"/>
                    <a:pt x="39" y="50"/>
                    <a:pt x="36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7" y="50"/>
                    <a:pt x="14" y="53"/>
                    <a:pt x="14" y="56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4" y="75"/>
                    <a:pt x="17" y="78"/>
                    <a:pt x="20" y="78"/>
                  </a:cubicBezTo>
                  <a:close/>
                  <a:moveTo>
                    <a:pt x="18" y="56"/>
                  </a:moveTo>
                  <a:cubicBezTo>
                    <a:pt x="18" y="55"/>
                    <a:pt x="19" y="54"/>
                    <a:pt x="20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7" y="54"/>
                    <a:pt x="38" y="55"/>
                    <a:pt x="38" y="56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73"/>
                    <a:pt x="37" y="74"/>
                    <a:pt x="36" y="74"/>
                  </a:cubicBezTo>
                  <a:cubicBezTo>
                    <a:pt x="20" y="74"/>
                    <a:pt x="20" y="74"/>
                    <a:pt x="20" y="74"/>
                  </a:cubicBezTo>
                  <a:cubicBezTo>
                    <a:pt x="19" y="74"/>
                    <a:pt x="18" y="73"/>
                    <a:pt x="18" y="72"/>
                  </a:cubicBezTo>
                  <a:lnTo>
                    <a:pt x="18" y="56"/>
                  </a:lnTo>
                  <a:close/>
                  <a:moveTo>
                    <a:pt x="20" y="110"/>
                  </a:moveTo>
                  <a:cubicBezTo>
                    <a:pt x="36" y="110"/>
                    <a:pt x="36" y="110"/>
                    <a:pt x="36" y="110"/>
                  </a:cubicBezTo>
                  <a:cubicBezTo>
                    <a:pt x="39" y="110"/>
                    <a:pt x="42" y="107"/>
                    <a:pt x="42" y="104"/>
                  </a:cubicBezTo>
                  <a:cubicBezTo>
                    <a:pt x="42" y="88"/>
                    <a:pt x="42" y="88"/>
                    <a:pt x="42" y="88"/>
                  </a:cubicBezTo>
                  <a:cubicBezTo>
                    <a:pt x="42" y="85"/>
                    <a:pt x="39" y="82"/>
                    <a:pt x="36" y="82"/>
                  </a:cubicBezTo>
                  <a:cubicBezTo>
                    <a:pt x="20" y="82"/>
                    <a:pt x="20" y="82"/>
                    <a:pt x="20" y="82"/>
                  </a:cubicBezTo>
                  <a:cubicBezTo>
                    <a:pt x="17" y="82"/>
                    <a:pt x="14" y="85"/>
                    <a:pt x="14" y="88"/>
                  </a:cubicBezTo>
                  <a:cubicBezTo>
                    <a:pt x="14" y="104"/>
                    <a:pt x="14" y="104"/>
                    <a:pt x="14" y="104"/>
                  </a:cubicBezTo>
                  <a:cubicBezTo>
                    <a:pt x="14" y="107"/>
                    <a:pt x="17" y="110"/>
                    <a:pt x="20" y="110"/>
                  </a:cubicBezTo>
                  <a:close/>
                  <a:moveTo>
                    <a:pt x="18" y="88"/>
                  </a:moveTo>
                  <a:cubicBezTo>
                    <a:pt x="18" y="87"/>
                    <a:pt x="19" y="86"/>
                    <a:pt x="20" y="86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37" y="86"/>
                    <a:pt x="38" y="87"/>
                    <a:pt x="38" y="88"/>
                  </a:cubicBezTo>
                  <a:cubicBezTo>
                    <a:pt x="38" y="104"/>
                    <a:pt x="38" y="104"/>
                    <a:pt x="38" y="104"/>
                  </a:cubicBezTo>
                  <a:cubicBezTo>
                    <a:pt x="38" y="105"/>
                    <a:pt x="37" y="106"/>
                    <a:pt x="36" y="106"/>
                  </a:cubicBezTo>
                  <a:cubicBezTo>
                    <a:pt x="20" y="106"/>
                    <a:pt x="20" y="106"/>
                    <a:pt x="20" y="106"/>
                  </a:cubicBezTo>
                  <a:cubicBezTo>
                    <a:pt x="19" y="106"/>
                    <a:pt x="18" y="105"/>
                    <a:pt x="18" y="104"/>
                  </a:cubicBezTo>
                  <a:lnTo>
                    <a:pt x="18" y="88"/>
                  </a:lnTo>
                  <a:close/>
                  <a:moveTo>
                    <a:pt x="24" y="100"/>
                  </a:moveTo>
                  <a:cubicBezTo>
                    <a:pt x="24" y="101"/>
                    <a:pt x="25" y="101"/>
                    <a:pt x="25" y="101"/>
                  </a:cubicBezTo>
                  <a:cubicBezTo>
                    <a:pt x="26" y="101"/>
                    <a:pt x="26" y="101"/>
                    <a:pt x="27" y="100"/>
                  </a:cubicBezTo>
                  <a:cubicBezTo>
                    <a:pt x="28" y="99"/>
                    <a:pt x="28" y="99"/>
                    <a:pt x="28" y="99"/>
                  </a:cubicBezTo>
                  <a:cubicBezTo>
                    <a:pt x="29" y="100"/>
                    <a:pt x="29" y="100"/>
                    <a:pt x="29" y="100"/>
                  </a:cubicBezTo>
                  <a:cubicBezTo>
                    <a:pt x="30" y="101"/>
                    <a:pt x="30" y="101"/>
                    <a:pt x="31" y="101"/>
                  </a:cubicBezTo>
                  <a:cubicBezTo>
                    <a:pt x="31" y="101"/>
                    <a:pt x="32" y="101"/>
                    <a:pt x="32" y="100"/>
                  </a:cubicBezTo>
                  <a:cubicBezTo>
                    <a:pt x="33" y="99"/>
                    <a:pt x="33" y="98"/>
                    <a:pt x="32" y="97"/>
                  </a:cubicBezTo>
                  <a:cubicBezTo>
                    <a:pt x="31" y="96"/>
                    <a:pt x="31" y="96"/>
                    <a:pt x="31" y="96"/>
                  </a:cubicBezTo>
                  <a:cubicBezTo>
                    <a:pt x="32" y="95"/>
                    <a:pt x="32" y="95"/>
                    <a:pt x="32" y="95"/>
                  </a:cubicBezTo>
                  <a:cubicBezTo>
                    <a:pt x="33" y="94"/>
                    <a:pt x="33" y="93"/>
                    <a:pt x="32" y="92"/>
                  </a:cubicBezTo>
                  <a:cubicBezTo>
                    <a:pt x="31" y="91"/>
                    <a:pt x="30" y="91"/>
                    <a:pt x="29" y="92"/>
                  </a:cubicBezTo>
                  <a:cubicBezTo>
                    <a:pt x="28" y="93"/>
                    <a:pt x="28" y="93"/>
                    <a:pt x="28" y="93"/>
                  </a:cubicBezTo>
                  <a:cubicBezTo>
                    <a:pt x="27" y="92"/>
                    <a:pt x="27" y="92"/>
                    <a:pt x="27" y="92"/>
                  </a:cubicBezTo>
                  <a:cubicBezTo>
                    <a:pt x="26" y="91"/>
                    <a:pt x="25" y="91"/>
                    <a:pt x="24" y="92"/>
                  </a:cubicBezTo>
                  <a:cubicBezTo>
                    <a:pt x="23" y="93"/>
                    <a:pt x="23" y="94"/>
                    <a:pt x="24" y="95"/>
                  </a:cubicBezTo>
                  <a:cubicBezTo>
                    <a:pt x="25" y="96"/>
                    <a:pt x="25" y="96"/>
                    <a:pt x="25" y="96"/>
                  </a:cubicBezTo>
                  <a:cubicBezTo>
                    <a:pt x="24" y="97"/>
                    <a:pt x="24" y="97"/>
                    <a:pt x="24" y="97"/>
                  </a:cubicBezTo>
                  <a:cubicBezTo>
                    <a:pt x="23" y="98"/>
                    <a:pt x="23" y="99"/>
                    <a:pt x="24" y="100"/>
                  </a:cubicBezTo>
                  <a:close/>
                  <a:moveTo>
                    <a:pt x="64" y="62"/>
                  </a:moveTo>
                  <a:cubicBezTo>
                    <a:pt x="56" y="62"/>
                    <a:pt x="56" y="62"/>
                    <a:pt x="56" y="62"/>
                  </a:cubicBezTo>
                  <a:cubicBezTo>
                    <a:pt x="55" y="62"/>
                    <a:pt x="54" y="63"/>
                    <a:pt x="54" y="64"/>
                  </a:cubicBezTo>
                  <a:cubicBezTo>
                    <a:pt x="54" y="65"/>
                    <a:pt x="55" y="66"/>
                    <a:pt x="56" y="66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5" y="66"/>
                    <a:pt x="66" y="65"/>
                    <a:pt x="66" y="64"/>
                  </a:cubicBezTo>
                  <a:cubicBezTo>
                    <a:pt x="66" y="63"/>
                    <a:pt x="65" y="62"/>
                    <a:pt x="64" y="62"/>
                  </a:cubicBezTo>
                  <a:close/>
                  <a:moveTo>
                    <a:pt x="52" y="50"/>
                  </a:moveTo>
                  <a:cubicBezTo>
                    <a:pt x="49" y="50"/>
                    <a:pt x="46" y="53"/>
                    <a:pt x="46" y="56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5"/>
                    <a:pt x="49" y="78"/>
                    <a:pt x="52" y="78"/>
                  </a:cubicBezTo>
                  <a:cubicBezTo>
                    <a:pt x="68" y="78"/>
                    <a:pt x="68" y="78"/>
                    <a:pt x="68" y="78"/>
                  </a:cubicBezTo>
                  <a:cubicBezTo>
                    <a:pt x="71" y="78"/>
                    <a:pt x="74" y="75"/>
                    <a:pt x="74" y="72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53"/>
                    <a:pt x="71" y="50"/>
                    <a:pt x="68" y="50"/>
                  </a:cubicBezTo>
                  <a:lnTo>
                    <a:pt x="52" y="50"/>
                  </a:lnTo>
                  <a:close/>
                  <a:moveTo>
                    <a:pt x="70" y="56"/>
                  </a:moveTo>
                  <a:cubicBezTo>
                    <a:pt x="70" y="72"/>
                    <a:pt x="70" y="72"/>
                    <a:pt x="70" y="72"/>
                  </a:cubicBezTo>
                  <a:cubicBezTo>
                    <a:pt x="70" y="73"/>
                    <a:pt x="69" y="74"/>
                    <a:pt x="68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1" y="74"/>
                    <a:pt x="50" y="73"/>
                    <a:pt x="50" y="72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50" y="55"/>
                    <a:pt x="51" y="54"/>
                    <a:pt x="52" y="54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9" y="54"/>
                    <a:pt x="70" y="55"/>
                    <a:pt x="70" y="56"/>
                  </a:cubicBezTo>
                  <a:close/>
                  <a:moveTo>
                    <a:pt x="60" y="93"/>
                  </a:moveTo>
                  <a:cubicBezTo>
                    <a:pt x="61" y="93"/>
                    <a:pt x="62" y="92"/>
                    <a:pt x="62" y="91"/>
                  </a:cubicBezTo>
                  <a:cubicBezTo>
                    <a:pt x="62" y="90"/>
                    <a:pt x="61" y="89"/>
                    <a:pt x="60" y="89"/>
                  </a:cubicBezTo>
                  <a:cubicBezTo>
                    <a:pt x="59" y="89"/>
                    <a:pt x="58" y="90"/>
                    <a:pt x="58" y="91"/>
                  </a:cubicBezTo>
                  <a:cubicBezTo>
                    <a:pt x="58" y="92"/>
                    <a:pt x="59" y="93"/>
                    <a:pt x="60" y="93"/>
                  </a:cubicBezTo>
                  <a:close/>
                  <a:moveTo>
                    <a:pt x="60" y="99"/>
                  </a:moveTo>
                  <a:cubicBezTo>
                    <a:pt x="59" y="99"/>
                    <a:pt x="58" y="100"/>
                    <a:pt x="58" y="101"/>
                  </a:cubicBezTo>
                  <a:cubicBezTo>
                    <a:pt x="58" y="102"/>
                    <a:pt x="59" y="103"/>
                    <a:pt x="60" y="103"/>
                  </a:cubicBezTo>
                  <a:cubicBezTo>
                    <a:pt x="61" y="103"/>
                    <a:pt x="62" y="102"/>
                    <a:pt x="62" y="101"/>
                  </a:cubicBezTo>
                  <a:cubicBezTo>
                    <a:pt x="62" y="100"/>
                    <a:pt x="61" y="99"/>
                    <a:pt x="60" y="99"/>
                  </a:cubicBezTo>
                  <a:close/>
                  <a:moveTo>
                    <a:pt x="68" y="82"/>
                  </a:moveTo>
                  <a:cubicBezTo>
                    <a:pt x="52" y="82"/>
                    <a:pt x="52" y="82"/>
                    <a:pt x="52" y="82"/>
                  </a:cubicBezTo>
                  <a:cubicBezTo>
                    <a:pt x="49" y="82"/>
                    <a:pt x="46" y="85"/>
                    <a:pt x="46" y="88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6" y="107"/>
                    <a:pt x="49" y="110"/>
                    <a:pt x="52" y="110"/>
                  </a:cubicBezTo>
                  <a:cubicBezTo>
                    <a:pt x="68" y="110"/>
                    <a:pt x="68" y="110"/>
                    <a:pt x="68" y="110"/>
                  </a:cubicBezTo>
                  <a:cubicBezTo>
                    <a:pt x="71" y="110"/>
                    <a:pt x="74" y="107"/>
                    <a:pt x="74" y="104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4" y="85"/>
                    <a:pt x="71" y="82"/>
                    <a:pt x="68" y="82"/>
                  </a:cubicBezTo>
                  <a:close/>
                  <a:moveTo>
                    <a:pt x="70" y="104"/>
                  </a:moveTo>
                  <a:cubicBezTo>
                    <a:pt x="70" y="105"/>
                    <a:pt x="69" y="106"/>
                    <a:pt x="68" y="106"/>
                  </a:cubicBezTo>
                  <a:cubicBezTo>
                    <a:pt x="52" y="106"/>
                    <a:pt x="52" y="106"/>
                    <a:pt x="52" y="106"/>
                  </a:cubicBezTo>
                  <a:cubicBezTo>
                    <a:pt x="51" y="106"/>
                    <a:pt x="50" y="105"/>
                    <a:pt x="50" y="104"/>
                  </a:cubicBezTo>
                  <a:cubicBezTo>
                    <a:pt x="50" y="88"/>
                    <a:pt x="50" y="88"/>
                    <a:pt x="50" y="88"/>
                  </a:cubicBezTo>
                  <a:cubicBezTo>
                    <a:pt x="50" y="87"/>
                    <a:pt x="51" y="86"/>
                    <a:pt x="52" y="86"/>
                  </a:cubicBezTo>
                  <a:cubicBezTo>
                    <a:pt x="68" y="86"/>
                    <a:pt x="68" y="86"/>
                    <a:pt x="68" y="86"/>
                  </a:cubicBezTo>
                  <a:cubicBezTo>
                    <a:pt x="69" y="86"/>
                    <a:pt x="70" y="87"/>
                    <a:pt x="70" y="88"/>
                  </a:cubicBezTo>
                  <a:lnTo>
                    <a:pt x="70" y="104"/>
                  </a:lnTo>
                  <a:close/>
                  <a:moveTo>
                    <a:pt x="64" y="94"/>
                  </a:moveTo>
                  <a:cubicBezTo>
                    <a:pt x="56" y="94"/>
                    <a:pt x="56" y="94"/>
                    <a:pt x="56" y="94"/>
                  </a:cubicBezTo>
                  <a:cubicBezTo>
                    <a:pt x="55" y="94"/>
                    <a:pt x="54" y="95"/>
                    <a:pt x="54" y="96"/>
                  </a:cubicBezTo>
                  <a:cubicBezTo>
                    <a:pt x="54" y="97"/>
                    <a:pt x="55" y="98"/>
                    <a:pt x="56" y="98"/>
                  </a:cubicBezTo>
                  <a:cubicBezTo>
                    <a:pt x="64" y="98"/>
                    <a:pt x="64" y="98"/>
                    <a:pt x="64" y="98"/>
                  </a:cubicBezTo>
                  <a:cubicBezTo>
                    <a:pt x="65" y="98"/>
                    <a:pt x="66" y="97"/>
                    <a:pt x="66" y="96"/>
                  </a:cubicBezTo>
                  <a:cubicBezTo>
                    <a:pt x="66" y="95"/>
                    <a:pt x="65" y="94"/>
                    <a:pt x="64" y="9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36" name="Freeform 192"/>
            <p:cNvSpPr>
              <a:spLocks noEditPoints="1"/>
            </p:cNvSpPr>
            <p:nvPr/>
          </p:nvSpPr>
          <p:spPr bwMode="auto">
            <a:xfrm>
              <a:off x="3916998" y="1642758"/>
              <a:ext cx="152082" cy="181902"/>
            </a:xfrm>
            <a:custGeom>
              <a:avLst/>
              <a:gdLst>
                <a:gd name="T0" fmla="*/ 0 w 108"/>
                <a:gd name="T1" fmla="*/ 99 h 129"/>
                <a:gd name="T2" fmla="*/ 29 w 108"/>
                <a:gd name="T3" fmla="*/ 129 h 129"/>
                <a:gd name="T4" fmla="*/ 58 w 108"/>
                <a:gd name="T5" fmla="*/ 99 h 129"/>
                <a:gd name="T6" fmla="*/ 58 w 108"/>
                <a:gd name="T7" fmla="*/ 75 h 129"/>
                <a:gd name="T8" fmla="*/ 0 w 108"/>
                <a:gd name="T9" fmla="*/ 75 h 129"/>
                <a:gd name="T10" fmla="*/ 0 w 108"/>
                <a:gd name="T11" fmla="*/ 99 h 129"/>
                <a:gd name="T12" fmla="*/ 26 w 108"/>
                <a:gd name="T13" fmla="*/ 33 h 129"/>
                <a:gd name="T14" fmla="*/ 0 w 108"/>
                <a:gd name="T15" fmla="*/ 61 h 129"/>
                <a:gd name="T16" fmla="*/ 0 w 108"/>
                <a:gd name="T17" fmla="*/ 71 h 129"/>
                <a:gd name="T18" fmla="*/ 26 w 108"/>
                <a:gd name="T19" fmla="*/ 71 h 129"/>
                <a:gd name="T20" fmla="*/ 26 w 108"/>
                <a:gd name="T21" fmla="*/ 33 h 129"/>
                <a:gd name="T22" fmla="*/ 31 w 108"/>
                <a:gd name="T23" fmla="*/ 33 h 129"/>
                <a:gd name="T24" fmla="*/ 31 w 108"/>
                <a:gd name="T25" fmla="*/ 71 h 129"/>
                <a:gd name="T26" fmla="*/ 58 w 108"/>
                <a:gd name="T27" fmla="*/ 71 h 129"/>
                <a:gd name="T28" fmla="*/ 58 w 108"/>
                <a:gd name="T29" fmla="*/ 61 h 129"/>
                <a:gd name="T30" fmla="*/ 31 w 108"/>
                <a:gd name="T31" fmla="*/ 33 h 129"/>
                <a:gd name="T32" fmla="*/ 101 w 108"/>
                <a:gd name="T33" fmla="*/ 22 h 129"/>
                <a:gd name="T34" fmla="*/ 101 w 108"/>
                <a:gd name="T35" fmla="*/ 41 h 129"/>
                <a:gd name="T36" fmla="*/ 92 w 108"/>
                <a:gd name="T37" fmla="*/ 51 h 129"/>
                <a:gd name="T38" fmla="*/ 83 w 108"/>
                <a:gd name="T39" fmla="*/ 41 h 129"/>
                <a:gd name="T40" fmla="*/ 83 w 108"/>
                <a:gd name="T41" fmla="*/ 28 h 129"/>
                <a:gd name="T42" fmla="*/ 54 w 108"/>
                <a:gd name="T43" fmla="*/ 0 h 129"/>
                <a:gd name="T44" fmla="*/ 25 w 108"/>
                <a:gd name="T45" fmla="*/ 28 h 129"/>
                <a:gd name="T46" fmla="*/ 32 w 108"/>
                <a:gd name="T47" fmla="*/ 28 h 129"/>
                <a:gd name="T48" fmla="*/ 54 w 108"/>
                <a:gd name="T49" fmla="*/ 7 h 129"/>
                <a:gd name="T50" fmla="*/ 76 w 108"/>
                <a:gd name="T51" fmla="*/ 28 h 129"/>
                <a:gd name="T52" fmla="*/ 76 w 108"/>
                <a:gd name="T53" fmla="*/ 41 h 129"/>
                <a:gd name="T54" fmla="*/ 92 w 108"/>
                <a:gd name="T55" fmla="*/ 58 h 129"/>
                <a:gd name="T56" fmla="*/ 108 w 108"/>
                <a:gd name="T57" fmla="*/ 41 h 129"/>
                <a:gd name="T58" fmla="*/ 108 w 108"/>
                <a:gd name="T59" fmla="*/ 22 h 129"/>
                <a:gd name="T60" fmla="*/ 101 w 108"/>
                <a:gd name="T61" fmla="*/ 22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8" h="129">
                  <a:moveTo>
                    <a:pt x="0" y="99"/>
                  </a:moveTo>
                  <a:cubicBezTo>
                    <a:pt x="0" y="116"/>
                    <a:pt x="13" y="129"/>
                    <a:pt x="29" y="129"/>
                  </a:cubicBezTo>
                  <a:cubicBezTo>
                    <a:pt x="45" y="129"/>
                    <a:pt x="58" y="116"/>
                    <a:pt x="58" y="99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0" y="75"/>
                    <a:pt x="0" y="75"/>
                    <a:pt x="0" y="75"/>
                  </a:cubicBezTo>
                  <a:lnTo>
                    <a:pt x="0" y="99"/>
                  </a:lnTo>
                  <a:close/>
                  <a:moveTo>
                    <a:pt x="26" y="33"/>
                  </a:moveTo>
                  <a:cubicBezTo>
                    <a:pt x="11" y="34"/>
                    <a:pt x="0" y="46"/>
                    <a:pt x="0" y="6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26" y="71"/>
                    <a:pt x="26" y="71"/>
                    <a:pt x="26" y="71"/>
                  </a:cubicBezTo>
                  <a:lnTo>
                    <a:pt x="26" y="33"/>
                  </a:lnTo>
                  <a:close/>
                  <a:moveTo>
                    <a:pt x="31" y="33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58" y="71"/>
                    <a:pt x="58" y="71"/>
                    <a:pt x="58" y="71"/>
                  </a:cubicBezTo>
                  <a:cubicBezTo>
                    <a:pt x="58" y="61"/>
                    <a:pt x="58" y="61"/>
                    <a:pt x="58" y="61"/>
                  </a:cubicBezTo>
                  <a:cubicBezTo>
                    <a:pt x="58" y="46"/>
                    <a:pt x="46" y="34"/>
                    <a:pt x="31" y="33"/>
                  </a:cubicBezTo>
                  <a:close/>
                  <a:moveTo>
                    <a:pt x="101" y="22"/>
                  </a:moveTo>
                  <a:cubicBezTo>
                    <a:pt x="101" y="41"/>
                    <a:pt x="101" y="41"/>
                    <a:pt x="101" y="41"/>
                  </a:cubicBezTo>
                  <a:cubicBezTo>
                    <a:pt x="101" y="47"/>
                    <a:pt x="97" y="51"/>
                    <a:pt x="92" y="51"/>
                  </a:cubicBezTo>
                  <a:cubicBezTo>
                    <a:pt x="87" y="51"/>
                    <a:pt x="83" y="47"/>
                    <a:pt x="83" y="41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3" y="12"/>
                    <a:pt x="70" y="0"/>
                    <a:pt x="54" y="0"/>
                  </a:cubicBezTo>
                  <a:cubicBezTo>
                    <a:pt x="38" y="0"/>
                    <a:pt x="25" y="12"/>
                    <a:pt x="25" y="28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16"/>
                    <a:pt x="42" y="7"/>
                    <a:pt x="54" y="7"/>
                  </a:cubicBezTo>
                  <a:cubicBezTo>
                    <a:pt x="66" y="7"/>
                    <a:pt x="76" y="16"/>
                    <a:pt x="76" y="28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6" y="51"/>
                    <a:pt x="83" y="58"/>
                    <a:pt x="92" y="58"/>
                  </a:cubicBezTo>
                  <a:cubicBezTo>
                    <a:pt x="101" y="58"/>
                    <a:pt x="108" y="51"/>
                    <a:pt x="108" y="41"/>
                  </a:cubicBezTo>
                  <a:cubicBezTo>
                    <a:pt x="108" y="22"/>
                    <a:pt x="108" y="22"/>
                    <a:pt x="108" y="22"/>
                  </a:cubicBezTo>
                  <a:lnTo>
                    <a:pt x="101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39" name="Freeform 198"/>
            <p:cNvSpPr>
              <a:spLocks noEditPoints="1"/>
            </p:cNvSpPr>
            <p:nvPr/>
          </p:nvSpPr>
          <p:spPr bwMode="auto">
            <a:xfrm>
              <a:off x="3503230" y="1958340"/>
              <a:ext cx="163962" cy="177166"/>
            </a:xfrm>
            <a:custGeom>
              <a:avLst/>
              <a:gdLst>
                <a:gd name="T0" fmla="*/ 107 w 126"/>
                <a:gd name="T1" fmla="*/ 55 h 136"/>
                <a:gd name="T2" fmla="*/ 99 w 126"/>
                <a:gd name="T3" fmla="*/ 47 h 136"/>
                <a:gd name="T4" fmla="*/ 95 w 126"/>
                <a:gd name="T5" fmla="*/ 0 h 136"/>
                <a:gd name="T6" fmla="*/ 24 w 126"/>
                <a:gd name="T7" fmla="*/ 4 h 136"/>
                <a:gd name="T8" fmla="*/ 16 w 126"/>
                <a:gd name="T9" fmla="*/ 47 h 136"/>
                <a:gd name="T10" fmla="*/ 32 w 126"/>
                <a:gd name="T11" fmla="*/ 8 h 136"/>
                <a:gd name="T12" fmla="*/ 91 w 126"/>
                <a:gd name="T13" fmla="*/ 47 h 136"/>
                <a:gd name="T14" fmla="*/ 32 w 126"/>
                <a:gd name="T15" fmla="*/ 8 h 136"/>
                <a:gd name="T16" fmla="*/ 16 w 126"/>
                <a:gd name="T17" fmla="*/ 84 h 136"/>
                <a:gd name="T18" fmla="*/ 24 w 126"/>
                <a:gd name="T19" fmla="*/ 92 h 136"/>
                <a:gd name="T20" fmla="*/ 28 w 126"/>
                <a:gd name="T21" fmla="*/ 136 h 136"/>
                <a:gd name="T22" fmla="*/ 99 w 126"/>
                <a:gd name="T23" fmla="*/ 132 h 136"/>
                <a:gd name="T24" fmla="*/ 107 w 126"/>
                <a:gd name="T25" fmla="*/ 92 h 136"/>
                <a:gd name="T26" fmla="*/ 91 w 126"/>
                <a:gd name="T27" fmla="*/ 128 h 136"/>
                <a:gd name="T28" fmla="*/ 32 w 126"/>
                <a:gd name="T29" fmla="*/ 92 h 136"/>
                <a:gd name="T30" fmla="*/ 91 w 126"/>
                <a:gd name="T31" fmla="*/ 128 h 136"/>
                <a:gd name="T32" fmla="*/ 35 w 126"/>
                <a:gd name="T33" fmla="*/ 104 h 136"/>
                <a:gd name="T34" fmla="*/ 87 w 126"/>
                <a:gd name="T35" fmla="*/ 108 h 136"/>
                <a:gd name="T36" fmla="*/ 87 w 126"/>
                <a:gd name="T37" fmla="*/ 96 h 136"/>
                <a:gd name="T38" fmla="*/ 35 w 126"/>
                <a:gd name="T39" fmla="*/ 100 h 136"/>
                <a:gd name="T40" fmla="*/ 87 w 126"/>
                <a:gd name="T41" fmla="*/ 96 h 136"/>
                <a:gd name="T42" fmla="*/ 35 w 126"/>
                <a:gd name="T43" fmla="*/ 112 h 136"/>
                <a:gd name="T44" fmla="*/ 87 w 126"/>
                <a:gd name="T45" fmla="*/ 116 h 136"/>
                <a:gd name="T46" fmla="*/ 75 w 126"/>
                <a:gd name="T47" fmla="*/ 124 h 136"/>
                <a:gd name="T48" fmla="*/ 87 w 126"/>
                <a:gd name="T49" fmla="*/ 120 h 136"/>
                <a:gd name="T50" fmla="*/ 75 w 126"/>
                <a:gd name="T51" fmla="*/ 124 h 136"/>
                <a:gd name="T52" fmla="*/ 20 w 126"/>
                <a:gd name="T53" fmla="*/ 69 h 136"/>
                <a:gd name="T54" fmla="*/ 20 w 126"/>
                <a:gd name="T55" fmla="*/ 59 h 136"/>
                <a:gd name="T56" fmla="*/ 21 w 126"/>
                <a:gd name="T57" fmla="*/ 64 h 136"/>
                <a:gd name="T58" fmla="*/ 19 w 126"/>
                <a:gd name="T59" fmla="*/ 64 h 136"/>
                <a:gd name="T60" fmla="*/ 21 w 126"/>
                <a:gd name="T61" fmla="*/ 64 h 136"/>
                <a:gd name="T62" fmla="*/ 32 w 126"/>
                <a:gd name="T63" fmla="*/ 69 h 136"/>
                <a:gd name="T64" fmla="*/ 32 w 126"/>
                <a:gd name="T65" fmla="*/ 59 h 136"/>
                <a:gd name="T66" fmla="*/ 33 w 126"/>
                <a:gd name="T67" fmla="*/ 64 h 136"/>
                <a:gd name="T68" fmla="*/ 31 w 126"/>
                <a:gd name="T69" fmla="*/ 64 h 136"/>
                <a:gd name="T70" fmla="*/ 33 w 126"/>
                <a:gd name="T71" fmla="*/ 64 h 136"/>
                <a:gd name="T72" fmla="*/ 43 w 126"/>
                <a:gd name="T73" fmla="*/ 69 h 136"/>
                <a:gd name="T74" fmla="*/ 43 w 126"/>
                <a:gd name="T75" fmla="*/ 59 h 136"/>
                <a:gd name="T76" fmla="*/ 44 w 126"/>
                <a:gd name="T77" fmla="*/ 64 h 136"/>
                <a:gd name="T78" fmla="*/ 42 w 126"/>
                <a:gd name="T79" fmla="*/ 64 h 136"/>
                <a:gd name="T80" fmla="*/ 44 w 126"/>
                <a:gd name="T81" fmla="*/ 64 h 136"/>
                <a:gd name="T82" fmla="*/ 103 w 126"/>
                <a:gd name="T83" fmla="*/ 23 h 136"/>
                <a:gd name="T84" fmla="*/ 118 w 126"/>
                <a:gd name="T85" fmla="*/ 31 h 136"/>
                <a:gd name="T86" fmla="*/ 103 w 126"/>
                <a:gd name="T87" fmla="*/ 97 h 136"/>
                <a:gd name="T88" fmla="*/ 122 w 126"/>
                <a:gd name="T89" fmla="*/ 105 h 136"/>
                <a:gd name="T90" fmla="*/ 126 w 126"/>
                <a:gd name="T91" fmla="*/ 27 h 136"/>
                <a:gd name="T92" fmla="*/ 8 w 126"/>
                <a:gd name="T93" fmla="*/ 31 h 136"/>
                <a:gd name="T94" fmla="*/ 20 w 126"/>
                <a:gd name="T95" fmla="*/ 23 h 136"/>
                <a:gd name="T96" fmla="*/ 0 w 126"/>
                <a:gd name="T97" fmla="*/ 27 h 136"/>
                <a:gd name="T98" fmla="*/ 4 w 126"/>
                <a:gd name="T99" fmla="*/ 105 h 136"/>
                <a:gd name="T100" fmla="*/ 20 w 126"/>
                <a:gd name="T101" fmla="*/ 97 h 136"/>
                <a:gd name="T102" fmla="*/ 8 w 126"/>
                <a:gd name="T103" fmla="*/ 3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6" h="136">
                  <a:moveTo>
                    <a:pt x="16" y="55"/>
                  </a:moveTo>
                  <a:cubicBezTo>
                    <a:pt x="107" y="55"/>
                    <a:pt x="107" y="55"/>
                    <a:pt x="107" y="55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9" y="2"/>
                    <a:pt x="97" y="0"/>
                    <a:pt x="95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4" y="2"/>
                    <a:pt x="24" y="4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16" y="47"/>
                    <a:pt x="16" y="47"/>
                    <a:pt x="16" y="47"/>
                  </a:cubicBezTo>
                  <a:lnTo>
                    <a:pt x="16" y="55"/>
                  </a:lnTo>
                  <a:close/>
                  <a:moveTo>
                    <a:pt x="32" y="8"/>
                  </a:moveTo>
                  <a:cubicBezTo>
                    <a:pt x="91" y="8"/>
                    <a:pt x="91" y="8"/>
                    <a:pt x="91" y="8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32" y="47"/>
                    <a:pt x="32" y="47"/>
                    <a:pt x="32" y="47"/>
                  </a:cubicBezTo>
                  <a:lnTo>
                    <a:pt x="32" y="8"/>
                  </a:lnTo>
                  <a:close/>
                  <a:moveTo>
                    <a:pt x="107" y="84"/>
                  </a:moveTo>
                  <a:cubicBezTo>
                    <a:pt x="16" y="84"/>
                    <a:pt x="16" y="84"/>
                    <a:pt x="16" y="84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24" y="132"/>
                    <a:pt x="24" y="132"/>
                    <a:pt x="24" y="132"/>
                  </a:cubicBezTo>
                  <a:cubicBezTo>
                    <a:pt x="24" y="134"/>
                    <a:pt x="26" y="136"/>
                    <a:pt x="28" y="136"/>
                  </a:cubicBezTo>
                  <a:cubicBezTo>
                    <a:pt x="95" y="136"/>
                    <a:pt x="95" y="136"/>
                    <a:pt x="95" y="136"/>
                  </a:cubicBezTo>
                  <a:cubicBezTo>
                    <a:pt x="97" y="136"/>
                    <a:pt x="99" y="134"/>
                    <a:pt x="99" y="132"/>
                  </a:cubicBezTo>
                  <a:cubicBezTo>
                    <a:pt x="99" y="92"/>
                    <a:pt x="99" y="92"/>
                    <a:pt x="99" y="92"/>
                  </a:cubicBezTo>
                  <a:cubicBezTo>
                    <a:pt x="107" y="92"/>
                    <a:pt x="107" y="92"/>
                    <a:pt x="107" y="92"/>
                  </a:cubicBezTo>
                  <a:lnTo>
                    <a:pt x="107" y="84"/>
                  </a:lnTo>
                  <a:close/>
                  <a:moveTo>
                    <a:pt x="91" y="128"/>
                  </a:moveTo>
                  <a:cubicBezTo>
                    <a:pt x="32" y="128"/>
                    <a:pt x="32" y="128"/>
                    <a:pt x="32" y="128"/>
                  </a:cubicBezTo>
                  <a:cubicBezTo>
                    <a:pt x="32" y="92"/>
                    <a:pt x="32" y="92"/>
                    <a:pt x="32" y="92"/>
                  </a:cubicBezTo>
                  <a:cubicBezTo>
                    <a:pt x="91" y="92"/>
                    <a:pt x="91" y="92"/>
                    <a:pt x="91" y="92"/>
                  </a:cubicBezTo>
                  <a:lnTo>
                    <a:pt x="91" y="128"/>
                  </a:lnTo>
                  <a:close/>
                  <a:moveTo>
                    <a:pt x="87" y="104"/>
                  </a:moveTo>
                  <a:cubicBezTo>
                    <a:pt x="35" y="104"/>
                    <a:pt x="35" y="104"/>
                    <a:pt x="35" y="104"/>
                  </a:cubicBezTo>
                  <a:cubicBezTo>
                    <a:pt x="35" y="108"/>
                    <a:pt x="35" y="108"/>
                    <a:pt x="35" y="108"/>
                  </a:cubicBezTo>
                  <a:cubicBezTo>
                    <a:pt x="87" y="108"/>
                    <a:pt x="87" y="108"/>
                    <a:pt x="87" y="108"/>
                  </a:cubicBezTo>
                  <a:lnTo>
                    <a:pt x="87" y="104"/>
                  </a:lnTo>
                  <a:close/>
                  <a:moveTo>
                    <a:pt x="87" y="96"/>
                  </a:moveTo>
                  <a:cubicBezTo>
                    <a:pt x="35" y="96"/>
                    <a:pt x="35" y="96"/>
                    <a:pt x="35" y="96"/>
                  </a:cubicBezTo>
                  <a:cubicBezTo>
                    <a:pt x="35" y="100"/>
                    <a:pt x="35" y="100"/>
                    <a:pt x="35" y="100"/>
                  </a:cubicBezTo>
                  <a:cubicBezTo>
                    <a:pt x="87" y="100"/>
                    <a:pt x="87" y="100"/>
                    <a:pt x="87" y="100"/>
                  </a:cubicBezTo>
                  <a:lnTo>
                    <a:pt x="87" y="96"/>
                  </a:lnTo>
                  <a:close/>
                  <a:moveTo>
                    <a:pt x="87" y="112"/>
                  </a:moveTo>
                  <a:cubicBezTo>
                    <a:pt x="35" y="112"/>
                    <a:pt x="35" y="112"/>
                    <a:pt x="35" y="112"/>
                  </a:cubicBezTo>
                  <a:cubicBezTo>
                    <a:pt x="35" y="116"/>
                    <a:pt x="35" y="116"/>
                    <a:pt x="35" y="116"/>
                  </a:cubicBezTo>
                  <a:cubicBezTo>
                    <a:pt x="87" y="116"/>
                    <a:pt x="87" y="116"/>
                    <a:pt x="87" y="116"/>
                  </a:cubicBezTo>
                  <a:lnTo>
                    <a:pt x="87" y="112"/>
                  </a:lnTo>
                  <a:close/>
                  <a:moveTo>
                    <a:pt x="75" y="124"/>
                  </a:moveTo>
                  <a:cubicBezTo>
                    <a:pt x="87" y="124"/>
                    <a:pt x="87" y="124"/>
                    <a:pt x="87" y="124"/>
                  </a:cubicBezTo>
                  <a:cubicBezTo>
                    <a:pt x="87" y="120"/>
                    <a:pt x="87" y="120"/>
                    <a:pt x="87" y="120"/>
                  </a:cubicBezTo>
                  <a:cubicBezTo>
                    <a:pt x="75" y="120"/>
                    <a:pt x="75" y="120"/>
                    <a:pt x="75" y="120"/>
                  </a:cubicBezTo>
                  <a:lnTo>
                    <a:pt x="75" y="124"/>
                  </a:lnTo>
                  <a:close/>
                  <a:moveTo>
                    <a:pt x="15" y="64"/>
                  </a:moveTo>
                  <a:cubicBezTo>
                    <a:pt x="15" y="67"/>
                    <a:pt x="17" y="69"/>
                    <a:pt x="20" y="69"/>
                  </a:cubicBezTo>
                  <a:cubicBezTo>
                    <a:pt x="23" y="69"/>
                    <a:pt x="25" y="67"/>
                    <a:pt x="25" y="64"/>
                  </a:cubicBezTo>
                  <a:cubicBezTo>
                    <a:pt x="25" y="61"/>
                    <a:pt x="23" y="59"/>
                    <a:pt x="20" y="59"/>
                  </a:cubicBezTo>
                  <a:cubicBezTo>
                    <a:pt x="17" y="59"/>
                    <a:pt x="15" y="61"/>
                    <a:pt x="15" y="64"/>
                  </a:cubicBezTo>
                  <a:close/>
                  <a:moveTo>
                    <a:pt x="21" y="64"/>
                  </a:moveTo>
                  <a:cubicBezTo>
                    <a:pt x="21" y="65"/>
                    <a:pt x="20" y="65"/>
                    <a:pt x="20" y="65"/>
                  </a:cubicBezTo>
                  <a:cubicBezTo>
                    <a:pt x="19" y="65"/>
                    <a:pt x="19" y="65"/>
                    <a:pt x="19" y="64"/>
                  </a:cubicBezTo>
                  <a:cubicBezTo>
                    <a:pt x="19" y="64"/>
                    <a:pt x="19" y="63"/>
                    <a:pt x="20" y="63"/>
                  </a:cubicBezTo>
                  <a:cubicBezTo>
                    <a:pt x="20" y="63"/>
                    <a:pt x="21" y="64"/>
                    <a:pt x="21" y="64"/>
                  </a:cubicBezTo>
                  <a:close/>
                  <a:moveTo>
                    <a:pt x="27" y="64"/>
                  </a:moveTo>
                  <a:cubicBezTo>
                    <a:pt x="27" y="67"/>
                    <a:pt x="29" y="69"/>
                    <a:pt x="32" y="69"/>
                  </a:cubicBezTo>
                  <a:cubicBezTo>
                    <a:pt x="34" y="69"/>
                    <a:pt x="37" y="67"/>
                    <a:pt x="37" y="64"/>
                  </a:cubicBezTo>
                  <a:cubicBezTo>
                    <a:pt x="37" y="61"/>
                    <a:pt x="34" y="59"/>
                    <a:pt x="32" y="59"/>
                  </a:cubicBezTo>
                  <a:cubicBezTo>
                    <a:pt x="29" y="59"/>
                    <a:pt x="27" y="61"/>
                    <a:pt x="27" y="64"/>
                  </a:cubicBezTo>
                  <a:close/>
                  <a:moveTo>
                    <a:pt x="33" y="64"/>
                  </a:moveTo>
                  <a:cubicBezTo>
                    <a:pt x="33" y="65"/>
                    <a:pt x="32" y="65"/>
                    <a:pt x="32" y="65"/>
                  </a:cubicBezTo>
                  <a:cubicBezTo>
                    <a:pt x="31" y="65"/>
                    <a:pt x="31" y="65"/>
                    <a:pt x="31" y="64"/>
                  </a:cubicBezTo>
                  <a:cubicBezTo>
                    <a:pt x="31" y="64"/>
                    <a:pt x="31" y="63"/>
                    <a:pt x="32" y="63"/>
                  </a:cubicBezTo>
                  <a:cubicBezTo>
                    <a:pt x="32" y="63"/>
                    <a:pt x="33" y="64"/>
                    <a:pt x="33" y="64"/>
                  </a:cubicBezTo>
                  <a:close/>
                  <a:moveTo>
                    <a:pt x="38" y="64"/>
                  </a:moveTo>
                  <a:cubicBezTo>
                    <a:pt x="38" y="67"/>
                    <a:pt x="41" y="69"/>
                    <a:pt x="43" y="69"/>
                  </a:cubicBezTo>
                  <a:cubicBezTo>
                    <a:pt x="46" y="69"/>
                    <a:pt x="48" y="67"/>
                    <a:pt x="48" y="64"/>
                  </a:cubicBezTo>
                  <a:cubicBezTo>
                    <a:pt x="48" y="61"/>
                    <a:pt x="46" y="59"/>
                    <a:pt x="43" y="59"/>
                  </a:cubicBezTo>
                  <a:cubicBezTo>
                    <a:pt x="41" y="59"/>
                    <a:pt x="38" y="61"/>
                    <a:pt x="38" y="64"/>
                  </a:cubicBezTo>
                  <a:close/>
                  <a:moveTo>
                    <a:pt x="44" y="64"/>
                  </a:moveTo>
                  <a:cubicBezTo>
                    <a:pt x="44" y="65"/>
                    <a:pt x="44" y="65"/>
                    <a:pt x="43" y="65"/>
                  </a:cubicBezTo>
                  <a:cubicBezTo>
                    <a:pt x="43" y="65"/>
                    <a:pt x="42" y="65"/>
                    <a:pt x="42" y="64"/>
                  </a:cubicBezTo>
                  <a:cubicBezTo>
                    <a:pt x="42" y="64"/>
                    <a:pt x="43" y="63"/>
                    <a:pt x="43" y="63"/>
                  </a:cubicBezTo>
                  <a:cubicBezTo>
                    <a:pt x="44" y="63"/>
                    <a:pt x="44" y="64"/>
                    <a:pt x="44" y="64"/>
                  </a:cubicBezTo>
                  <a:close/>
                  <a:moveTo>
                    <a:pt x="122" y="23"/>
                  </a:moveTo>
                  <a:cubicBezTo>
                    <a:pt x="103" y="23"/>
                    <a:pt x="103" y="23"/>
                    <a:pt x="103" y="23"/>
                  </a:cubicBezTo>
                  <a:cubicBezTo>
                    <a:pt x="103" y="31"/>
                    <a:pt x="103" y="31"/>
                    <a:pt x="103" y="31"/>
                  </a:cubicBezTo>
                  <a:cubicBezTo>
                    <a:pt x="118" y="31"/>
                    <a:pt x="118" y="31"/>
                    <a:pt x="118" y="31"/>
                  </a:cubicBezTo>
                  <a:cubicBezTo>
                    <a:pt x="118" y="97"/>
                    <a:pt x="118" y="97"/>
                    <a:pt x="118" y="97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3" y="105"/>
                    <a:pt x="103" y="105"/>
                    <a:pt x="103" y="105"/>
                  </a:cubicBezTo>
                  <a:cubicBezTo>
                    <a:pt x="122" y="105"/>
                    <a:pt x="122" y="105"/>
                    <a:pt x="122" y="105"/>
                  </a:cubicBezTo>
                  <a:cubicBezTo>
                    <a:pt x="124" y="105"/>
                    <a:pt x="126" y="104"/>
                    <a:pt x="126" y="101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5"/>
                    <a:pt x="124" y="23"/>
                    <a:pt x="122" y="23"/>
                  </a:cubicBezTo>
                  <a:close/>
                  <a:moveTo>
                    <a:pt x="8" y="31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5"/>
                    <a:pt x="0" y="27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04"/>
                    <a:pt x="2" y="105"/>
                    <a:pt x="4" y="105"/>
                  </a:cubicBezTo>
                  <a:cubicBezTo>
                    <a:pt x="20" y="105"/>
                    <a:pt x="20" y="105"/>
                    <a:pt x="20" y="105"/>
                  </a:cubicBezTo>
                  <a:cubicBezTo>
                    <a:pt x="20" y="97"/>
                    <a:pt x="20" y="97"/>
                    <a:pt x="20" y="97"/>
                  </a:cubicBezTo>
                  <a:cubicBezTo>
                    <a:pt x="8" y="97"/>
                    <a:pt x="8" y="97"/>
                    <a:pt x="8" y="97"/>
                  </a:cubicBezTo>
                  <a:lnTo>
                    <a:pt x="8" y="3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26" name="Freeform 167"/>
            <p:cNvSpPr>
              <a:spLocks noEditPoints="1"/>
            </p:cNvSpPr>
            <p:nvPr/>
          </p:nvSpPr>
          <p:spPr bwMode="auto">
            <a:xfrm>
              <a:off x="3297024" y="2420859"/>
              <a:ext cx="179814" cy="118086"/>
            </a:xfrm>
            <a:custGeom>
              <a:avLst/>
              <a:gdLst>
                <a:gd name="T0" fmla="*/ 311 w 312"/>
                <a:gd name="T1" fmla="*/ 175 h 205"/>
                <a:gd name="T2" fmla="*/ 310 w 312"/>
                <a:gd name="T3" fmla="*/ 174 h 205"/>
                <a:gd name="T4" fmla="*/ 2 w 312"/>
                <a:gd name="T5" fmla="*/ 174 h 205"/>
                <a:gd name="T6" fmla="*/ 0 w 312"/>
                <a:gd name="T7" fmla="*/ 175 h 205"/>
                <a:gd name="T8" fmla="*/ 0 w 312"/>
                <a:gd name="T9" fmla="*/ 176 h 205"/>
                <a:gd name="T10" fmla="*/ 41 w 312"/>
                <a:gd name="T11" fmla="*/ 205 h 205"/>
                <a:gd name="T12" fmla="*/ 271 w 312"/>
                <a:gd name="T13" fmla="*/ 205 h 205"/>
                <a:gd name="T14" fmla="*/ 312 w 312"/>
                <a:gd name="T15" fmla="*/ 176 h 205"/>
                <a:gd name="T16" fmla="*/ 311 w 312"/>
                <a:gd name="T17" fmla="*/ 175 h 205"/>
                <a:gd name="T18" fmla="*/ 179 w 312"/>
                <a:gd name="T19" fmla="*/ 195 h 205"/>
                <a:gd name="T20" fmla="*/ 133 w 312"/>
                <a:gd name="T21" fmla="*/ 195 h 205"/>
                <a:gd name="T22" fmla="*/ 133 w 312"/>
                <a:gd name="T23" fmla="*/ 184 h 205"/>
                <a:gd name="T24" fmla="*/ 179 w 312"/>
                <a:gd name="T25" fmla="*/ 184 h 205"/>
                <a:gd name="T26" fmla="*/ 179 w 312"/>
                <a:gd name="T27" fmla="*/ 195 h 205"/>
                <a:gd name="T28" fmla="*/ 34 w 312"/>
                <a:gd name="T29" fmla="*/ 163 h 205"/>
                <a:gd name="T30" fmla="*/ 278 w 312"/>
                <a:gd name="T31" fmla="*/ 163 h 205"/>
                <a:gd name="T32" fmla="*/ 284 w 312"/>
                <a:gd name="T33" fmla="*/ 156 h 205"/>
                <a:gd name="T34" fmla="*/ 284 w 312"/>
                <a:gd name="T35" fmla="*/ 6 h 205"/>
                <a:gd name="T36" fmla="*/ 278 w 312"/>
                <a:gd name="T37" fmla="*/ 0 h 205"/>
                <a:gd name="T38" fmla="*/ 34 w 312"/>
                <a:gd name="T39" fmla="*/ 0 h 205"/>
                <a:gd name="T40" fmla="*/ 27 w 312"/>
                <a:gd name="T41" fmla="*/ 6 h 205"/>
                <a:gd name="T42" fmla="*/ 27 w 312"/>
                <a:gd name="T43" fmla="*/ 156 h 205"/>
                <a:gd name="T44" fmla="*/ 34 w 312"/>
                <a:gd name="T45" fmla="*/ 163 h 205"/>
                <a:gd name="T46" fmla="*/ 50 w 312"/>
                <a:gd name="T47" fmla="*/ 22 h 205"/>
                <a:gd name="T48" fmla="*/ 262 w 312"/>
                <a:gd name="T49" fmla="*/ 22 h 205"/>
                <a:gd name="T50" fmla="*/ 262 w 312"/>
                <a:gd name="T51" fmla="*/ 140 h 205"/>
                <a:gd name="T52" fmla="*/ 50 w 312"/>
                <a:gd name="T53" fmla="*/ 140 h 205"/>
                <a:gd name="T54" fmla="*/ 50 w 312"/>
                <a:gd name="T55" fmla="*/ 2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2" h="205">
                  <a:moveTo>
                    <a:pt x="311" y="175"/>
                  </a:moveTo>
                  <a:cubicBezTo>
                    <a:pt x="311" y="174"/>
                    <a:pt x="311" y="174"/>
                    <a:pt x="310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1" y="174"/>
                    <a:pt x="1" y="174"/>
                    <a:pt x="0" y="175"/>
                  </a:cubicBezTo>
                  <a:cubicBezTo>
                    <a:pt x="0" y="175"/>
                    <a:pt x="0" y="175"/>
                    <a:pt x="0" y="176"/>
                  </a:cubicBezTo>
                  <a:cubicBezTo>
                    <a:pt x="0" y="176"/>
                    <a:pt x="5" y="205"/>
                    <a:pt x="41" y="205"/>
                  </a:cubicBezTo>
                  <a:cubicBezTo>
                    <a:pt x="271" y="205"/>
                    <a:pt x="271" y="205"/>
                    <a:pt x="271" y="205"/>
                  </a:cubicBezTo>
                  <a:cubicBezTo>
                    <a:pt x="307" y="205"/>
                    <a:pt x="312" y="176"/>
                    <a:pt x="312" y="176"/>
                  </a:cubicBezTo>
                  <a:cubicBezTo>
                    <a:pt x="312" y="175"/>
                    <a:pt x="312" y="175"/>
                    <a:pt x="311" y="175"/>
                  </a:cubicBezTo>
                  <a:close/>
                  <a:moveTo>
                    <a:pt x="179" y="195"/>
                  </a:moveTo>
                  <a:cubicBezTo>
                    <a:pt x="133" y="195"/>
                    <a:pt x="133" y="195"/>
                    <a:pt x="133" y="195"/>
                  </a:cubicBezTo>
                  <a:cubicBezTo>
                    <a:pt x="133" y="184"/>
                    <a:pt x="133" y="184"/>
                    <a:pt x="133" y="184"/>
                  </a:cubicBezTo>
                  <a:cubicBezTo>
                    <a:pt x="179" y="184"/>
                    <a:pt x="179" y="184"/>
                    <a:pt x="179" y="184"/>
                  </a:cubicBezTo>
                  <a:lnTo>
                    <a:pt x="179" y="195"/>
                  </a:lnTo>
                  <a:close/>
                  <a:moveTo>
                    <a:pt x="34" y="163"/>
                  </a:moveTo>
                  <a:cubicBezTo>
                    <a:pt x="278" y="163"/>
                    <a:pt x="278" y="163"/>
                    <a:pt x="278" y="163"/>
                  </a:cubicBezTo>
                  <a:cubicBezTo>
                    <a:pt x="282" y="163"/>
                    <a:pt x="284" y="160"/>
                    <a:pt x="284" y="156"/>
                  </a:cubicBezTo>
                  <a:cubicBezTo>
                    <a:pt x="284" y="6"/>
                    <a:pt x="284" y="6"/>
                    <a:pt x="284" y="6"/>
                  </a:cubicBezTo>
                  <a:cubicBezTo>
                    <a:pt x="284" y="3"/>
                    <a:pt x="282" y="0"/>
                    <a:pt x="27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0" y="0"/>
                    <a:pt x="27" y="3"/>
                    <a:pt x="27" y="6"/>
                  </a:cubicBezTo>
                  <a:cubicBezTo>
                    <a:pt x="27" y="156"/>
                    <a:pt x="27" y="156"/>
                    <a:pt x="27" y="156"/>
                  </a:cubicBezTo>
                  <a:cubicBezTo>
                    <a:pt x="27" y="160"/>
                    <a:pt x="30" y="163"/>
                    <a:pt x="34" y="163"/>
                  </a:cubicBezTo>
                  <a:close/>
                  <a:moveTo>
                    <a:pt x="50" y="22"/>
                  </a:moveTo>
                  <a:cubicBezTo>
                    <a:pt x="262" y="22"/>
                    <a:pt x="262" y="22"/>
                    <a:pt x="262" y="22"/>
                  </a:cubicBezTo>
                  <a:cubicBezTo>
                    <a:pt x="262" y="140"/>
                    <a:pt x="262" y="140"/>
                    <a:pt x="262" y="140"/>
                  </a:cubicBezTo>
                  <a:cubicBezTo>
                    <a:pt x="50" y="140"/>
                    <a:pt x="50" y="140"/>
                    <a:pt x="50" y="140"/>
                  </a:cubicBezTo>
                  <a:lnTo>
                    <a:pt x="50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74" name="Freeform 203"/>
            <p:cNvSpPr>
              <a:spLocks noEditPoints="1"/>
            </p:cNvSpPr>
            <p:nvPr/>
          </p:nvSpPr>
          <p:spPr bwMode="auto">
            <a:xfrm>
              <a:off x="4108133" y="2334260"/>
              <a:ext cx="181928" cy="181928"/>
            </a:xfrm>
            <a:custGeom>
              <a:avLst/>
              <a:gdLst>
                <a:gd name="T0" fmla="*/ 68 w 136"/>
                <a:gd name="T1" fmla="*/ 0 h 136"/>
                <a:gd name="T2" fmla="*/ 0 w 136"/>
                <a:gd name="T3" fmla="*/ 68 h 136"/>
                <a:gd name="T4" fmla="*/ 68 w 136"/>
                <a:gd name="T5" fmla="*/ 136 h 136"/>
                <a:gd name="T6" fmla="*/ 136 w 136"/>
                <a:gd name="T7" fmla="*/ 68 h 136"/>
                <a:gd name="T8" fmla="*/ 68 w 136"/>
                <a:gd name="T9" fmla="*/ 0 h 136"/>
                <a:gd name="T10" fmla="*/ 68 w 136"/>
                <a:gd name="T11" fmla="*/ 128 h 136"/>
                <a:gd name="T12" fmla="*/ 8 w 136"/>
                <a:gd name="T13" fmla="*/ 68 h 136"/>
                <a:gd name="T14" fmla="*/ 68 w 136"/>
                <a:gd name="T15" fmla="*/ 8 h 136"/>
                <a:gd name="T16" fmla="*/ 128 w 136"/>
                <a:gd name="T17" fmla="*/ 68 h 136"/>
                <a:gd name="T18" fmla="*/ 68 w 136"/>
                <a:gd name="T19" fmla="*/ 128 h 136"/>
                <a:gd name="T20" fmla="*/ 68 w 136"/>
                <a:gd name="T21" fmla="*/ 112 h 136"/>
                <a:gd name="T22" fmla="*/ 24 w 136"/>
                <a:gd name="T23" fmla="*/ 68 h 136"/>
                <a:gd name="T24" fmla="*/ 20 w 136"/>
                <a:gd name="T25" fmla="*/ 64 h 136"/>
                <a:gd name="T26" fmla="*/ 16 w 136"/>
                <a:gd name="T27" fmla="*/ 68 h 136"/>
                <a:gd name="T28" fmla="*/ 68 w 136"/>
                <a:gd name="T29" fmla="*/ 120 h 136"/>
                <a:gd name="T30" fmla="*/ 72 w 136"/>
                <a:gd name="T31" fmla="*/ 116 h 136"/>
                <a:gd name="T32" fmla="*/ 68 w 136"/>
                <a:gd name="T33" fmla="*/ 112 h 136"/>
                <a:gd name="T34" fmla="*/ 68 w 136"/>
                <a:gd name="T35" fmla="*/ 16 h 136"/>
                <a:gd name="T36" fmla="*/ 64 w 136"/>
                <a:gd name="T37" fmla="*/ 20 h 136"/>
                <a:gd name="T38" fmla="*/ 68 w 136"/>
                <a:gd name="T39" fmla="*/ 24 h 136"/>
                <a:gd name="T40" fmla="*/ 112 w 136"/>
                <a:gd name="T41" fmla="*/ 68 h 136"/>
                <a:gd name="T42" fmla="*/ 116 w 136"/>
                <a:gd name="T43" fmla="*/ 72 h 136"/>
                <a:gd name="T44" fmla="*/ 120 w 136"/>
                <a:gd name="T45" fmla="*/ 68 h 136"/>
                <a:gd name="T46" fmla="*/ 68 w 136"/>
                <a:gd name="T47" fmla="*/ 16 h 136"/>
                <a:gd name="T48" fmla="*/ 68 w 136"/>
                <a:gd name="T49" fmla="*/ 25 h 136"/>
                <a:gd name="T50" fmla="*/ 64 w 136"/>
                <a:gd name="T51" fmla="*/ 29 h 136"/>
                <a:gd name="T52" fmla="*/ 64 w 136"/>
                <a:gd name="T53" fmla="*/ 64 h 136"/>
                <a:gd name="T54" fmla="*/ 46 w 136"/>
                <a:gd name="T55" fmla="*/ 64 h 136"/>
                <a:gd name="T56" fmla="*/ 42 w 136"/>
                <a:gd name="T57" fmla="*/ 68 h 136"/>
                <a:gd name="T58" fmla="*/ 46 w 136"/>
                <a:gd name="T59" fmla="*/ 72 h 136"/>
                <a:gd name="T60" fmla="*/ 72 w 136"/>
                <a:gd name="T61" fmla="*/ 72 h 136"/>
                <a:gd name="T62" fmla="*/ 72 w 136"/>
                <a:gd name="T63" fmla="*/ 29 h 136"/>
                <a:gd name="T64" fmla="*/ 68 w 136"/>
                <a:gd name="T65" fmla="*/ 25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6" h="136">
                  <a:moveTo>
                    <a:pt x="68" y="0"/>
                  </a:moveTo>
                  <a:cubicBezTo>
                    <a:pt x="31" y="0"/>
                    <a:pt x="0" y="31"/>
                    <a:pt x="0" y="68"/>
                  </a:cubicBezTo>
                  <a:cubicBezTo>
                    <a:pt x="0" y="105"/>
                    <a:pt x="31" y="136"/>
                    <a:pt x="68" y="136"/>
                  </a:cubicBezTo>
                  <a:cubicBezTo>
                    <a:pt x="105" y="136"/>
                    <a:pt x="136" y="105"/>
                    <a:pt x="136" y="68"/>
                  </a:cubicBezTo>
                  <a:cubicBezTo>
                    <a:pt x="136" y="31"/>
                    <a:pt x="105" y="0"/>
                    <a:pt x="68" y="0"/>
                  </a:cubicBezTo>
                  <a:close/>
                  <a:moveTo>
                    <a:pt x="68" y="128"/>
                  </a:moveTo>
                  <a:cubicBezTo>
                    <a:pt x="35" y="128"/>
                    <a:pt x="8" y="101"/>
                    <a:pt x="8" y="68"/>
                  </a:cubicBezTo>
                  <a:cubicBezTo>
                    <a:pt x="8" y="35"/>
                    <a:pt x="35" y="8"/>
                    <a:pt x="68" y="8"/>
                  </a:cubicBezTo>
                  <a:cubicBezTo>
                    <a:pt x="101" y="8"/>
                    <a:pt x="128" y="35"/>
                    <a:pt x="128" y="68"/>
                  </a:cubicBezTo>
                  <a:cubicBezTo>
                    <a:pt x="128" y="101"/>
                    <a:pt x="101" y="128"/>
                    <a:pt x="68" y="128"/>
                  </a:cubicBezTo>
                  <a:close/>
                  <a:moveTo>
                    <a:pt x="68" y="112"/>
                  </a:moveTo>
                  <a:cubicBezTo>
                    <a:pt x="44" y="112"/>
                    <a:pt x="24" y="92"/>
                    <a:pt x="24" y="68"/>
                  </a:cubicBezTo>
                  <a:cubicBezTo>
                    <a:pt x="24" y="66"/>
                    <a:pt x="22" y="64"/>
                    <a:pt x="20" y="64"/>
                  </a:cubicBezTo>
                  <a:cubicBezTo>
                    <a:pt x="17" y="64"/>
                    <a:pt x="16" y="66"/>
                    <a:pt x="16" y="68"/>
                  </a:cubicBezTo>
                  <a:cubicBezTo>
                    <a:pt x="16" y="97"/>
                    <a:pt x="39" y="120"/>
                    <a:pt x="68" y="120"/>
                  </a:cubicBezTo>
                  <a:cubicBezTo>
                    <a:pt x="70" y="120"/>
                    <a:pt x="72" y="119"/>
                    <a:pt x="72" y="116"/>
                  </a:cubicBezTo>
                  <a:cubicBezTo>
                    <a:pt x="72" y="114"/>
                    <a:pt x="70" y="112"/>
                    <a:pt x="68" y="112"/>
                  </a:cubicBezTo>
                  <a:close/>
                  <a:moveTo>
                    <a:pt x="68" y="16"/>
                  </a:moveTo>
                  <a:cubicBezTo>
                    <a:pt x="66" y="16"/>
                    <a:pt x="64" y="17"/>
                    <a:pt x="64" y="20"/>
                  </a:cubicBezTo>
                  <a:cubicBezTo>
                    <a:pt x="64" y="22"/>
                    <a:pt x="66" y="24"/>
                    <a:pt x="68" y="24"/>
                  </a:cubicBezTo>
                  <a:cubicBezTo>
                    <a:pt x="92" y="24"/>
                    <a:pt x="112" y="44"/>
                    <a:pt x="112" y="68"/>
                  </a:cubicBezTo>
                  <a:cubicBezTo>
                    <a:pt x="112" y="70"/>
                    <a:pt x="114" y="72"/>
                    <a:pt x="116" y="72"/>
                  </a:cubicBezTo>
                  <a:cubicBezTo>
                    <a:pt x="119" y="72"/>
                    <a:pt x="120" y="70"/>
                    <a:pt x="120" y="68"/>
                  </a:cubicBezTo>
                  <a:cubicBezTo>
                    <a:pt x="120" y="39"/>
                    <a:pt x="97" y="16"/>
                    <a:pt x="68" y="16"/>
                  </a:cubicBezTo>
                  <a:close/>
                  <a:moveTo>
                    <a:pt x="68" y="25"/>
                  </a:moveTo>
                  <a:cubicBezTo>
                    <a:pt x="66" y="25"/>
                    <a:pt x="64" y="27"/>
                    <a:pt x="64" y="29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4" y="64"/>
                    <a:pt x="42" y="66"/>
                    <a:pt x="42" y="68"/>
                  </a:cubicBezTo>
                  <a:cubicBezTo>
                    <a:pt x="42" y="70"/>
                    <a:pt x="44" y="72"/>
                    <a:pt x="46" y="72"/>
                  </a:cubicBezTo>
                  <a:cubicBezTo>
                    <a:pt x="72" y="72"/>
                    <a:pt x="72" y="72"/>
                    <a:pt x="72" y="72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7"/>
                    <a:pt x="70" y="25"/>
                    <a:pt x="68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77" name="Freeform 208"/>
            <p:cNvSpPr>
              <a:spLocks noEditPoints="1"/>
            </p:cNvSpPr>
            <p:nvPr/>
          </p:nvSpPr>
          <p:spPr bwMode="auto">
            <a:xfrm>
              <a:off x="3784918" y="2650347"/>
              <a:ext cx="183197" cy="177308"/>
            </a:xfrm>
            <a:custGeom>
              <a:avLst/>
              <a:gdLst>
                <a:gd name="T0" fmla="*/ 3 w 119"/>
                <a:gd name="T1" fmla="*/ 109 h 115"/>
                <a:gd name="T2" fmla="*/ 2 w 119"/>
                <a:gd name="T3" fmla="*/ 110 h 115"/>
                <a:gd name="T4" fmla="*/ 2 w 119"/>
                <a:gd name="T5" fmla="*/ 114 h 115"/>
                <a:gd name="T6" fmla="*/ 6 w 119"/>
                <a:gd name="T7" fmla="*/ 113 h 115"/>
                <a:gd name="T8" fmla="*/ 6 w 119"/>
                <a:gd name="T9" fmla="*/ 113 h 115"/>
                <a:gd name="T10" fmla="*/ 4 w 119"/>
                <a:gd name="T11" fmla="*/ 112 h 115"/>
                <a:gd name="T12" fmla="*/ 3 w 119"/>
                <a:gd name="T13" fmla="*/ 109 h 115"/>
                <a:gd name="T14" fmla="*/ 3 w 119"/>
                <a:gd name="T15" fmla="*/ 109 h 115"/>
                <a:gd name="T16" fmla="*/ 7 w 119"/>
                <a:gd name="T17" fmla="*/ 109 h 115"/>
                <a:gd name="T18" fmla="*/ 6 w 119"/>
                <a:gd name="T19" fmla="*/ 113 h 115"/>
                <a:gd name="T20" fmla="*/ 60 w 119"/>
                <a:gd name="T21" fmla="*/ 80 h 115"/>
                <a:gd name="T22" fmla="*/ 35 w 119"/>
                <a:gd name="T23" fmla="*/ 56 h 115"/>
                <a:gd name="T24" fmla="*/ 3 w 119"/>
                <a:gd name="T25" fmla="*/ 109 h 115"/>
                <a:gd name="T26" fmla="*/ 54 w 119"/>
                <a:gd name="T27" fmla="*/ 80 h 115"/>
                <a:gd name="T28" fmla="*/ 11 w 119"/>
                <a:gd name="T29" fmla="*/ 109 h 115"/>
                <a:gd name="T30" fmla="*/ 47 w 119"/>
                <a:gd name="T31" fmla="*/ 73 h 115"/>
                <a:gd name="T32" fmla="*/ 54 w 119"/>
                <a:gd name="T33" fmla="*/ 80 h 115"/>
                <a:gd name="T34" fmla="*/ 105 w 119"/>
                <a:gd name="T35" fmla="*/ 28 h 115"/>
                <a:gd name="T36" fmla="*/ 110 w 119"/>
                <a:gd name="T37" fmla="*/ 18 h 115"/>
                <a:gd name="T38" fmla="*/ 110 w 119"/>
                <a:gd name="T39" fmla="*/ 18 h 115"/>
                <a:gd name="T40" fmla="*/ 116 w 119"/>
                <a:gd name="T41" fmla="*/ 12 h 115"/>
                <a:gd name="T42" fmla="*/ 104 w 119"/>
                <a:gd name="T43" fmla="*/ 0 h 115"/>
                <a:gd name="T44" fmla="*/ 98 w 119"/>
                <a:gd name="T45" fmla="*/ 6 h 115"/>
                <a:gd name="T46" fmla="*/ 98 w 119"/>
                <a:gd name="T47" fmla="*/ 6 h 115"/>
                <a:gd name="T48" fmla="*/ 48 w 119"/>
                <a:gd name="T49" fmla="*/ 43 h 115"/>
                <a:gd name="T50" fmla="*/ 42 w 119"/>
                <a:gd name="T51" fmla="*/ 50 h 115"/>
                <a:gd name="T52" fmla="*/ 66 w 119"/>
                <a:gd name="T53" fmla="*/ 74 h 115"/>
                <a:gd name="T54" fmla="*/ 73 w 119"/>
                <a:gd name="T55" fmla="*/ 68 h 115"/>
                <a:gd name="T56" fmla="*/ 100 w 119"/>
                <a:gd name="T57" fmla="*/ 35 h 115"/>
                <a:gd name="T58" fmla="*/ 107 w 119"/>
                <a:gd name="T59" fmla="*/ 42 h 115"/>
                <a:gd name="T60" fmla="*/ 73 w 119"/>
                <a:gd name="T61" fmla="*/ 75 h 115"/>
                <a:gd name="T62" fmla="*/ 73 w 119"/>
                <a:gd name="T63" fmla="*/ 81 h 115"/>
                <a:gd name="T64" fmla="*/ 80 w 119"/>
                <a:gd name="T65" fmla="*/ 81 h 115"/>
                <a:gd name="T66" fmla="*/ 119 w 119"/>
                <a:gd name="T67" fmla="*/ 42 h 115"/>
                <a:gd name="T68" fmla="*/ 105 w 119"/>
                <a:gd name="T69" fmla="*/ 28 h 115"/>
                <a:gd name="T70" fmla="*/ 70 w 119"/>
                <a:gd name="T71" fmla="*/ 65 h 115"/>
                <a:gd name="T72" fmla="*/ 66 w 119"/>
                <a:gd name="T73" fmla="*/ 69 h 115"/>
                <a:gd name="T74" fmla="*/ 59 w 119"/>
                <a:gd name="T75" fmla="*/ 61 h 115"/>
                <a:gd name="T76" fmla="*/ 103 w 119"/>
                <a:gd name="T77" fmla="*/ 17 h 115"/>
                <a:gd name="T78" fmla="*/ 105 w 119"/>
                <a:gd name="T79" fmla="*/ 19 h 115"/>
                <a:gd name="T80" fmla="*/ 70 w 119"/>
                <a:gd name="T81" fmla="*/ 6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9" h="115">
                  <a:moveTo>
                    <a:pt x="3" y="109"/>
                  </a:moveTo>
                  <a:cubicBezTo>
                    <a:pt x="3" y="110"/>
                    <a:pt x="3" y="110"/>
                    <a:pt x="2" y="110"/>
                  </a:cubicBezTo>
                  <a:cubicBezTo>
                    <a:pt x="1" y="111"/>
                    <a:pt x="1" y="113"/>
                    <a:pt x="2" y="114"/>
                  </a:cubicBezTo>
                  <a:cubicBezTo>
                    <a:pt x="3" y="115"/>
                    <a:pt x="5" y="115"/>
                    <a:pt x="6" y="113"/>
                  </a:cubicBezTo>
                  <a:cubicBezTo>
                    <a:pt x="6" y="113"/>
                    <a:pt x="6" y="113"/>
                    <a:pt x="6" y="113"/>
                  </a:cubicBezTo>
                  <a:cubicBezTo>
                    <a:pt x="6" y="112"/>
                    <a:pt x="5" y="112"/>
                    <a:pt x="4" y="112"/>
                  </a:cubicBezTo>
                  <a:cubicBezTo>
                    <a:pt x="4" y="111"/>
                    <a:pt x="3" y="110"/>
                    <a:pt x="3" y="109"/>
                  </a:cubicBezTo>
                  <a:close/>
                  <a:moveTo>
                    <a:pt x="3" y="109"/>
                  </a:moveTo>
                  <a:cubicBezTo>
                    <a:pt x="4" y="109"/>
                    <a:pt x="6" y="108"/>
                    <a:pt x="7" y="109"/>
                  </a:cubicBezTo>
                  <a:cubicBezTo>
                    <a:pt x="7" y="110"/>
                    <a:pt x="7" y="112"/>
                    <a:pt x="6" y="113"/>
                  </a:cubicBezTo>
                  <a:cubicBezTo>
                    <a:pt x="15" y="115"/>
                    <a:pt x="37" y="102"/>
                    <a:pt x="60" y="80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14" y="79"/>
                    <a:pt x="0" y="101"/>
                    <a:pt x="3" y="109"/>
                  </a:cubicBezTo>
                  <a:close/>
                  <a:moveTo>
                    <a:pt x="54" y="80"/>
                  </a:moveTo>
                  <a:cubicBezTo>
                    <a:pt x="35" y="98"/>
                    <a:pt x="19" y="107"/>
                    <a:pt x="11" y="109"/>
                  </a:cubicBezTo>
                  <a:cubicBezTo>
                    <a:pt x="47" y="73"/>
                    <a:pt x="47" y="73"/>
                    <a:pt x="47" y="73"/>
                  </a:cubicBezTo>
                  <a:lnTo>
                    <a:pt x="54" y="80"/>
                  </a:lnTo>
                  <a:close/>
                  <a:moveTo>
                    <a:pt x="105" y="28"/>
                  </a:moveTo>
                  <a:cubicBezTo>
                    <a:pt x="107" y="24"/>
                    <a:pt x="109" y="21"/>
                    <a:pt x="110" y="18"/>
                  </a:cubicBezTo>
                  <a:cubicBezTo>
                    <a:pt x="110" y="18"/>
                    <a:pt x="110" y="18"/>
                    <a:pt x="110" y="18"/>
                  </a:cubicBezTo>
                  <a:cubicBezTo>
                    <a:pt x="116" y="12"/>
                    <a:pt x="116" y="12"/>
                    <a:pt x="116" y="1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8" y="6"/>
                    <a:pt x="98" y="6"/>
                    <a:pt x="98" y="6"/>
                  </a:cubicBezTo>
                  <a:cubicBezTo>
                    <a:pt x="98" y="6"/>
                    <a:pt x="98" y="6"/>
                    <a:pt x="98" y="6"/>
                  </a:cubicBezTo>
                  <a:cubicBezTo>
                    <a:pt x="85" y="11"/>
                    <a:pt x="66" y="24"/>
                    <a:pt x="48" y="43"/>
                  </a:cubicBezTo>
                  <a:cubicBezTo>
                    <a:pt x="46" y="45"/>
                    <a:pt x="44" y="47"/>
                    <a:pt x="42" y="50"/>
                  </a:cubicBezTo>
                  <a:cubicBezTo>
                    <a:pt x="66" y="74"/>
                    <a:pt x="66" y="74"/>
                    <a:pt x="66" y="74"/>
                  </a:cubicBezTo>
                  <a:cubicBezTo>
                    <a:pt x="68" y="72"/>
                    <a:pt x="70" y="70"/>
                    <a:pt x="73" y="68"/>
                  </a:cubicBezTo>
                  <a:cubicBezTo>
                    <a:pt x="84" y="57"/>
                    <a:pt x="93" y="45"/>
                    <a:pt x="100" y="35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73" y="75"/>
                    <a:pt x="73" y="75"/>
                    <a:pt x="73" y="75"/>
                  </a:cubicBezTo>
                  <a:cubicBezTo>
                    <a:pt x="72" y="77"/>
                    <a:pt x="72" y="80"/>
                    <a:pt x="73" y="81"/>
                  </a:cubicBezTo>
                  <a:cubicBezTo>
                    <a:pt x="75" y="83"/>
                    <a:pt x="78" y="83"/>
                    <a:pt x="80" y="81"/>
                  </a:cubicBezTo>
                  <a:cubicBezTo>
                    <a:pt x="119" y="42"/>
                    <a:pt x="119" y="42"/>
                    <a:pt x="119" y="42"/>
                  </a:cubicBezTo>
                  <a:lnTo>
                    <a:pt x="105" y="28"/>
                  </a:lnTo>
                  <a:close/>
                  <a:moveTo>
                    <a:pt x="70" y="65"/>
                  </a:moveTo>
                  <a:cubicBezTo>
                    <a:pt x="69" y="66"/>
                    <a:pt x="67" y="67"/>
                    <a:pt x="66" y="69"/>
                  </a:cubicBezTo>
                  <a:cubicBezTo>
                    <a:pt x="59" y="61"/>
                    <a:pt x="59" y="61"/>
                    <a:pt x="59" y="61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5" y="19"/>
                    <a:pt x="105" y="19"/>
                    <a:pt x="105" y="19"/>
                  </a:cubicBezTo>
                  <a:cubicBezTo>
                    <a:pt x="100" y="31"/>
                    <a:pt x="86" y="49"/>
                    <a:pt x="70" y="6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35" name="Freeform 177"/>
            <p:cNvSpPr>
              <a:spLocks noEditPoints="1"/>
            </p:cNvSpPr>
            <p:nvPr/>
          </p:nvSpPr>
          <p:spPr bwMode="auto">
            <a:xfrm>
              <a:off x="4064150" y="3336491"/>
              <a:ext cx="106064" cy="153640"/>
            </a:xfrm>
            <a:custGeom>
              <a:avLst/>
              <a:gdLst>
                <a:gd name="T0" fmla="*/ 371 w 384"/>
                <a:gd name="T1" fmla="*/ 0 h 556"/>
                <a:gd name="T2" fmla="*/ 13 w 384"/>
                <a:gd name="T3" fmla="*/ 0 h 556"/>
                <a:gd name="T4" fmla="*/ 0 w 384"/>
                <a:gd name="T5" fmla="*/ 14 h 556"/>
                <a:gd name="T6" fmla="*/ 0 w 384"/>
                <a:gd name="T7" fmla="*/ 542 h 556"/>
                <a:gd name="T8" fmla="*/ 13 w 384"/>
                <a:gd name="T9" fmla="*/ 556 h 556"/>
                <a:gd name="T10" fmla="*/ 371 w 384"/>
                <a:gd name="T11" fmla="*/ 556 h 556"/>
                <a:gd name="T12" fmla="*/ 384 w 384"/>
                <a:gd name="T13" fmla="*/ 542 h 556"/>
                <a:gd name="T14" fmla="*/ 384 w 384"/>
                <a:gd name="T15" fmla="*/ 14 h 556"/>
                <a:gd name="T16" fmla="*/ 371 w 384"/>
                <a:gd name="T17" fmla="*/ 0 h 556"/>
                <a:gd name="T18" fmla="*/ 192 w 384"/>
                <a:gd name="T19" fmla="*/ 528 h 556"/>
                <a:gd name="T20" fmla="*/ 170 w 384"/>
                <a:gd name="T21" fmla="*/ 506 h 556"/>
                <a:gd name="T22" fmla="*/ 192 w 384"/>
                <a:gd name="T23" fmla="*/ 484 h 556"/>
                <a:gd name="T24" fmla="*/ 214 w 384"/>
                <a:gd name="T25" fmla="*/ 506 h 556"/>
                <a:gd name="T26" fmla="*/ 192 w 384"/>
                <a:gd name="T27" fmla="*/ 528 h 556"/>
                <a:gd name="T28" fmla="*/ 358 w 384"/>
                <a:gd name="T29" fmla="*/ 464 h 556"/>
                <a:gd name="T30" fmla="*/ 26 w 384"/>
                <a:gd name="T31" fmla="*/ 464 h 556"/>
                <a:gd name="T32" fmla="*/ 26 w 384"/>
                <a:gd name="T33" fmla="*/ 32 h 556"/>
                <a:gd name="T34" fmla="*/ 358 w 384"/>
                <a:gd name="T35" fmla="*/ 32 h 556"/>
                <a:gd name="T36" fmla="*/ 358 w 384"/>
                <a:gd name="T37" fmla="*/ 464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4" h="556">
                  <a:moveTo>
                    <a:pt x="371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542"/>
                    <a:pt x="0" y="542"/>
                    <a:pt x="0" y="542"/>
                  </a:cubicBezTo>
                  <a:cubicBezTo>
                    <a:pt x="0" y="550"/>
                    <a:pt x="6" y="556"/>
                    <a:pt x="13" y="556"/>
                  </a:cubicBezTo>
                  <a:cubicBezTo>
                    <a:pt x="371" y="556"/>
                    <a:pt x="371" y="556"/>
                    <a:pt x="371" y="556"/>
                  </a:cubicBezTo>
                  <a:cubicBezTo>
                    <a:pt x="378" y="556"/>
                    <a:pt x="384" y="550"/>
                    <a:pt x="384" y="542"/>
                  </a:cubicBezTo>
                  <a:cubicBezTo>
                    <a:pt x="384" y="14"/>
                    <a:pt x="384" y="14"/>
                    <a:pt x="384" y="14"/>
                  </a:cubicBezTo>
                  <a:cubicBezTo>
                    <a:pt x="384" y="6"/>
                    <a:pt x="378" y="0"/>
                    <a:pt x="371" y="0"/>
                  </a:cubicBezTo>
                  <a:close/>
                  <a:moveTo>
                    <a:pt x="192" y="528"/>
                  </a:moveTo>
                  <a:cubicBezTo>
                    <a:pt x="180" y="528"/>
                    <a:pt x="170" y="518"/>
                    <a:pt x="170" y="506"/>
                  </a:cubicBezTo>
                  <a:cubicBezTo>
                    <a:pt x="170" y="494"/>
                    <a:pt x="180" y="484"/>
                    <a:pt x="192" y="484"/>
                  </a:cubicBezTo>
                  <a:cubicBezTo>
                    <a:pt x="204" y="484"/>
                    <a:pt x="214" y="494"/>
                    <a:pt x="214" y="506"/>
                  </a:cubicBezTo>
                  <a:cubicBezTo>
                    <a:pt x="214" y="518"/>
                    <a:pt x="204" y="528"/>
                    <a:pt x="192" y="528"/>
                  </a:cubicBezTo>
                  <a:close/>
                  <a:moveTo>
                    <a:pt x="358" y="464"/>
                  </a:moveTo>
                  <a:cubicBezTo>
                    <a:pt x="26" y="464"/>
                    <a:pt x="26" y="464"/>
                    <a:pt x="26" y="464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358" y="32"/>
                    <a:pt x="358" y="32"/>
                    <a:pt x="358" y="32"/>
                  </a:cubicBezTo>
                  <a:lnTo>
                    <a:pt x="358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36" name="Freeform 198"/>
            <p:cNvSpPr>
              <a:spLocks noEditPoints="1"/>
            </p:cNvSpPr>
            <p:nvPr/>
          </p:nvSpPr>
          <p:spPr bwMode="auto">
            <a:xfrm>
              <a:off x="2729800" y="3181350"/>
              <a:ext cx="163962" cy="177166"/>
            </a:xfrm>
            <a:custGeom>
              <a:avLst/>
              <a:gdLst>
                <a:gd name="T0" fmla="*/ 107 w 126"/>
                <a:gd name="T1" fmla="*/ 55 h 136"/>
                <a:gd name="T2" fmla="*/ 99 w 126"/>
                <a:gd name="T3" fmla="*/ 47 h 136"/>
                <a:gd name="T4" fmla="*/ 95 w 126"/>
                <a:gd name="T5" fmla="*/ 0 h 136"/>
                <a:gd name="T6" fmla="*/ 24 w 126"/>
                <a:gd name="T7" fmla="*/ 4 h 136"/>
                <a:gd name="T8" fmla="*/ 16 w 126"/>
                <a:gd name="T9" fmla="*/ 47 h 136"/>
                <a:gd name="T10" fmla="*/ 32 w 126"/>
                <a:gd name="T11" fmla="*/ 8 h 136"/>
                <a:gd name="T12" fmla="*/ 91 w 126"/>
                <a:gd name="T13" fmla="*/ 47 h 136"/>
                <a:gd name="T14" fmla="*/ 32 w 126"/>
                <a:gd name="T15" fmla="*/ 8 h 136"/>
                <a:gd name="T16" fmla="*/ 16 w 126"/>
                <a:gd name="T17" fmla="*/ 84 h 136"/>
                <a:gd name="T18" fmla="*/ 24 w 126"/>
                <a:gd name="T19" fmla="*/ 92 h 136"/>
                <a:gd name="T20" fmla="*/ 28 w 126"/>
                <a:gd name="T21" fmla="*/ 136 h 136"/>
                <a:gd name="T22" fmla="*/ 99 w 126"/>
                <a:gd name="T23" fmla="*/ 132 h 136"/>
                <a:gd name="T24" fmla="*/ 107 w 126"/>
                <a:gd name="T25" fmla="*/ 92 h 136"/>
                <a:gd name="T26" fmla="*/ 91 w 126"/>
                <a:gd name="T27" fmla="*/ 128 h 136"/>
                <a:gd name="T28" fmla="*/ 32 w 126"/>
                <a:gd name="T29" fmla="*/ 92 h 136"/>
                <a:gd name="T30" fmla="*/ 91 w 126"/>
                <a:gd name="T31" fmla="*/ 128 h 136"/>
                <a:gd name="T32" fmla="*/ 35 w 126"/>
                <a:gd name="T33" fmla="*/ 104 h 136"/>
                <a:gd name="T34" fmla="*/ 87 w 126"/>
                <a:gd name="T35" fmla="*/ 108 h 136"/>
                <a:gd name="T36" fmla="*/ 87 w 126"/>
                <a:gd name="T37" fmla="*/ 96 h 136"/>
                <a:gd name="T38" fmla="*/ 35 w 126"/>
                <a:gd name="T39" fmla="*/ 100 h 136"/>
                <a:gd name="T40" fmla="*/ 87 w 126"/>
                <a:gd name="T41" fmla="*/ 96 h 136"/>
                <a:gd name="T42" fmla="*/ 35 w 126"/>
                <a:gd name="T43" fmla="*/ 112 h 136"/>
                <a:gd name="T44" fmla="*/ 87 w 126"/>
                <a:gd name="T45" fmla="*/ 116 h 136"/>
                <a:gd name="T46" fmla="*/ 75 w 126"/>
                <a:gd name="T47" fmla="*/ 124 h 136"/>
                <a:gd name="T48" fmla="*/ 87 w 126"/>
                <a:gd name="T49" fmla="*/ 120 h 136"/>
                <a:gd name="T50" fmla="*/ 75 w 126"/>
                <a:gd name="T51" fmla="*/ 124 h 136"/>
                <a:gd name="T52" fmla="*/ 20 w 126"/>
                <a:gd name="T53" fmla="*/ 69 h 136"/>
                <a:gd name="T54" fmla="*/ 20 w 126"/>
                <a:gd name="T55" fmla="*/ 59 h 136"/>
                <a:gd name="T56" fmla="*/ 21 w 126"/>
                <a:gd name="T57" fmla="*/ 64 h 136"/>
                <a:gd name="T58" fmla="*/ 19 w 126"/>
                <a:gd name="T59" fmla="*/ 64 h 136"/>
                <a:gd name="T60" fmla="*/ 21 w 126"/>
                <a:gd name="T61" fmla="*/ 64 h 136"/>
                <a:gd name="T62" fmla="*/ 32 w 126"/>
                <a:gd name="T63" fmla="*/ 69 h 136"/>
                <a:gd name="T64" fmla="*/ 32 w 126"/>
                <a:gd name="T65" fmla="*/ 59 h 136"/>
                <a:gd name="T66" fmla="*/ 33 w 126"/>
                <a:gd name="T67" fmla="*/ 64 h 136"/>
                <a:gd name="T68" fmla="*/ 31 w 126"/>
                <a:gd name="T69" fmla="*/ 64 h 136"/>
                <a:gd name="T70" fmla="*/ 33 w 126"/>
                <a:gd name="T71" fmla="*/ 64 h 136"/>
                <a:gd name="T72" fmla="*/ 43 w 126"/>
                <a:gd name="T73" fmla="*/ 69 h 136"/>
                <a:gd name="T74" fmla="*/ 43 w 126"/>
                <a:gd name="T75" fmla="*/ 59 h 136"/>
                <a:gd name="T76" fmla="*/ 44 w 126"/>
                <a:gd name="T77" fmla="*/ 64 h 136"/>
                <a:gd name="T78" fmla="*/ 42 w 126"/>
                <a:gd name="T79" fmla="*/ 64 h 136"/>
                <a:gd name="T80" fmla="*/ 44 w 126"/>
                <a:gd name="T81" fmla="*/ 64 h 136"/>
                <a:gd name="T82" fmla="*/ 103 w 126"/>
                <a:gd name="T83" fmla="*/ 23 h 136"/>
                <a:gd name="T84" fmla="*/ 118 w 126"/>
                <a:gd name="T85" fmla="*/ 31 h 136"/>
                <a:gd name="T86" fmla="*/ 103 w 126"/>
                <a:gd name="T87" fmla="*/ 97 h 136"/>
                <a:gd name="T88" fmla="*/ 122 w 126"/>
                <a:gd name="T89" fmla="*/ 105 h 136"/>
                <a:gd name="T90" fmla="*/ 126 w 126"/>
                <a:gd name="T91" fmla="*/ 27 h 136"/>
                <a:gd name="T92" fmla="*/ 8 w 126"/>
                <a:gd name="T93" fmla="*/ 31 h 136"/>
                <a:gd name="T94" fmla="*/ 20 w 126"/>
                <a:gd name="T95" fmla="*/ 23 h 136"/>
                <a:gd name="T96" fmla="*/ 0 w 126"/>
                <a:gd name="T97" fmla="*/ 27 h 136"/>
                <a:gd name="T98" fmla="*/ 4 w 126"/>
                <a:gd name="T99" fmla="*/ 105 h 136"/>
                <a:gd name="T100" fmla="*/ 20 w 126"/>
                <a:gd name="T101" fmla="*/ 97 h 136"/>
                <a:gd name="T102" fmla="*/ 8 w 126"/>
                <a:gd name="T103" fmla="*/ 3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6" h="136">
                  <a:moveTo>
                    <a:pt x="16" y="55"/>
                  </a:moveTo>
                  <a:cubicBezTo>
                    <a:pt x="107" y="55"/>
                    <a:pt x="107" y="55"/>
                    <a:pt x="107" y="55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9" y="2"/>
                    <a:pt x="97" y="0"/>
                    <a:pt x="95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4" y="2"/>
                    <a:pt x="24" y="4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16" y="47"/>
                    <a:pt x="16" y="47"/>
                    <a:pt x="16" y="47"/>
                  </a:cubicBezTo>
                  <a:lnTo>
                    <a:pt x="16" y="55"/>
                  </a:lnTo>
                  <a:close/>
                  <a:moveTo>
                    <a:pt x="32" y="8"/>
                  </a:moveTo>
                  <a:cubicBezTo>
                    <a:pt x="91" y="8"/>
                    <a:pt x="91" y="8"/>
                    <a:pt x="91" y="8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32" y="47"/>
                    <a:pt x="32" y="47"/>
                    <a:pt x="32" y="47"/>
                  </a:cubicBezTo>
                  <a:lnTo>
                    <a:pt x="32" y="8"/>
                  </a:lnTo>
                  <a:close/>
                  <a:moveTo>
                    <a:pt x="107" y="84"/>
                  </a:moveTo>
                  <a:cubicBezTo>
                    <a:pt x="16" y="84"/>
                    <a:pt x="16" y="84"/>
                    <a:pt x="16" y="84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24" y="132"/>
                    <a:pt x="24" y="132"/>
                    <a:pt x="24" y="132"/>
                  </a:cubicBezTo>
                  <a:cubicBezTo>
                    <a:pt x="24" y="134"/>
                    <a:pt x="26" y="136"/>
                    <a:pt x="28" y="136"/>
                  </a:cubicBezTo>
                  <a:cubicBezTo>
                    <a:pt x="95" y="136"/>
                    <a:pt x="95" y="136"/>
                    <a:pt x="95" y="136"/>
                  </a:cubicBezTo>
                  <a:cubicBezTo>
                    <a:pt x="97" y="136"/>
                    <a:pt x="99" y="134"/>
                    <a:pt x="99" y="132"/>
                  </a:cubicBezTo>
                  <a:cubicBezTo>
                    <a:pt x="99" y="92"/>
                    <a:pt x="99" y="92"/>
                    <a:pt x="99" y="92"/>
                  </a:cubicBezTo>
                  <a:cubicBezTo>
                    <a:pt x="107" y="92"/>
                    <a:pt x="107" y="92"/>
                    <a:pt x="107" y="92"/>
                  </a:cubicBezTo>
                  <a:lnTo>
                    <a:pt x="107" y="84"/>
                  </a:lnTo>
                  <a:close/>
                  <a:moveTo>
                    <a:pt x="91" y="128"/>
                  </a:moveTo>
                  <a:cubicBezTo>
                    <a:pt x="32" y="128"/>
                    <a:pt x="32" y="128"/>
                    <a:pt x="32" y="128"/>
                  </a:cubicBezTo>
                  <a:cubicBezTo>
                    <a:pt x="32" y="92"/>
                    <a:pt x="32" y="92"/>
                    <a:pt x="32" y="92"/>
                  </a:cubicBezTo>
                  <a:cubicBezTo>
                    <a:pt x="91" y="92"/>
                    <a:pt x="91" y="92"/>
                    <a:pt x="91" y="92"/>
                  </a:cubicBezTo>
                  <a:lnTo>
                    <a:pt x="91" y="128"/>
                  </a:lnTo>
                  <a:close/>
                  <a:moveTo>
                    <a:pt x="87" y="104"/>
                  </a:moveTo>
                  <a:cubicBezTo>
                    <a:pt x="35" y="104"/>
                    <a:pt x="35" y="104"/>
                    <a:pt x="35" y="104"/>
                  </a:cubicBezTo>
                  <a:cubicBezTo>
                    <a:pt x="35" y="108"/>
                    <a:pt x="35" y="108"/>
                    <a:pt x="35" y="108"/>
                  </a:cubicBezTo>
                  <a:cubicBezTo>
                    <a:pt x="87" y="108"/>
                    <a:pt x="87" y="108"/>
                    <a:pt x="87" y="108"/>
                  </a:cubicBezTo>
                  <a:lnTo>
                    <a:pt x="87" y="104"/>
                  </a:lnTo>
                  <a:close/>
                  <a:moveTo>
                    <a:pt x="87" y="96"/>
                  </a:moveTo>
                  <a:cubicBezTo>
                    <a:pt x="35" y="96"/>
                    <a:pt x="35" y="96"/>
                    <a:pt x="35" y="96"/>
                  </a:cubicBezTo>
                  <a:cubicBezTo>
                    <a:pt x="35" y="100"/>
                    <a:pt x="35" y="100"/>
                    <a:pt x="35" y="100"/>
                  </a:cubicBezTo>
                  <a:cubicBezTo>
                    <a:pt x="87" y="100"/>
                    <a:pt x="87" y="100"/>
                    <a:pt x="87" y="100"/>
                  </a:cubicBezTo>
                  <a:lnTo>
                    <a:pt x="87" y="96"/>
                  </a:lnTo>
                  <a:close/>
                  <a:moveTo>
                    <a:pt x="87" y="112"/>
                  </a:moveTo>
                  <a:cubicBezTo>
                    <a:pt x="35" y="112"/>
                    <a:pt x="35" y="112"/>
                    <a:pt x="35" y="112"/>
                  </a:cubicBezTo>
                  <a:cubicBezTo>
                    <a:pt x="35" y="116"/>
                    <a:pt x="35" y="116"/>
                    <a:pt x="35" y="116"/>
                  </a:cubicBezTo>
                  <a:cubicBezTo>
                    <a:pt x="87" y="116"/>
                    <a:pt x="87" y="116"/>
                    <a:pt x="87" y="116"/>
                  </a:cubicBezTo>
                  <a:lnTo>
                    <a:pt x="87" y="112"/>
                  </a:lnTo>
                  <a:close/>
                  <a:moveTo>
                    <a:pt x="75" y="124"/>
                  </a:moveTo>
                  <a:cubicBezTo>
                    <a:pt x="87" y="124"/>
                    <a:pt x="87" y="124"/>
                    <a:pt x="87" y="124"/>
                  </a:cubicBezTo>
                  <a:cubicBezTo>
                    <a:pt x="87" y="120"/>
                    <a:pt x="87" y="120"/>
                    <a:pt x="87" y="120"/>
                  </a:cubicBezTo>
                  <a:cubicBezTo>
                    <a:pt x="75" y="120"/>
                    <a:pt x="75" y="120"/>
                    <a:pt x="75" y="120"/>
                  </a:cubicBezTo>
                  <a:lnTo>
                    <a:pt x="75" y="124"/>
                  </a:lnTo>
                  <a:close/>
                  <a:moveTo>
                    <a:pt x="15" y="64"/>
                  </a:moveTo>
                  <a:cubicBezTo>
                    <a:pt x="15" y="67"/>
                    <a:pt x="17" y="69"/>
                    <a:pt x="20" y="69"/>
                  </a:cubicBezTo>
                  <a:cubicBezTo>
                    <a:pt x="23" y="69"/>
                    <a:pt x="25" y="67"/>
                    <a:pt x="25" y="64"/>
                  </a:cubicBezTo>
                  <a:cubicBezTo>
                    <a:pt x="25" y="61"/>
                    <a:pt x="23" y="59"/>
                    <a:pt x="20" y="59"/>
                  </a:cubicBezTo>
                  <a:cubicBezTo>
                    <a:pt x="17" y="59"/>
                    <a:pt x="15" y="61"/>
                    <a:pt x="15" y="64"/>
                  </a:cubicBezTo>
                  <a:close/>
                  <a:moveTo>
                    <a:pt x="21" y="64"/>
                  </a:moveTo>
                  <a:cubicBezTo>
                    <a:pt x="21" y="65"/>
                    <a:pt x="20" y="65"/>
                    <a:pt x="20" y="65"/>
                  </a:cubicBezTo>
                  <a:cubicBezTo>
                    <a:pt x="19" y="65"/>
                    <a:pt x="19" y="65"/>
                    <a:pt x="19" y="64"/>
                  </a:cubicBezTo>
                  <a:cubicBezTo>
                    <a:pt x="19" y="64"/>
                    <a:pt x="19" y="63"/>
                    <a:pt x="20" y="63"/>
                  </a:cubicBezTo>
                  <a:cubicBezTo>
                    <a:pt x="20" y="63"/>
                    <a:pt x="21" y="64"/>
                    <a:pt x="21" y="64"/>
                  </a:cubicBezTo>
                  <a:close/>
                  <a:moveTo>
                    <a:pt x="27" y="64"/>
                  </a:moveTo>
                  <a:cubicBezTo>
                    <a:pt x="27" y="67"/>
                    <a:pt x="29" y="69"/>
                    <a:pt x="32" y="69"/>
                  </a:cubicBezTo>
                  <a:cubicBezTo>
                    <a:pt x="34" y="69"/>
                    <a:pt x="37" y="67"/>
                    <a:pt x="37" y="64"/>
                  </a:cubicBezTo>
                  <a:cubicBezTo>
                    <a:pt x="37" y="61"/>
                    <a:pt x="34" y="59"/>
                    <a:pt x="32" y="59"/>
                  </a:cubicBezTo>
                  <a:cubicBezTo>
                    <a:pt x="29" y="59"/>
                    <a:pt x="27" y="61"/>
                    <a:pt x="27" y="64"/>
                  </a:cubicBezTo>
                  <a:close/>
                  <a:moveTo>
                    <a:pt x="33" y="64"/>
                  </a:moveTo>
                  <a:cubicBezTo>
                    <a:pt x="33" y="65"/>
                    <a:pt x="32" y="65"/>
                    <a:pt x="32" y="65"/>
                  </a:cubicBezTo>
                  <a:cubicBezTo>
                    <a:pt x="31" y="65"/>
                    <a:pt x="31" y="65"/>
                    <a:pt x="31" y="64"/>
                  </a:cubicBezTo>
                  <a:cubicBezTo>
                    <a:pt x="31" y="64"/>
                    <a:pt x="31" y="63"/>
                    <a:pt x="32" y="63"/>
                  </a:cubicBezTo>
                  <a:cubicBezTo>
                    <a:pt x="32" y="63"/>
                    <a:pt x="33" y="64"/>
                    <a:pt x="33" y="64"/>
                  </a:cubicBezTo>
                  <a:close/>
                  <a:moveTo>
                    <a:pt x="38" y="64"/>
                  </a:moveTo>
                  <a:cubicBezTo>
                    <a:pt x="38" y="67"/>
                    <a:pt x="41" y="69"/>
                    <a:pt x="43" y="69"/>
                  </a:cubicBezTo>
                  <a:cubicBezTo>
                    <a:pt x="46" y="69"/>
                    <a:pt x="48" y="67"/>
                    <a:pt x="48" y="64"/>
                  </a:cubicBezTo>
                  <a:cubicBezTo>
                    <a:pt x="48" y="61"/>
                    <a:pt x="46" y="59"/>
                    <a:pt x="43" y="59"/>
                  </a:cubicBezTo>
                  <a:cubicBezTo>
                    <a:pt x="41" y="59"/>
                    <a:pt x="38" y="61"/>
                    <a:pt x="38" y="64"/>
                  </a:cubicBezTo>
                  <a:close/>
                  <a:moveTo>
                    <a:pt x="44" y="64"/>
                  </a:moveTo>
                  <a:cubicBezTo>
                    <a:pt x="44" y="65"/>
                    <a:pt x="44" y="65"/>
                    <a:pt x="43" y="65"/>
                  </a:cubicBezTo>
                  <a:cubicBezTo>
                    <a:pt x="43" y="65"/>
                    <a:pt x="42" y="65"/>
                    <a:pt x="42" y="64"/>
                  </a:cubicBezTo>
                  <a:cubicBezTo>
                    <a:pt x="42" y="64"/>
                    <a:pt x="43" y="63"/>
                    <a:pt x="43" y="63"/>
                  </a:cubicBezTo>
                  <a:cubicBezTo>
                    <a:pt x="44" y="63"/>
                    <a:pt x="44" y="64"/>
                    <a:pt x="44" y="64"/>
                  </a:cubicBezTo>
                  <a:close/>
                  <a:moveTo>
                    <a:pt x="122" y="23"/>
                  </a:moveTo>
                  <a:cubicBezTo>
                    <a:pt x="103" y="23"/>
                    <a:pt x="103" y="23"/>
                    <a:pt x="103" y="23"/>
                  </a:cubicBezTo>
                  <a:cubicBezTo>
                    <a:pt x="103" y="31"/>
                    <a:pt x="103" y="31"/>
                    <a:pt x="103" y="31"/>
                  </a:cubicBezTo>
                  <a:cubicBezTo>
                    <a:pt x="118" y="31"/>
                    <a:pt x="118" y="31"/>
                    <a:pt x="118" y="31"/>
                  </a:cubicBezTo>
                  <a:cubicBezTo>
                    <a:pt x="118" y="97"/>
                    <a:pt x="118" y="97"/>
                    <a:pt x="118" y="97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3" y="105"/>
                    <a:pt x="103" y="105"/>
                    <a:pt x="103" y="105"/>
                  </a:cubicBezTo>
                  <a:cubicBezTo>
                    <a:pt x="122" y="105"/>
                    <a:pt x="122" y="105"/>
                    <a:pt x="122" y="105"/>
                  </a:cubicBezTo>
                  <a:cubicBezTo>
                    <a:pt x="124" y="105"/>
                    <a:pt x="126" y="104"/>
                    <a:pt x="126" y="101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5"/>
                    <a:pt x="124" y="23"/>
                    <a:pt x="122" y="23"/>
                  </a:cubicBezTo>
                  <a:close/>
                  <a:moveTo>
                    <a:pt x="8" y="31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5"/>
                    <a:pt x="0" y="27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04"/>
                    <a:pt x="2" y="105"/>
                    <a:pt x="4" y="105"/>
                  </a:cubicBezTo>
                  <a:cubicBezTo>
                    <a:pt x="20" y="105"/>
                    <a:pt x="20" y="105"/>
                    <a:pt x="20" y="105"/>
                  </a:cubicBezTo>
                  <a:cubicBezTo>
                    <a:pt x="20" y="97"/>
                    <a:pt x="20" y="97"/>
                    <a:pt x="20" y="97"/>
                  </a:cubicBezTo>
                  <a:cubicBezTo>
                    <a:pt x="8" y="97"/>
                    <a:pt x="8" y="97"/>
                    <a:pt x="8" y="97"/>
                  </a:cubicBezTo>
                  <a:lnTo>
                    <a:pt x="8" y="3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37" name="Freeform 187"/>
            <p:cNvSpPr>
              <a:spLocks noEditPoints="1"/>
            </p:cNvSpPr>
            <p:nvPr/>
          </p:nvSpPr>
          <p:spPr bwMode="auto">
            <a:xfrm>
              <a:off x="3127494" y="3702050"/>
              <a:ext cx="112594" cy="159372"/>
            </a:xfrm>
            <a:custGeom>
              <a:avLst/>
              <a:gdLst>
                <a:gd name="T0" fmla="*/ 0 w 88"/>
                <a:gd name="T1" fmla="*/ 8 h 124"/>
                <a:gd name="T2" fmla="*/ 80 w 88"/>
                <a:gd name="T3" fmla="*/ 124 h 124"/>
                <a:gd name="T4" fmla="*/ 80 w 88"/>
                <a:gd name="T5" fmla="*/ 0 h 124"/>
                <a:gd name="T6" fmla="*/ 8 w 88"/>
                <a:gd name="T7" fmla="*/ 8 h 124"/>
                <a:gd name="T8" fmla="*/ 20 w 88"/>
                <a:gd name="T9" fmla="*/ 44 h 124"/>
                <a:gd name="T10" fmla="*/ 72 w 88"/>
                <a:gd name="T11" fmla="*/ 20 h 124"/>
                <a:gd name="T12" fmla="*/ 16 w 88"/>
                <a:gd name="T13" fmla="*/ 20 h 124"/>
                <a:gd name="T14" fmla="*/ 24 w 88"/>
                <a:gd name="T15" fmla="*/ 66 h 124"/>
                <a:gd name="T16" fmla="*/ 28 w 88"/>
                <a:gd name="T17" fmla="*/ 70 h 124"/>
                <a:gd name="T18" fmla="*/ 32 w 88"/>
                <a:gd name="T19" fmla="*/ 66 h 124"/>
                <a:gd name="T20" fmla="*/ 30 w 88"/>
                <a:gd name="T21" fmla="*/ 62 h 124"/>
                <a:gd name="T22" fmla="*/ 26 w 88"/>
                <a:gd name="T23" fmla="*/ 60 h 124"/>
                <a:gd name="T24" fmla="*/ 22 w 88"/>
                <a:gd name="T25" fmla="*/ 64 h 124"/>
                <a:gd name="T26" fmla="*/ 36 w 88"/>
                <a:gd name="T27" fmla="*/ 78 h 124"/>
                <a:gd name="T28" fmla="*/ 36 w 88"/>
                <a:gd name="T29" fmla="*/ 50 h 124"/>
                <a:gd name="T30" fmla="*/ 14 w 88"/>
                <a:gd name="T31" fmla="*/ 72 h 124"/>
                <a:gd name="T32" fmla="*/ 20 w 88"/>
                <a:gd name="T33" fmla="*/ 54 h 124"/>
                <a:gd name="T34" fmla="*/ 38 w 88"/>
                <a:gd name="T35" fmla="*/ 72 h 124"/>
                <a:gd name="T36" fmla="*/ 18 w 88"/>
                <a:gd name="T37" fmla="*/ 72 h 124"/>
                <a:gd name="T38" fmla="*/ 36 w 88"/>
                <a:gd name="T39" fmla="*/ 110 h 124"/>
                <a:gd name="T40" fmla="*/ 36 w 88"/>
                <a:gd name="T41" fmla="*/ 82 h 124"/>
                <a:gd name="T42" fmla="*/ 14 w 88"/>
                <a:gd name="T43" fmla="*/ 104 h 124"/>
                <a:gd name="T44" fmla="*/ 20 w 88"/>
                <a:gd name="T45" fmla="*/ 86 h 124"/>
                <a:gd name="T46" fmla="*/ 38 w 88"/>
                <a:gd name="T47" fmla="*/ 104 h 124"/>
                <a:gd name="T48" fmla="*/ 18 w 88"/>
                <a:gd name="T49" fmla="*/ 104 h 124"/>
                <a:gd name="T50" fmla="*/ 25 w 88"/>
                <a:gd name="T51" fmla="*/ 101 h 124"/>
                <a:gd name="T52" fmla="*/ 29 w 88"/>
                <a:gd name="T53" fmla="*/ 100 h 124"/>
                <a:gd name="T54" fmla="*/ 32 w 88"/>
                <a:gd name="T55" fmla="*/ 97 h 124"/>
                <a:gd name="T56" fmla="*/ 32 w 88"/>
                <a:gd name="T57" fmla="*/ 92 h 124"/>
                <a:gd name="T58" fmla="*/ 27 w 88"/>
                <a:gd name="T59" fmla="*/ 92 h 124"/>
                <a:gd name="T60" fmla="*/ 25 w 88"/>
                <a:gd name="T61" fmla="*/ 96 h 124"/>
                <a:gd name="T62" fmla="*/ 64 w 88"/>
                <a:gd name="T63" fmla="*/ 62 h 124"/>
                <a:gd name="T64" fmla="*/ 56 w 88"/>
                <a:gd name="T65" fmla="*/ 66 h 124"/>
                <a:gd name="T66" fmla="*/ 64 w 88"/>
                <a:gd name="T67" fmla="*/ 62 h 124"/>
                <a:gd name="T68" fmla="*/ 46 w 88"/>
                <a:gd name="T69" fmla="*/ 72 h 124"/>
                <a:gd name="T70" fmla="*/ 74 w 88"/>
                <a:gd name="T71" fmla="*/ 72 h 124"/>
                <a:gd name="T72" fmla="*/ 52 w 88"/>
                <a:gd name="T73" fmla="*/ 50 h 124"/>
                <a:gd name="T74" fmla="*/ 68 w 88"/>
                <a:gd name="T75" fmla="*/ 74 h 124"/>
                <a:gd name="T76" fmla="*/ 50 w 88"/>
                <a:gd name="T77" fmla="*/ 56 h 124"/>
                <a:gd name="T78" fmla="*/ 70 w 88"/>
                <a:gd name="T79" fmla="*/ 56 h 124"/>
                <a:gd name="T80" fmla="*/ 60 w 88"/>
                <a:gd name="T81" fmla="*/ 89 h 124"/>
                <a:gd name="T82" fmla="*/ 60 w 88"/>
                <a:gd name="T83" fmla="*/ 99 h 124"/>
                <a:gd name="T84" fmla="*/ 62 w 88"/>
                <a:gd name="T85" fmla="*/ 101 h 124"/>
                <a:gd name="T86" fmla="*/ 52 w 88"/>
                <a:gd name="T87" fmla="*/ 82 h 124"/>
                <a:gd name="T88" fmla="*/ 52 w 88"/>
                <a:gd name="T89" fmla="*/ 110 h 124"/>
                <a:gd name="T90" fmla="*/ 74 w 88"/>
                <a:gd name="T91" fmla="*/ 88 h 124"/>
                <a:gd name="T92" fmla="*/ 68 w 88"/>
                <a:gd name="T93" fmla="*/ 106 h 124"/>
                <a:gd name="T94" fmla="*/ 50 w 88"/>
                <a:gd name="T95" fmla="*/ 88 h 124"/>
                <a:gd name="T96" fmla="*/ 70 w 88"/>
                <a:gd name="T97" fmla="*/ 88 h 124"/>
                <a:gd name="T98" fmla="*/ 56 w 88"/>
                <a:gd name="T99" fmla="*/ 94 h 124"/>
                <a:gd name="T100" fmla="*/ 64 w 88"/>
                <a:gd name="T101" fmla="*/ 98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" h="124">
                  <a:moveTo>
                    <a:pt x="8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0" y="120"/>
                    <a:pt x="4" y="124"/>
                    <a:pt x="8" y="124"/>
                  </a:cubicBezTo>
                  <a:cubicBezTo>
                    <a:pt x="80" y="124"/>
                    <a:pt x="80" y="124"/>
                    <a:pt x="80" y="124"/>
                  </a:cubicBezTo>
                  <a:cubicBezTo>
                    <a:pt x="84" y="124"/>
                    <a:pt x="88" y="120"/>
                    <a:pt x="88" y="116"/>
                  </a:cubicBezTo>
                  <a:cubicBezTo>
                    <a:pt x="88" y="8"/>
                    <a:pt x="88" y="8"/>
                    <a:pt x="88" y="8"/>
                  </a:cubicBezTo>
                  <a:cubicBezTo>
                    <a:pt x="88" y="4"/>
                    <a:pt x="84" y="0"/>
                    <a:pt x="80" y="0"/>
                  </a:cubicBezTo>
                  <a:close/>
                  <a:moveTo>
                    <a:pt x="80" y="116"/>
                  </a:moveTo>
                  <a:cubicBezTo>
                    <a:pt x="8" y="116"/>
                    <a:pt x="8" y="116"/>
                    <a:pt x="8" y="116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0" y="8"/>
                    <a:pt x="80" y="8"/>
                    <a:pt x="80" y="8"/>
                  </a:cubicBezTo>
                  <a:lnTo>
                    <a:pt x="80" y="116"/>
                  </a:lnTo>
                  <a:close/>
                  <a:moveTo>
                    <a:pt x="20" y="44"/>
                  </a:moveTo>
                  <a:cubicBezTo>
                    <a:pt x="68" y="44"/>
                    <a:pt x="68" y="44"/>
                    <a:pt x="68" y="44"/>
                  </a:cubicBezTo>
                  <a:cubicBezTo>
                    <a:pt x="70" y="44"/>
                    <a:pt x="72" y="42"/>
                    <a:pt x="72" y="40"/>
                  </a:cubicBezTo>
                  <a:cubicBezTo>
                    <a:pt x="72" y="20"/>
                    <a:pt x="72" y="20"/>
                    <a:pt x="72" y="20"/>
                  </a:cubicBezTo>
                  <a:cubicBezTo>
                    <a:pt x="72" y="18"/>
                    <a:pt x="70" y="16"/>
                    <a:pt x="68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18" y="16"/>
                    <a:pt x="16" y="18"/>
                    <a:pt x="16" y="20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2"/>
                    <a:pt x="18" y="44"/>
                    <a:pt x="20" y="44"/>
                  </a:cubicBezTo>
                  <a:close/>
                  <a:moveTo>
                    <a:pt x="24" y="66"/>
                  </a:moveTo>
                  <a:cubicBezTo>
                    <a:pt x="26" y="66"/>
                    <a:pt x="26" y="66"/>
                    <a:pt x="26" y="66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9"/>
                    <a:pt x="27" y="70"/>
                    <a:pt x="28" y="70"/>
                  </a:cubicBezTo>
                  <a:cubicBezTo>
                    <a:pt x="29" y="70"/>
                    <a:pt x="30" y="69"/>
                    <a:pt x="30" y="68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3" y="66"/>
                    <a:pt x="34" y="65"/>
                    <a:pt x="34" y="64"/>
                  </a:cubicBezTo>
                  <a:cubicBezTo>
                    <a:pt x="34" y="63"/>
                    <a:pt x="33" y="62"/>
                    <a:pt x="32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0" y="59"/>
                    <a:pt x="29" y="58"/>
                    <a:pt x="28" y="58"/>
                  </a:cubicBezTo>
                  <a:cubicBezTo>
                    <a:pt x="27" y="58"/>
                    <a:pt x="26" y="59"/>
                    <a:pt x="26" y="60"/>
                  </a:cubicBezTo>
                  <a:cubicBezTo>
                    <a:pt x="26" y="62"/>
                    <a:pt x="26" y="62"/>
                    <a:pt x="26" y="62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3" y="62"/>
                    <a:pt x="22" y="63"/>
                    <a:pt x="22" y="64"/>
                  </a:cubicBezTo>
                  <a:cubicBezTo>
                    <a:pt x="22" y="65"/>
                    <a:pt x="23" y="66"/>
                    <a:pt x="24" y="66"/>
                  </a:cubicBezTo>
                  <a:close/>
                  <a:moveTo>
                    <a:pt x="20" y="78"/>
                  </a:moveTo>
                  <a:cubicBezTo>
                    <a:pt x="36" y="78"/>
                    <a:pt x="36" y="78"/>
                    <a:pt x="36" y="78"/>
                  </a:cubicBezTo>
                  <a:cubicBezTo>
                    <a:pt x="39" y="78"/>
                    <a:pt x="42" y="75"/>
                    <a:pt x="42" y="72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3"/>
                    <a:pt x="39" y="50"/>
                    <a:pt x="36" y="50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17" y="50"/>
                    <a:pt x="14" y="53"/>
                    <a:pt x="14" y="56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4" y="75"/>
                    <a:pt x="17" y="78"/>
                    <a:pt x="20" y="78"/>
                  </a:cubicBezTo>
                  <a:close/>
                  <a:moveTo>
                    <a:pt x="18" y="56"/>
                  </a:moveTo>
                  <a:cubicBezTo>
                    <a:pt x="18" y="55"/>
                    <a:pt x="19" y="54"/>
                    <a:pt x="20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7" y="54"/>
                    <a:pt x="38" y="55"/>
                    <a:pt x="38" y="56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73"/>
                    <a:pt x="37" y="74"/>
                    <a:pt x="36" y="74"/>
                  </a:cubicBezTo>
                  <a:cubicBezTo>
                    <a:pt x="20" y="74"/>
                    <a:pt x="20" y="74"/>
                    <a:pt x="20" y="74"/>
                  </a:cubicBezTo>
                  <a:cubicBezTo>
                    <a:pt x="19" y="74"/>
                    <a:pt x="18" y="73"/>
                    <a:pt x="18" y="72"/>
                  </a:cubicBezTo>
                  <a:lnTo>
                    <a:pt x="18" y="56"/>
                  </a:lnTo>
                  <a:close/>
                  <a:moveTo>
                    <a:pt x="20" y="110"/>
                  </a:moveTo>
                  <a:cubicBezTo>
                    <a:pt x="36" y="110"/>
                    <a:pt x="36" y="110"/>
                    <a:pt x="36" y="110"/>
                  </a:cubicBezTo>
                  <a:cubicBezTo>
                    <a:pt x="39" y="110"/>
                    <a:pt x="42" y="107"/>
                    <a:pt x="42" y="104"/>
                  </a:cubicBezTo>
                  <a:cubicBezTo>
                    <a:pt x="42" y="88"/>
                    <a:pt x="42" y="88"/>
                    <a:pt x="42" y="88"/>
                  </a:cubicBezTo>
                  <a:cubicBezTo>
                    <a:pt x="42" y="85"/>
                    <a:pt x="39" y="82"/>
                    <a:pt x="36" y="82"/>
                  </a:cubicBezTo>
                  <a:cubicBezTo>
                    <a:pt x="20" y="82"/>
                    <a:pt x="20" y="82"/>
                    <a:pt x="20" y="82"/>
                  </a:cubicBezTo>
                  <a:cubicBezTo>
                    <a:pt x="17" y="82"/>
                    <a:pt x="14" y="85"/>
                    <a:pt x="14" y="88"/>
                  </a:cubicBezTo>
                  <a:cubicBezTo>
                    <a:pt x="14" y="104"/>
                    <a:pt x="14" y="104"/>
                    <a:pt x="14" y="104"/>
                  </a:cubicBezTo>
                  <a:cubicBezTo>
                    <a:pt x="14" y="107"/>
                    <a:pt x="17" y="110"/>
                    <a:pt x="20" y="110"/>
                  </a:cubicBezTo>
                  <a:close/>
                  <a:moveTo>
                    <a:pt x="18" y="88"/>
                  </a:moveTo>
                  <a:cubicBezTo>
                    <a:pt x="18" y="87"/>
                    <a:pt x="19" y="86"/>
                    <a:pt x="20" y="86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37" y="86"/>
                    <a:pt x="38" y="87"/>
                    <a:pt x="38" y="88"/>
                  </a:cubicBezTo>
                  <a:cubicBezTo>
                    <a:pt x="38" y="104"/>
                    <a:pt x="38" y="104"/>
                    <a:pt x="38" y="104"/>
                  </a:cubicBezTo>
                  <a:cubicBezTo>
                    <a:pt x="38" y="105"/>
                    <a:pt x="37" y="106"/>
                    <a:pt x="36" y="106"/>
                  </a:cubicBezTo>
                  <a:cubicBezTo>
                    <a:pt x="20" y="106"/>
                    <a:pt x="20" y="106"/>
                    <a:pt x="20" y="106"/>
                  </a:cubicBezTo>
                  <a:cubicBezTo>
                    <a:pt x="19" y="106"/>
                    <a:pt x="18" y="105"/>
                    <a:pt x="18" y="104"/>
                  </a:cubicBezTo>
                  <a:lnTo>
                    <a:pt x="18" y="88"/>
                  </a:lnTo>
                  <a:close/>
                  <a:moveTo>
                    <a:pt x="24" y="100"/>
                  </a:moveTo>
                  <a:cubicBezTo>
                    <a:pt x="24" y="101"/>
                    <a:pt x="25" y="101"/>
                    <a:pt x="25" y="101"/>
                  </a:cubicBezTo>
                  <a:cubicBezTo>
                    <a:pt x="26" y="101"/>
                    <a:pt x="26" y="101"/>
                    <a:pt x="27" y="100"/>
                  </a:cubicBezTo>
                  <a:cubicBezTo>
                    <a:pt x="28" y="99"/>
                    <a:pt x="28" y="99"/>
                    <a:pt x="28" y="99"/>
                  </a:cubicBezTo>
                  <a:cubicBezTo>
                    <a:pt x="29" y="100"/>
                    <a:pt x="29" y="100"/>
                    <a:pt x="29" y="100"/>
                  </a:cubicBezTo>
                  <a:cubicBezTo>
                    <a:pt x="30" y="101"/>
                    <a:pt x="30" y="101"/>
                    <a:pt x="31" y="101"/>
                  </a:cubicBezTo>
                  <a:cubicBezTo>
                    <a:pt x="31" y="101"/>
                    <a:pt x="32" y="101"/>
                    <a:pt x="32" y="100"/>
                  </a:cubicBezTo>
                  <a:cubicBezTo>
                    <a:pt x="33" y="99"/>
                    <a:pt x="33" y="98"/>
                    <a:pt x="32" y="97"/>
                  </a:cubicBezTo>
                  <a:cubicBezTo>
                    <a:pt x="31" y="96"/>
                    <a:pt x="31" y="96"/>
                    <a:pt x="31" y="96"/>
                  </a:cubicBezTo>
                  <a:cubicBezTo>
                    <a:pt x="32" y="95"/>
                    <a:pt x="32" y="95"/>
                    <a:pt x="32" y="95"/>
                  </a:cubicBezTo>
                  <a:cubicBezTo>
                    <a:pt x="33" y="94"/>
                    <a:pt x="33" y="93"/>
                    <a:pt x="32" y="92"/>
                  </a:cubicBezTo>
                  <a:cubicBezTo>
                    <a:pt x="31" y="91"/>
                    <a:pt x="30" y="91"/>
                    <a:pt x="29" y="92"/>
                  </a:cubicBezTo>
                  <a:cubicBezTo>
                    <a:pt x="28" y="93"/>
                    <a:pt x="28" y="93"/>
                    <a:pt x="28" y="93"/>
                  </a:cubicBezTo>
                  <a:cubicBezTo>
                    <a:pt x="27" y="92"/>
                    <a:pt x="27" y="92"/>
                    <a:pt x="27" y="92"/>
                  </a:cubicBezTo>
                  <a:cubicBezTo>
                    <a:pt x="26" y="91"/>
                    <a:pt x="25" y="91"/>
                    <a:pt x="24" y="92"/>
                  </a:cubicBezTo>
                  <a:cubicBezTo>
                    <a:pt x="23" y="93"/>
                    <a:pt x="23" y="94"/>
                    <a:pt x="24" y="95"/>
                  </a:cubicBezTo>
                  <a:cubicBezTo>
                    <a:pt x="25" y="96"/>
                    <a:pt x="25" y="96"/>
                    <a:pt x="25" y="96"/>
                  </a:cubicBezTo>
                  <a:cubicBezTo>
                    <a:pt x="24" y="97"/>
                    <a:pt x="24" y="97"/>
                    <a:pt x="24" y="97"/>
                  </a:cubicBezTo>
                  <a:cubicBezTo>
                    <a:pt x="23" y="98"/>
                    <a:pt x="23" y="99"/>
                    <a:pt x="24" y="100"/>
                  </a:cubicBezTo>
                  <a:close/>
                  <a:moveTo>
                    <a:pt x="64" y="62"/>
                  </a:moveTo>
                  <a:cubicBezTo>
                    <a:pt x="56" y="62"/>
                    <a:pt x="56" y="62"/>
                    <a:pt x="56" y="62"/>
                  </a:cubicBezTo>
                  <a:cubicBezTo>
                    <a:pt x="55" y="62"/>
                    <a:pt x="54" y="63"/>
                    <a:pt x="54" y="64"/>
                  </a:cubicBezTo>
                  <a:cubicBezTo>
                    <a:pt x="54" y="65"/>
                    <a:pt x="55" y="66"/>
                    <a:pt x="56" y="66"/>
                  </a:cubicBezTo>
                  <a:cubicBezTo>
                    <a:pt x="64" y="66"/>
                    <a:pt x="64" y="66"/>
                    <a:pt x="64" y="66"/>
                  </a:cubicBezTo>
                  <a:cubicBezTo>
                    <a:pt x="65" y="66"/>
                    <a:pt x="66" y="65"/>
                    <a:pt x="66" y="64"/>
                  </a:cubicBezTo>
                  <a:cubicBezTo>
                    <a:pt x="66" y="63"/>
                    <a:pt x="65" y="62"/>
                    <a:pt x="64" y="62"/>
                  </a:cubicBezTo>
                  <a:close/>
                  <a:moveTo>
                    <a:pt x="52" y="50"/>
                  </a:moveTo>
                  <a:cubicBezTo>
                    <a:pt x="49" y="50"/>
                    <a:pt x="46" y="53"/>
                    <a:pt x="46" y="56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5"/>
                    <a:pt x="49" y="78"/>
                    <a:pt x="52" y="78"/>
                  </a:cubicBezTo>
                  <a:cubicBezTo>
                    <a:pt x="68" y="78"/>
                    <a:pt x="68" y="78"/>
                    <a:pt x="68" y="78"/>
                  </a:cubicBezTo>
                  <a:cubicBezTo>
                    <a:pt x="71" y="78"/>
                    <a:pt x="74" y="75"/>
                    <a:pt x="74" y="72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53"/>
                    <a:pt x="71" y="50"/>
                    <a:pt x="68" y="50"/>
                  </a:cubicBezTo>
                  <a:lnTo>
                    <a:pt x="52" y="50"/>
                  </a:lnTo>
                  <a:close/>
                  <a:moveTo>
                    <a:pt x="70" y="56"/>
                  </a:moveTo>
                  <a:cubicBezTo>
                    <a:pt x="70" y="72"/>
                    <a:pt x="70" y="72"/>
                    <a:pt x="70" y="72"/>
                  </a:cubicBezTo>
                  <a:cubicBezTo>
                    <a:pt x="70" y="73"/>
                    <a:pt x="69" y="74"/>
                    <a:pt x="68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1" y="74"/>
                    <a:pt x="50" y="73"/>
                    <a:pt x="50" y="72"/>
                  </a:cubicBezTo>
                  <a:cubicBezTo>
                    <a:pt x="50" y="56"/>
                    <a:pt x="50" y="56"/>
                    <a:pt x="50" y="56"/>
                  </a:cubicBezTo>
                  <a:cubicBezTo>
                    <a:pt x="50" y="55"/>
                    <a:pt x="51" y="54"/>
                    <a:pt x="52" y="54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9" y="54"/>
                    <a:pt x="70" y="55"/>
                    <a:pt x="70" y="56"/>
                  </a:cubicBezTo>
                  <a:close/>
                  <a:moveTo>
                    <a:pt x="60" y="93"/>
                  </a:moveTo>
                  <a:cubicBezTo>
                    <a:pt x="61" y="93"/>
                    <a:pt x="62" y="92"/>
                    <a:pt x="62" y="91"/>
                  </a:cubicBezTo>
                  <a:cubicBezTo>
                    <a:pt x="62" y="90"/>
                    <a:pt x="61" y="89"/>
                    <a:pt x="60" y="89"/>
                  </a:cubicBezTo>
                  <a:cubicBezTo>
                    <a:pt x="59" y="89"/>
                    <a:pt x="58" y="90"/>
                    <a:pt x="58" y="91"/>
                  </a:cubicBezTo>
                  <a:cubicBezTo>
                    <a:pt x="58" y="92"/>
                    <a:pt x="59" y="93"/>
                    <a:pt x="60" y="93"/>
                  </a:cubicBezTo>
                  <a:close/>
                  <a:moveTo>
                    <a:pt x="60" y="99"/>
                  </a:moveTo>
                  <a:cubicBezTo>
                    <a:pt x="59" y="99"/>
                    <a:pt x="58" y="100"/>
                    <a:pt x="58" y="101"/>
                  </a:cubicBezTo>
                  <a:cubicBezTo>
                    <a:pt x="58" y="102"/>
                    <a:pt x="59" y="103"/>
                    <a:pt x="60" y="103"/>
                  </a:cubicBezTo>
                  <a:cubicBezTo>
                    <a:pt x="61" y="103"/>
                    <a:pt x="62" y="102"/>
                    <a:pt x="62" y="101"/>
                  </a:cubicBezTo>
                  <a:cubicBezTo>
                    <a:pt x="62" y="100"/>
                    <a:pt x="61" y="99"/>
                    <a:pt x="60" y="99"/>
                  </a:cubicBezTo>
                  <a:close/>
                  <a:moveTo>
                    <a:pt x="68" y="82"/>
                  </a:moveTo>
                  <a:cubicBezTo>
                    <a:pt x="52" y="82"/>
                    <a:pt x="52" y="82"/>
                    <a:pt x="52" y="82"/>
                  </a:cubicBezTo>
                  <a:cubicBezTo>
                    <a:pt x="49" y="82"/>
                    <a:pt x="46" y="85"/>
                    <a:pt x="46" y="88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6" y="107"/>
                    <a:pt x="49" y="110"/>
                    <a:pt x="52" y="110"/>
                  </a:cubicBezTo>
                  <a:cubicBezTo>
                    <a:pt x="68" y="110"/>
                    <a:pt x="68" y="110"/>
                    <a:pt x="68" y="110"/>
                  </a:cubicBezTo>
                  <a:cubicBezTo>
                    <a:pt x="71" y="110"/>
                    <a:pt x="74" y="107"/>
                    <a:pt x="74" y="104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4" y="85"/>
                    <a:pt x="71" y="82"/>
                    <a:pt x="68" y="82"/>
                  </a:cubicBezTo>
                  <a:close/>
                  <a:moveTo>
                    <a:pt x="70" y="104"/>
                  </a:moveTo>
                  <a:cubicBezTo>
                    <a:pt x="70" y="105"/>
                    <a:pt x="69" y="106"/>
                    <a:pt x="68" y="106"/>
                  </a:cubicBezTo>
                  <a:cubicBezTo>
                    <a:pt x="52" y="106"/>
                    <a:pt x="52" y="106"/>
                    <a:pt x="52" y="106"/>
                  </a:cubicBezTo>
                  <a:cubicBezTo>
                    <a:pt x="51" y="106"/>
                    <a:pt x="50" y="105"/>
                    <a:pt x="50" y="104"/>
                  </a:cubicBezTo>
                  <a:cubicBezTo>
                    <a:pt x="50" y="88"/>
                    <a:pt x="50" y="88"/>
                    <a:pt x="50" y="88"/>
                  </a:cubicBezTo>
                  <a:cubicBezTo>
                    <a:pt x="50" y="87"/>
                    <a:pt x="51" y="86"/>
                    <a:pt x="52" y="86"/>
                  </a:cubicBezTo>
                  <a:cubicBezTo>
                    <a:pt x="68" y="86"/>
                    <a:pt x="68" y="86"/>
                    <a:pt x="68" y="86"/>
                  </a:cubicBezTo>
                  <a:cubicBezTo>
                    <a:pt x="69" y="86"/>
                    <a:pt x="70" y="87"/>
                    <a:pt x="70" y="88"/>
                  </a:cubicBezTo>
                  <a:lnTo>
                    <a:pt x="70" y="104"/>
                  </a:lnTo>
                  <a:close/>
                  <a:moveTo>
                    <a:pt x="64" y="94"/>
                  </a:moveTo>
                  <a:cubicBezTo>
                    <a:pt x="56" y="94"/>
                    <a:pt x="56" y="94"/>
                    <a:pt x="56" y="94"/>
                  </a:cubicBezTo>
                  <a:cubicBezTo>
                    <a:pt x="55" y="94"/>
                    <a:pt x="54" y="95"/>
                    <a:pt x="54" y="96"/>
                  </a:cubicBezTo>
                  <a:cubicBezTo>
                    <a:pt x="54" y="97"/>
                    <a:pt x="55" y="98"/>
                    <a:pt x="56" y="98"/>
                  </a:cubicBezTo>
                  <a:cubicBezTo>
                    <a:pt x="64" y="98"/>
                    <a:pt x="64" y="98"/>
                    <a:pt x="64" y="98"/>
                  </a:cubicBezTo>
                  <a:cubicBezTo>
                    <a:pt x="65" y="98"/>
                    <a:pt x="66" y="97"/>
                    <a:pt x="66" y="96"/>
                  </a:cubicBezTo>
                  <a:cubicBezTo>
                    <a:pt x="66" y="95"/>
                    <a:pt x="65" y="94"/>
                    <a:pt x="64" y="9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38" name="Freeform 172"/>
            <p:cNvSpPr>
              <a:spLocks noEditPoints="1"/>
            </p:cNvSpPr>
            <p:nvPr/>
          </p:nvSpPr>
          <p:spPr bwMode="auto">
            <a:xfrm>
              <a:off x="2978927" y="1826260"/>
              <a:ext cx="88300" cy="166528"/>
            </a:xfrm>
            <a:custGeom>
              <a:avLst/>
              <a:gdLst>
                <a:gd name="T0" fmla="*/ 194 w 208"/>
                <a:gd name="T1" fmla="*/ 0 h 392"/>
                <a:gd name="T2" fmla="*/ 14 w 208"/>
                <a:gd name="T3" fmla="*/ 0 h 392"/>
                <a:gd name="T4" fmla="*/ 0 w 208"/>
                <a:gd name="T5" fmla="*/ 14 h 392"/>
                <a:gd name="T6" fmla="*/ 0 w 208"/>
                <a:gd name="T7" fmla="*/ 378 h 392"/>
                <a:gd name="T8" fmla="*/ 14 w 208"/>
                <a:gd name="T9" fmla="*/ 392 h 392"/>
                <a:gd name="T10" fmla="*/ 194 w 208"/>
                <a:gd name="T11" fmla="*/ 392 h 392"/>
                <a:gd name="T12" fmla="*/ 208 w 208"/>
                <a:gd name="T13" fmla="*/ 378 h 392"/>
                <a:gd name="T14" fmla="*/ 208 w 208"/>
                <a:gd name="T15" fmla="*/ 14 h 392"/>
                <a:gd name="T16" fmla="*/ 194 w 208"/>
                <a:gd name="T17" fmla="*/ 0 h 392"/>
                <a:gd name="T18" fmla="*/ 80 w 208"/>
                <a:gd name="T19" fmla="*/ 24 h 392"/>
                <a:gd name="T20" fmla="*/ 128 w 208"/>
                <a:gd name="T21" fmla="*/ 24 h 392"/>
                <a:gd name="T22" fmla="*/ 132 w 208"/>
                <a:gd name="T23" fmla="*/ 28 h 392"/>
                <a:gd name="T24" fmla="*/ 128 w 208"/>
                <a:gd name="T25" fmla="*/ 32 h 392"/>
                <a:gd name="T26" fmla="*/ 80 w 208"/>
                <a:gd name="T27" fmla="*/ 32 h 392"/>
                <a:gd name="T28" fmla="*/ 76 w 208"/>
                <a:gd name="T29" fmla="*/ 28 h 392"/>
                <a:gd name="T30" fmla="*/ 80 w 208"/>
                <a:gd name="T31" fmla="*/ 24 h 392"/>
                <a:gd name="T32" fmla="*/ 102 w 208"/>
                <a:gd name="T33" fmla="*/ 380 h 392"/>
                <a:gd name="T34" fmla="*/ 88 w 208"/>
                <a:gd name="T35" fmla="*/ 366 h 392"/>
                <a:gd name="T36" fmla="*/ 102 w 208"/>
                <a:gd name="T37" fmla="*/ 352 h 392"/>
                <a:gd name="T38" fmla="*/ 116 w 208"/>
                <a:gd name="T39" fmla="*/ 366 h 392"/>
                <a:gd name="T40" fmla="*/ 102 w 208"/>
                <a:gd name="T41" fmla="*/ 380 h 392"/>
                <a:gd name="T42" fmla="*/ 192 w 208"/>
                <a:gd name="T43" fmla="*/ 342 h 392"/>
                <a:gd name="T44" fmla="*/ 16 w 208"/>
                <a:gd name="T45" fmla="*/ 342 h 392"/>
                <a:gd name="T46" fmla="*/ 16 w 208"/>
                <a:gd name="T47" fmla="*/ 50 h 392"/>
                <a:gd name="T48" fmla="*/ 192 w 208"/>
                <a:gd name="T49" fmla="*/ 50 h 392"/>
                <a:gd name="T50" fmla="*/ 192 w 208"/>
                <a:gd name="T51" fmla="*/ 34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8" h="392">
                  <a:moveTo>
                    <a:pt x="19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78"/>
                    <a:pt x="0" y="378"/>
                    <a:pt x="0" y="378"/>
                  </a:cubicBezTo>
                  <a:cubicBezTo>
                    <a:pt x="0" y="386"/>
                    <a:pt x="6" y="392"/>
                    <a:pt x="14" y="392"/>
                  </a:cubicBezTo>
                  <a:cubicBezTo>
                    <a:pt x="194" y="392"/>
                    <a:pt x="194" y="392"/>
                    <a:pt x="194" y="392"/>
                  </a:cubicBezTo>
                  <a:cubicBezTo>
                    <a:pt x="202" y="392"/>
                    <a:pt x="208" y="386"/>
                    <a:pt x="208" y="378"/>
                  </a:cubicBezTo>
                  <a:cubicBezTo>
                    <a:pt x="208" y="14"/>
                    <a:pt x="208" y="14"/>
                    <a:pt x="208" y="14"/>
                  </a:cubicBezTo>
                  <a:cubicBezTo>
                    <a:pt x="208" y="6"/>
                    <a:pt x="202" y="0"/>
                    <a:pt x="194" y="0"/>
                  </a:cubicBezTo>
                  <a:close/>
                  <a:moveTo>
                    <a:pt x="80" y="24"/>
                  </a:moveTo>
                  <a:cubicBezTo>
                    <a:pt x="128" y="24"/>
                    <a:pt x="128" y="24"/>
                    <a:pt x="128" y="24"/>
                  </a:cubicBezTo>
                  <a:cubicBezTo>
                    <a:pt x="130" y="24"/>
                    <a:pt x="132" y="26"/>
                    <a:pt x="132" y="28"/>
                  </a:cubicBezTo>
                  <a:cubicBezTo>
                    <a:pt x="132" y="30"/>
                    <a:pt x="130" y="32"/>
                    <a:pt x="128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78" y="32"/>
                    <a:pt x="76" y="30"/>
                    <a:pt x="76" y="28"/>
                  </a:cubicBezTo>
                  <a:cubicBezTo>
                    <a:pt x="76" y="26"/>
                    <a:pt x="78" y="24"/>
                    <a:pt x="80" y="24"/>
                  </a:cubicBezTo>
                  <a:close/>
                  <a:moveTo>
                    <a:pt x="102" y="380"/>
                  </a:moveTo>
                  <a:cubicBezTo>
                    <a:pt x="94" y="380"/>
                    <a:pt x="88" y="374"/>
                    <a:pt x="88" y="366"/>
                  </a:cubicBezTo>
                  <a:cubicBezTo>
                    <a:pt x="88" y="358"/>
                    <a:pt x="94" y="352"/>
                    <a:pt x="102" y="352"/>
                  </a:cubicBezTo>
                  <a:cubicBezTo>
                    <a:pt x="110" y="352"/>
                    <a:pt x="116" y="358"/>
                    <a:pt x="116" y="366"/>
                  </a:cubicBezTo>
                  <a:cubicBezTo>
                    <a:pt x="116" y="374"/>
                    <a:pt x="110" y="380"/>
                    <a:pt x="102" y="380"/>
                  </a:cubicBezTo>
                  <a:close/>
                  <a:moveTo>
                    <a:pt x="192" y="342"/>
                  </a:moveTo>
                  <a:cubicBezTo>
                    <a:pt x="16" y="342"/>
                    <a:pt x="16" y="342"/>
                    <a:pt x="16" y="342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92" y="50"/>
                    <a:pt x="192" y="50"/>
                    <a:pt x="192" y="50"/>
                  </a:cubicBezTo>
                  <a:lnTo>
                    <a:pt x="192" y="3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39" name="Freeform 172"/>
            <p:cNvSpPr>
              <a:spLocks noEditPoints="1"/>
            </p:cNvSpPr>
            <p:nvPr/>
          </p:nvSpPr>
          <p:spPr bwMode="auto">
            <a:xfrm>
              <a:off x="2938922" y="2614930"/>
              <a:ext cx="88300" cy="166528"/>
            </a:xfrm>
            <a:custGeom>
              <a:avLst/>
              <a:gdLst>
                <a:gd name="T0" fmla="*/ 194 w 208"/>
                <a:gd name="T1" fmla="*/ 0 h 392"/>
                <a:gd name="T2" fmla="*/ 14 w 208"/>
                <a:gd name="T3" fmla="*/ 0 h 392"/>
                <a:gd name="T4" fmla="*/ 0 w 208"/>
                <a:gd name="T5" fmla="*/ 14 h 392"/>
                <a:gd name="T6" fmla="*/ 0 w 208"/>
                <a:gd name="T7" fmla="*/ 378 h 392"/>
                <a:gd name="T8" fmla="*/ 14 w 208"/>
                <a:gd name="T9" fmla="*/ 392 h 392"/>
                <a:gd name="T10" fmla="*/ 194 w 208"/>
                <a:gd name="T11" fmla="*/ 392 h 392"/>
                <a:gd name="T12" fmla="*/ 208 w 208"/>
                <a:gd name="T13" fmla="*/ 378 h 392"/>
                <a:gd name="T14" fmla="*/ 208 w 208"/>
                <a:gd name="T15" fmla="*/ 14 h 392"/>
                <a:gd name="T16" fmla="*/ 194 w 208"/>
                <a:gd name="T17" fmla="*/ 0 h 392"/>
                <a:gd name="T18" fmla="*/ 80 w 208"/>
                <a:gd name="T19" fmla="*/ 24 h 392"/>
                <a:gd name="T20" fmla="*/ 128 w 208"/>
                <a:gd name="T21" fmla="*/ 24 h 392"/>
                <a:gd name="T22" fmla="*/ 132 w 208"/>
                <a:gd name="T23" fmla="*/ 28 h 392"/>
                <a:gd name="T24" fmla="*/ 128 w 208"/>
                <a:gd name="T25" fmla="*/ 32 h 392"/>
                <a:gd name="T26" fmla="*/ 80 w 208"/>
                <a:gd name="T27" fmla="*/ 32 h 392"/>
                <a:gd name="T28" fmla="*/ 76 w 208"/>
                <a:gd name="T29" fmla="*/ 28 h 392"/>
                <a:gd name="T30" fmla="*/ 80 w 208"/>
                <a:gd name="T31" fmla="*/ 24 h 392"/>
                <a:gd name="T32" fmla="*/ 102 w 208"/>
                <a:gd name="T33" fmla="*/ 380 h 392"/>
                <a:gd name="T34" fmla="*/ 88 w 208"/>
                <a:gd name="T35" fmla="*/ 366 h 392"/>
                <a:gd name="T36" fmla="*/ 102 w 208"/>
                <a:gd name="T37" fmla="*/ 352 h 392"/>
                <a:gd name="T38" fmla="*/ 116 w 208"/>
                <a:gd name="T39" fmla="*/ 366 h 392"/>
                <a:gd name="T40" fmla="*/ 102 w 208"/>
                <a:gd name="T41" fmla="*/ 380 h 392"/>
                <a:gd name="T42" fmla="*/ 192 w 208"/>
                <a:gd name="T43" fmla="*/ 342 h 392"/>
                <a:gd name="T44" fmla="*/ 16 w 208"/>
                <a:gd name="T45" fmla="*/ 342 h 392"/>
                <a:gd name="T46" fmla="*/ 16 w 208"/>
                <a:gd name="T47" fmla="*/ 50 h 392"/>
                <a:gd name="T48" fmla="*/ 192 w 208"/>
                <a:gd name="T49" fmla="*/ 50 h 392"/>
                <a:gd name="T50" fmla="*/ 192 w 208"/>
                <a:gd name="T51" fmla="*/ 34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8" h="392">
                  <a:moveTo>
                    <a:pt x="19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78"/>
                    <a:pt x="0" y="378"/>
                    <a:pt x="0" y="378"/>
                  </a:cubicBezTo>
                  <a:cubicBezTo>
                    <a:pt x="0" y="386"/>
                    <a:pt x="6" y="392"/>
                    <a:pt x="14" y="392"/>
                  </a:cubicBezTo>
                  <a:cubicBezTo>
                    <a:pt x="194" y="392"/>
                    <a:pt x="194" y="392"/>
                    <a:pt x="194" y="392"/>
                  </a:cubicBezTo>
                  <a:cubicBezTo>
                    <a:pt x="202" y="392"/>
                    <a:pt x="208" y="386"/>
                    <a:pt x="208" y="378"/>
                  </a:cubicBezTo>
                  <a:cubicBezTo>
                    <a:pt x="208" y="14"/>
                    <a:pt x="208" y="14"/>
                    <a:pt x="208" y="14"/>
                  </a:cubicBezTo>
                  <a:cubicBezTo>
                    <a:pt x="208" y="6"/>
                    <a:pt x="202" y="0"/>
                    <a:pt x="194" y="0"/>
                  </a:cubicBezTo>
                  <a:close/>
                  <a:moveTo>
                    <a:pt x="80" y="24"/>
                  </a:moveTo>
                  <a:cubicBezTo>
                    <a:pt x="128" y="24"/>
                    <a:pt x="128" y="24"/>
                    <a:pt x="128" y="24"/>
                  </a:cubicBezTo>
                  <a:cubicBezTo>
                    <a:pt x="130" y="24"/>
                    <a:pt x="132" y="26"/>
                    <a:pt x="132" y="28"/>
                  </a:cubicBezTo>
                  <a:cubicBezTo>
                    <a:pt x="132" y="30"/>
                    <a:pt x="130" y="32"/>
                    <a:pt x="128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78" y="32"/>
                    <a:pt x="76" y="30"/>
                    <a:pt x="76" y="28"/>
                  </a:cubicBezTo>
                  <a:cubicBezTo>
                    <a:pt x="76" y="26"/>
                    <a:pt x="78" y="24"/>
                    <a:pt x="80" y="24"/>
                  </a:cubicBezTo>
                  <a:close/>
                  <a:moveTo>
                    <a:pt x="102" y="380"/>
                  </a:moveTo>
                  <a:cubicBezTo>
                    <a:pt x="94" y="380"/>
                    <a:pt x="88" y="374"/>
                    <a:pt x="88" y="366"/>
                  </a:cubicBezTo>
                  <a:cubicBezTo>
                    <a:pt x="88" y="358"/>
                    <a:pt x="94" y="352"/>
                    <a:pt x="102" y="352"/>
                  </a:cubicBezTo>
                  <a:cubicBezTo>
                    <a:pt x="110" y="352"/>
                    <a:pt x="116" y="358"/>
                    <a:pt x="116" y="366"/>
                  </a:cubicBezTo>
                  <a:cubicBezTo>
                    <a:pt x="116" y="374"/>
                    <a:pt x="110" y="380"/>
                    <a:pt x="102" y="380"/>
                  </a:cubicBezTo>
                  <a:close/>
                  <a:moveTo>
                    <a:pt x="192" y="342"/>
                  </a:moveTo>
                  <a:cubicBezTo>
                    <a:pt x="16" y="342"/>
                    <a:pt x="16" y="342"/>
                    <a:pt x="16" y="342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92" y="50"/>
                    <a:pt x="192" y="50"/>
                    <a:pt x="192" y="50"/>
                  </a:cubicBezTo>
                  <a:lnTo>
                    <a:pt x="192" y="3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80" name="Freeform 213"/>
            <p:cNvSpPr>
              <a:spLocks noEditPoints="1"/>
            </p:cNvSpPr>
            <p:nvPr/>
          </p:nvSpPr>
          <p:spPr bwMode="auto">
            <a:xfrm>
              <a:off x="3380741" y="2868870"/>
              <a:ext cx="231140" cy="80705"/>
            </a:xfrm>
            <a:custGeom>
              <a:avLst/>
              <a:gdLst>
                <a:gd name="T0" fmla="*/ 145 w 152"/>
                <a:gd name="T1" fmla="*/ 0 h 53"/>
                <a:gd name="T2" fmla="*/ 7 w 152"/>
                <a:gd name="T3" fmla="*/ 0 h 53"/>
                <a:gd name="T4" fmla="*/ 0 w 152"/>
                <a:gd name="T5" fmla="*/ 6 h 53"/>
                <a:gd name="T6" fmla="*/ 0 w 152"/>
                <a:gd name="T7" fmla="*/ 41 h 53"/>
                <a:gd name="T8" fmla="*/ 7 w 152"/>
                <a:gd name="T9" fmla="*/ 48 h 53"/>
                <a:gd name="T10" fmla="*/ 13 w 152"/>
                <a:gd name="T11" fmla="*/ 48 h 53"/>
                <a:gd name="T12" fmla="*/ 20 w 152"/>
                <a:gd name="T13" fmla="*/ 53 h 53"/>
                <a:gd name="T14" fmla="*/ 25 w 152"/>
                <a:gd name="T15" fmla="*/ 53 h 53"/>
                <a:gd name="T16" fmla="*/ 32 w 152"/>
                <a:gd name="T17" fmla="*/ 48 h 53"/>
                <a:gd name="T18" fmla="*/ 120 w 152"/>
                <a:gd name="T19" fmla="*/ 48 h 53"/>
                <a:gd name="T20" fmla="*/ 127 w 152"/>
                <a:gd name="T21" fmla="*/ 53 h 53"/>
                <a:gd name="T22" fmla="*/ 132 w 152"/>
                <a:gd name="T23" fmla="*/ 53 h 53"/>
                <a:gd name="T24" fmla="*/ 139 w 152"/>
                <a:gd name="T25" fmla="*/ 48 h 53"/>
                <a:gd name="T26" fmla="*/ 145 w 152"/>
                <a:gd name="T27" fmla="*/ 48 h 53"/>
                <a:gd name="T28" fmla="*/ 152 w 152"/>
                <a:gd name="T29" fmla="*/ 41 h 53"/>
                <a:gd name="T30" fmla="*/ 152 w 152"/>
                <a:gd name="T31" fmla="*/ 6 h 53"/>
                <a:gd name="T32" fmla="*/ 145 w 152"/>
                <a:gd name="T33" fmla="*/ 0 h 53"/>
                <a:gd name="T34" fmla="*/ 13 w 152"/>
                <a:gd name="T35" fmla="*/ 38 h 53"/>
                <a:gd name="T36" fmla="*/ 11 w 152"/>
                <a:gd name="T37" fmla="*/ 40 h 53"/>
                <a:gd name="T38" fmla="*/ 9 w 152"/>
                <a:gd name="T39" fmla="*/ 38 h 53"/>
                <a:gd name="T40" fmla="*/ 9 w 152"/>
                <a:gd name="T41" fmla="*/ 9 h 53"/>
                <a:gd name="T42" fmla="*/ 11 w 152"/>
                <a:gd name="T43" fmla="*/ 7 h 53"/>
                <a:gd name="T44" fmla="*/ 13 w 152"/>
                <a:gd name="T45" fmla="*/ 9 h 53"/>
                <a:gd name="T46" fmla="*/ 13 w 152"/>
                <a:gd name="T47" fmla="*/ 38 h 53"/>
                <a:gd name="T48" fmla="*/ 24 w 152"/>
                <a:gd name="T49" fmla="*/ 38 h 53"/>
                <a:gd name="T50" fmla="*/ 22 w 152"/>
                <a:gd name="T51" fmla="*/ 40 h 53"/>
                <a:gd name="T52" fmla="*/ 20 w 152"/>
                <a:gd name="T53" fmla="*/ 38 h 53"/>
                <a:gd name="T54" fmla="*/ 20 w 152"/>
                <a:gd name="T55" fmla="*/ 9 h 53"/>
                <a:gd name="T56" fmla="*/ 22 w 152"/>
                <a:gd name="T57" fmla="*/ 7 h 53"/>
                <a:gd name="T58" fmla="*/ 24 w 152"/>
                <a:gd name="T59" fmla="*/ 9 h 53"/>
                <a:gd name="T60" fmla="*/ 24 w 152"/>
                <a:gd name="T61" fmla="*/ 38 h 53"/>
                <a:gd name="T62" fmla="*/ 35 w 152"/>
                <a:gd name="T63" fmla="*/ 38 h 53"/>
                <a:gd name="T64" fmla="*/ 33 w 152"/>
                <a:gd name="T65" fmla="*/ 40 h 53"/>
                <a:gd name="T66" fmla="*/ 31 w 152"/>
                <a:gd name="T67" fmla="*/ 38 h 53"/>
                <a:gd name="T68" fmla="*/ 31 w 152"/>
                <a:gd name="T69" fmla="*/ 9 h 53"/>
                <a:gd name="T70" fmla="*/ 33 w 152"/>
                <a:gd name="T71" fmla="*/ 7 h 53"/>
                <a:gd name="T72" fmla="*/ 35 w 152"/>
                <a:gd name="T73" fmla="*/ 9 h 53"/>
                <a:gd name="T74" fmla="*/ 35 w 152"/>
                <a:gd name="T75" fmla="*/ 38 h 53"/>
                <a:gd name="T76" fmla="*/ 120 w 152"/>
                <a:gd name="T77" fmla="*/ 42 h 53"/>
                <a:gd name="T78" fmla="*/ 102 w 152"/>
                <a:gd name="T79" fmla="*/ 24 h 53"/>
                <a:gd name="T80" fmla="*/ 120 w 152"/>
                <a:gd name="T81" fmla="*/ 5 h 53"/>
                <a:gd name="T82" fmla="*/ 139 w 152"/>
                <a:gd name="T83" fmla="*/ 24 h 53"/>
                <a:gd name="T84" fmla="*/ 120 w 152"/>
                <a:gd name="T85" fmla="*/ 42 h 53"/>
                <a:gd name="T86" fmla="*/ 120 w 152"/>
                <a:gd name="T87" fmla="*/ 12 h 53"/>
                <a:gd name="T88" fmla="*/ 108 w 152"/>
                <a:gd name="T89" fmla="*/ 24 h 53"/>
                <a:gd name="T90" fmla="*/ 120 w 152"/>
                <a:gd name="T91" fmla="*/ 35 h 53"/>
                <a:gd name="T92" fmla="*/ 132 w 152"/>
                <a:gd name="T93" fmla="*/ 24 h 53"/>
                <a:gd name="T94" fmla="*/ 120 w 152"/>
                <a:gd name="T95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2" h="53">
                  <a:moveTo>
                    <a:pt x="145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5"/>
                    <a:pt x="3" y="48"/>
                    <a:pt x="7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4" y="51"/>
                    <a:pt x="16" y="53"/>
                    <a:pt x="20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9" y="53"/>
                    <a:pt x="32" y="51"/>
                    <a:pt x="32" y="48"/>
                  </a:cubicBezTo>
                  <a:cubicBezTo>
                    <a:pt x="120" y="48"/>
                    <a:pt x="120" y="48"/>
                    <a:pt x="120" y="48"/>
                  </a:cubicBezTo>
                  <a:cubicBezTo>
                    <a:pt x="120" y="51"/>
                    <a:pt x="123" y="53"/>
                    <a:pt x="127" y="53"/>
                  </a:cubicBezTo>
                  <a:cubicBezTo>
                    <a:pt x="132" y="53"/>
                    <a:pt x="132" y="53"/>
                    <a:pt x="132" y="53"/>
                  </a:cubicBezTo>
                  <a:cubicBezTo>
                    <a:pt x="136" y="53"/>
                    <a:pt x="138" y="51"/>
                    <a:pt x="139" y="48"/>
                  </a:cubicBezTo>
                  <a:cubicBezTo>
                    <a:pt x="145" y="48"/>
                    <a:pt x="145" y="48"/>
                    <a:pt x="145" y="48"/>
                  </a:cubicBezTo>
                  <a:cubicBezTo>
                    <a:pt x="149" y="48"/>
                    <a:pt x="152" y="45"/>
                    <a:pt x="152" y="41"/>
                  </a:cubicBezTo>
                  <a:cubicBezTo>
                    <a:pt x="152" y="6"/>
                    <a:pt x="152" y="6"/>
                    <a:pt x="152" y="6"/>
                  </a:cubicBezTo>
                  <a:cubicBezTo>
                    <a:pt x="152" y="2"/>
                    <a:pt x="149" y="0"/>
                    <a:pt x="145" y="0"/>
                  </a:cubicBezTo>
                  <a:close/>
                  <a:moveTo>
                    <a:pt x="13" y="38"/>
                  </a:moveTo>
                  <a:cubicBezTo>
                    <a:pt x="13" y="39"/>
                    <a:pt x="12" y="40"/>
                    <a:pt x="11" y="40"/>
                  </a:cubicBezTo>
                  <a:cubicBezTo>
                    <a:pt x="10" y="40"/>
                    <a:pt x="9" y="39"/>
                    <a:pt x="9" y="38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8"/>
                    <a:pt x="10" y="7"/>
                    <a:pt x="11" y="7"/>
                  </a:cubicBezTo>
                  <a:cubicBezTo>
                    <a:pt x="12" y="7"/>
                    <a:pt x="13" y="8"/>
                    <a:pt x="13" y="9"/>
                  </a:cubicBezTo>
                  <a:lnTo>
                    <a:pt x="13" y="38"/>
                  </a:lnTo>
                  <a:close/>
                  <a:moveTo>
                    <a:pt x="24" y="38"/>
                  </a:moveTo>
                  <a:cubicBezTo>
                    <a:pt x="24" y="39"/>
                    <a:pt x="23" y="40"/>
                    <a:pt x="22" y="40"/>
                  </a:cubicBezTo>
                  <a:cubicBezTo>
                    <a:pt x="21" y="40"/>
                    <a:pt x="20" y="39"/>
                    <a:pt x="20" y="38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8"/>
                    <a:pt x="21" y="7"/>
                    <a:pt x="22" y="7"/>
                  </a:cubicBezTo>
                  <a:cubicBezTo>
                    <a:pt x="23" y="7"/>
                    <a:pt x="24" y="8"/>
                    <a:pt x="24" y="9"/>
                  </a:cubicBezTo>
                  <a:lnTo>
                    <a:pt x="24" y="38"/>
                  </a:lnTo>
                  <a:close/>
                  <a:moveTo>
                    <a:pt x="35" y="38"/>
                  </a:moveTo>
                  <a:cubicBezTo>
                    <a:pt x="35" y="39"/>
                    <a:pt x="34" y="40"/>
                    <a:pt x="33" y="40"/>
                  </a:cubicBezTo>
                  <a:cubicBezTo>
                    <a:pt x="32" y="40"/>
                    <a:pt x="31" y="39"/>
                    <a:pt x="31" y="38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8"/>
                    <a:pt x="32" y="7"/>
                    <a:pt x="33" y="7"/>
                  </a:cubicBezTo>
                  <a:cubicBezTo>
                    <a:pt x="34" y="7"/>
                    <a:pt x="35" y="8"/>
                    <a:pt x="35" y="9"/>
                  </a:cubicBezTo>
                  <a:lnTo>
                    <a:pt x="35" y="38"/>
                  </a:lnTo>
                  <a:close/>
                  <a:moveTo>
                    <a:pt x="120" y="42"/>
                  </a:moveTo>
                  <a:cubicBezTo>
                    <a:pt x="110" y="42"/>
                    <a:pt x="102" y="34"/>
                    <a:pt x="102" y="24"/>
                  </a:cubicBezTo>
                  <a:cubicBezTo>
                    <a:pt x="102" y="13"/>
                    <a:pt x="110" y="5"/>
                    <a:pt x="120" y="5"/>
                  </a:cubicBezTo>
                  <a:cubicBezTo>
                    <a:pt x="130" y="5"/>
                    <a:pt x="139" y="13"/>
                    <a:pt x="139" y="24"/>
                  </a:cubicBezTo>
                  <a:cubicBezTo>
                    <a:pt x="139" y="34"/>
                    <a:pt x="130" y="42"/>
                    <a:pt x="120" y="42"/>
                  </a:cubicBezTo>
                  <a:close/>
                  <a:moveTo>
                    <a:pt x="120" y="12"/>
                  </a:moveTo>
                  <a:cubicBezTo>
                    <a:pt x="114" y="12"/>
                    <a:pt x="108" y="17"/>
                    <a:pt x="108" y="24"/>
                  </a:cubicBezTo>
                  <a:cubicBezTo>
                    <a:pt x="108" y="30"/>
                    <a:pt x="114" y="35"/>
                    <a:pt x="120" y="35"/>
                  </a:cubicBezTo>
                  <a:cubicBezTo>
                    <a:pt x="127" y="35"/>
                    <a:pt x="132" y="30"/>
                    <a:pt x="132" y="24"/>
                  </a:cubicBezTo>
                  <a:cubicBezTo>
                    <a:pt x="132" y="17"/>
                    <a:pt x="127" y="12"/>
                    <a:pt x="120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44" name="Freeform 213"/>
            <p:cNvSpPr>
              <a:spLocks noEditPoints="1"/>
            </p:cNvSpPr>
            <p:nvPr/>
          </p:nvSpPr>
          <p:spPr bwMode="auto">
            <a:xfrm>
              <a:off x="3853181" y="3854390"/>
              <a:ext cx="231140" cy="80705"/>
            </a:xfrm>
            <a:custGeom>
              <a:avLst/>
              <a:gdLst>
                <a:gd name="T0" fmla="*/ 145 w 152"/>
                <a:gd name="T1" fmla="*/ 0 h 53"/>
                <a:gd name="T2" fmla="*/ 7 w 152"/>
                <a:gd name="T3" fmla="*/ 0 h 53"/>
                <a:gd name="T4" fmla="*/ 0 w 152"/>
                <a:gd name="T5" fmla="*/ 6 h 53"/>
                <a:gd name="T6" fmla="*/ 0 w 152"/>
                <a:gd name="T7" fmla="*/ 41 h 53"/>
                <a:gd name="T8" fmla="*/ 7 w 152"/>
                <a:gd name="T9" fmla="*/ 48 h 53"/>
                <a:gd name="T10" fmla="*/ 13 w 152"/>
                <a:gd name="T11" fmla="*/ 48 h 53"/>
                <a:gd name="T12" fmla="*/ 20 w 152"/>
                <a:gd name="T13" fmla="*/ 53 h 53"/>
                <a:gd name="T14" fmla="*/ 25 w 152"/>
                <a:gd name="T15" fmla="*/ 53 h 53"/>
                <a:gd name="T16" fmla="*/ 32 w 152"/>
                <a:gd name="T17" fmla="*/ 48 h 53"/>
                <a:gd name="T18" fmla="*/ 120 w 152"/>
                <a:gd name="T19" fmla="*/ 48 h 53"/>
                <a:gd name="T20" fmla="*/ 127 w 152"/>
                <a:gd name="T21" fmla="*/ 53 h 53"/>
                <a:gd name="T22" fmla="*/ 132 w 152"/>
                <a:gd name="T23" fmla="*/ 53 h 53"/>
                <a:gd name="T24" fmla="*/ 139 w 152"/>
                <a:gd name="T25" fmla="*/ 48 h 53"/>
                <a:gd name="T26" fmla="*/ 145 w 152"/>
                <a:gd name="T27" fmla="*/ 48 h 53"/>
                <a:gd name="T28" fmla="*/ 152 w 152"/>
                <a:gd name="T29" fmla="*/ 41 h 53"/>
                <a:gd name="T30" fmla="*/ 152 w 152"/>
                <a:gd name="T31" fmla="*/ 6 h 53"/>
                <a:gd name="T32" fmla="*/ 145 w 152"/>
                <a:gd name="T33" fmla="*/ 0 h 53"/>
                <a:gd name="T34" fmla="*/ 13 w 152"/>
                <a:gd name="T35" fmla="*/ 38 h 53"/>
                <a:gd name="T36" fmla="*/ 11 w 152"/>
                <a:gd name="T37" fmla="*/ 40 h 53"/>
                <a:gd name="T38" fmla="*/ 9 w 152"/>
                <a:gd name="T39" fmla="*/ 38 h 53"/>
                <a:gd name="T40" fmla="*/ 9 w 152"/>
                <a:gd name="T41" fmla="*/ 9 h 53"/>
                <a:gd name="T42" fmla="*/ 11 w 152"/>
                <a:gd name="T43" fmla="*/ 7 h 53"/>
                <a:gd name="T44" fmla="*/ 13 w 152"/>
                <a:gd name="T45" fmla="*/ 9 h 53"/>
                <a:gd name="T46" fmla="*/ 13 w 152"/>
                <a:gd name="T47" fmla="*/ 38 h 53"/>
                <a:gd name="T48" fmla="*/ 24 w 152"/>
                <a:gd name="T49" fmla="*/ 38 h 53"/>
                <a:gd name="T50" fmla="*/ 22 w 152"/>
                <a:gd name="T51" fmla="*/ 40 h 53"/>
                <a:gd name="T52" fmla="*/ 20 w 152"/>
                <a:gd name="T53" fmla="*/ 38 h 53"/>
                <a:gd name="T54" fmla="*/ 20 w 152"/>
                <a:gd name="T55" fmla="*/ 9 h 53"/>
                <a:gd name="T56" fmla="*/ 22 w 152"/>
                <a:gd name="T57" fmla="*/ 7 h 53"/>
                <a:gd name="T58" fmla="*/ 24 w 152"/>
                <a:gd name="T59" fmla="*/ 9 h 53"/>
                <a:gd name="T60" fmla="*/ 24 w 152"/>
                <a:gd name="T61" fmla="*/ 38 h 53"/>
                <a:gd name="T62" fmla="*/ 35 w 152"/>
                <a:gd name="T63" fmla="*/ 38 h 53"/>
                <a:gd name="T64" fmla="*/ 33 w 152"/>
                <a:gd name="T65" fmla="*/ 40 h 53"/>
                <a:gd name="T66" fmla="*/ 31 w 152"/>
                <a:gd name="T67" fmla="*/ 38 h 53"/>
                <a:gd name="T68" fmla="*/ 31 w 152"/>
                <a:gd name="T69" fmla="*/ 9 h 53"/>
                <a:gd name="T70" fmla="*/ 33 w 152"/>
                <a:gd name="T71" fmla="*/ 7 h 53"/>
                <a:gd name="T72" fmla="*/ 35 w 152"/>
                <a:gd name="T73" fmla="*/ 9 h 53"/>
                <a:gd name="T74" fmla="*/ 35 w 152"/>
                <a:gd name="T75" fmla="*/ 38 h 53"/>
                <a:gd name="T76" fmla="*/ 120 w 152"/>
                <a:gd name="T77" fmla="*/ 42 h 53"/>
                <a:gd name="T78" fmla="*/ 102 w 152"/>
                <a:gd name="T79" fmla="*/ 24 h 53"/>
                <a:gd name="T80" fmla="*/ 120 w 152"/>
                <a:gd name="T81" fmla="*/ 5 h 53"/>
                <a:gd name="T82" fmla="*/ 139 w 152"/>
                <a:gd name="T83" fmla="*/ 24 h 53"/>
                <a:gd name="T84" fmla="*/ 120 w 152"/>
                <a:gd name="T85" fmla="*/ 42 h 53"/>
                <a:gd name="T86" fmla="*/ 120 w 152"/>
                <a:gd name="T87" fmla="*/ 12 h 53"/>
                <a:gd name="T88" fmla="*/ 108 w 152"/>
                <a:gd name="T89" fmla="*/ 24 h 53"/>
                <a:gd name="T90" fmla="*/ 120 w 152"/>
                <a:gd name="T91" fmla="*/ 35 h 53"/>
                <a:gd name="T92" fmla="*/ 132 w 152"/>
                <a:gd name="T93" fmla="*/ 24 h 53"/>
                <a:gd name="T94" fmla="*/ 120 w 152"/>
                <a:gd name="T95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2" h="53">
                  <a:moveTo>
                    <a:pt x="145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5"/>
                    <a:pt x="3" y="48"/>
                    <a:pt x="7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4" y="51"/>
                    <a:pt x="16" y="53"/>
                    <a:pt x="20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9" y="53"/>
                    <a:pt x="32" y="51"/>
                    <a:pt x="32" y="48"/>
                  </a:cubicBezTo>
                  <a:cubicBezTo>
                    <a:pt x="120" y="48"/>
                    <a:pt x="120" y="48"/>
                    <a:pt x="120" y="48"/>
                  </a:cubicBezTo>
                  <a:cubicBezTo>
                    <a:pt x="120" y="51"/>
                    <a:pt x="123" y="53"/>
                    <a:pt x="127" y="53"/>
                  </a:cubicBezTo>
                  <a:cubicBezTo>
                    <a:pt x="132" y="53"/>
                    <a:pt x="132" y="53"/>
                    <a:pt x="132" y="53"/>
                  </a:cubicBezTo>
                  <a:cubicBezTo>
                    <a:pt x="136" y="53"/>
                    <a:pt x="138" y="51"/>
                    <a:pt x="139" y="48"/>
                  </a:cubicBezTo>
                  <a:cubicBezTo>
                    <a:pt x="145" y="48"/>
                    <a:pt x="145" y="48"/>
                    <a:pt x="145" y="48"/>
                  </a:cubicBezTo>
                  <a:cubicBezTo>
                    <a:pt x="149" y="48"/>
                    <a:pt x="152" y="45"/>
                    <a:pt x="152" y="41"/>
                  </a:cubicBezTo>
                  <a:cubicBezTo>
                    <a:pt x="152" y="6"/>
                    <a:pt x="152" y="6"/>
                    <a:pt x="152" y="6"/>
                  </a:cubicBezTo>
                  <a:cubicBezTo>
                    <a:pt x="152" y="2"/>
                    <a:pt x="149" y="0"/>
                    <a:pt x="145" y="0"/>
                  </a:cubicBezTo>
                  <a:close/>
                  <a:moveTo>
                    <a:pt x="13" y="38"/>
                  </a:moveTo>
                  <a:cubicBezTo>
                    <a:pt x="13" y="39"/>
                    <a:pt x="12" y="40"/>
                    <a:pt x="11" y="40"/>
                  </a:cubicBezTo>
                  <a:cubicBezTo>
                    <a:pt x="10" y="40"/>
                    <a:pt x="9" y="39"/>
                    <a:pt x="9" y="38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8"/>
                    <a:pt x="10" y="7"/>
                    <a:pt x="11" y="7"/>
                  </a:cubicBezTo>
                  <a:cubicBezTo>
                    <a:pt x="12" y="7"/>
                    <a:pt x="13" y="8"/>
                    <a:pt x="13" y="9"/>
                  </a:cubicBezTo>
                  <a:lnTo>
                    <a:pt x="13" y="38"/>
                  </a:lnTo>
                  <a:close/>
                  <a:moveTo>
                    <a:pt x="24" y="38"/>
                  </a:moveTo>
                  <a:cubicBezTo>
                    <a:pt x="24" y="39"/>
                    <a:pt x="23" y="40"/>
                    <a:pt x="22" y="40"/>
                  </a:cubicBezTo>
                  <a:cubicBezTo>
                    <a:pt x="21" y="40"/>
                    <a:pt x="20" y="39"/>
                    <a:pt x="20" y="38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8"/>
                    <a:pt x="21" y="7"/>
                    <a:pt x="22" y="7"/>
                  </a:cubicBezTo>
                  <a:cubicBezTo>
                    <a:pt x="23" y="7"/>
                    <a:pt x="24" y="8"/>
                    <a:pt x="24" y="9"/>
                  </a:cubicBezTo>
                  <a:lnTo>
                    <a:pt x="24" y="38"/>
                  </a:lnTo>
                  <a:close/>
                  <a:moveTo>
                    <a:pt x="35" y="38"/>
                  </a:moveTo>
                  <a:cubicBezTo>
                    <a:pt x="35" y="39"/>
                    <a:pt x="34" y="40"/>
                    <a:pt x="33" y="40"/>
                  </a:cubicBezTo>
                  <a:cubicBezTo>
                    <a:pt x="32" y="40"/>
                    <a:pt x="31" y="39"/>
                    <a:pt x="31" y="38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8"/>
                    <a:pt x="32" y="7"/>
                    <a:pt x="33" y="7"/>
                  </a:cubicBezTo>
                  <a:cubicBezTo>
                    <a:pt x="34" y="7"/>
                    <a:pt x="35" y="8"/>
                    <a:pt x="35" y="9"/>
                  </a:cubicBezTo>
                  <a:lnTo>
                    <a:pt x="35" y="38"/>
                  </a:lnTo>
                  <a:close/>
                  <a:moveTo>
                    <a:pt x="120" y="42"/>
                  </a:moveTo>
                  <a:cubicBezTo>
                    <a:pt x="110" y="42"/>
                    <a:pt x="102" y="34"/>
                    <a:pt x="102" y="24"/>
                  </a:cubicBezTo>
                  <a:cubicBezTo>
                    <a:pt x="102" y="13"/>
                    <a:pt x="110" y="5"/>
                    <a:pt x="120" y="5"/>
                  </a:cubicBezTo>
                  <a:cubicBezTo>
                    <a:pt x="130" y="5"/>
                    <a:pt x="139" y="13"/>
                    <a:pt x="139" y="24"/>
                  </a:cubicBezTo>
                  <a:cubicBezTo>
                    <a:pt x="139" y="34"/>
                    <a:pt x="130" y="42"/>
                    <a:pt x="120" y="42"/>
                  </a:cubicBezTo>
                  <a:close/>
                  <a:moveTo>
                    <a:pt x="120" y="12"/>
                  </a:moveTo>
                  <a:cubicBezTo>
                    <a:pt x="114" y="12"/>
                    <a:pt x="108" y="17"/>
                    <a:pt x="108" y="24"/>
                  </a:cubicBezTo>
                  <a:cubicBezTo>
                    <a:pt x="108" y="30"/>
                    <a:pt x="114" y="35"/>
                    <a:pt x="120" y="35"/>
                  </a:cubicBezTo>
                  <a:cubicBezTo>
                    <a:pt x="127" y="35"/>
                    <a:pt x="132" y="30"/>
                    <a:pt x="132" y="24"/>
                  </a:cubicBezTo>
                  <a:cubicBezTo>
                    <a:pt x="132" y="17"/>
                    <a:pt x="127" y="12"/>
                    <a:pt x="120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45" name="Freeform 167"/>
            <p:cNvSpPr>
              <a:spLocks noEditPoints="1"/>
            </p:cNvSpPr>
            <p:nvPr/>
          </p:nvSpPr>
          <p:spPr bwMode="auto">
            <a:xfrm>
              <a:off x="3256280" y="3364230"/>
              <a:ext cx="179814" cy="118086"/>
            </a:xfrm>
            <a:custGeom>
              <a:avLst/>
              <a:gdLst>
                <a:gd name="T0" fmla="*/ 311 w 312"/>
                <a:gd name="T1" fmla="*/ 175 h 205"/>
                <a:gd name="T2" fmla="*/ 310 w 312"/>
                <a:gd name="T3" fmla="*/ 174 h 205"/>
                <a:gd name="T4" fmla="*/ 2 w 312"/>
                <a:gd name="T5" fmla="*/ 174 h 205"/>
                <a:gd name="T6" fmla="*/ 0 w 312"/>
                <a:gd name="T7" fmla="*/ 175 h 205"/>
                <a:gd name="T8" fmla="*/ 0 w 312"/>
                <a:gd name="T9" fmla="*/ 176 h 205"/>
                <a:gd name="T10" fmla="*/ 41 w 312"/>
                <a:gd name="T11" fmla="*/ 205 h 205"/>
                <a:gd name="T12" fmla="*/ 271 w 312"/>
                <a:gd name="T13" fmla="*/ 205 h 205"/>
                <a:gd name="T14" fmla="*/ 312 w 312"/>
                <a:gd name="T15" fmla="*/ 176 h 205"/>
                <a:gd name="T16" fmla="*/ 311 w 312"/>
                <a:gd name="T17" fmla="*/ 175 h 205"/>
                <a:gd name="T18" fmla="*/ 179 w 312"/>
                <a:gd name="T19" fmla="*/ 195 h 205"/>
                <a:gd name="T20" fmla="*/ 133 w 312"/>
                <a:gd name="T21" fmla="*/ 195 h 205"/>
                <a:gd name="T22" fmla="*/ 133 w 312"/>
                <a:gd name="T23" fmla="*/ 184 h 205"/>
                <a:gd name="T24" fmla="*/ 179 w 312"/>
                <a:gd name="T25" fmla="*/ 184 h 205"/>
                <a:gd name="T26" fmla="*/ 179 w 312"/>
                <a:gd name="T27" fmla="*/ 195 h 205"/>
                <a:gd name="T28" fmla="*/ 34 w 312"/>
                <a:gd name="T29" fmla="*/ 163 h 205"/>
                <a:gd name="T30" fmla="*/ 278 w 312"/>
                <a:gd name="T31" fmla="*/ 163 h 205"/>
                <a:gd name="T32" fmla="*/ 284 w 312"/>
                <a:gd name="T33" fmla="*/ 156 h 205"/>
                <a:gd name="T34" fmla="*/ 284 w 312"/>
                <a:gd name="T35" fmla="*/ 6 h 205"/>
                <a:gd name="T36" fmla="*/ 278 w 312"/>
                <a:gd name="T37" fmla="*/ 0 h 205"/>
                <a:gd name="T38" fmla="*/ 34 w 312"/>
                <a:gd name="T39" fmla="*/ 0 h 205"/>
                <a:gd name="T40" fmla="*/ 27 w 312"/>
                <a:gd name="T41" fmla="*/ 6 h 205"/>
                <a:gd name="T42" fmla="*/ 27 w 312"/>
                <a:gd name="T43" fmla="*/ 156 h 205"/>
                <a:gd name="T44" fmla="*/ 34 w 312"/>
                <a:gd name="T45" fmla="*/ 163 h 205"/>
                <a:gd name="T46" fmla="*/ 50 w 312"/>
                <a:gd name="T47" fmla="*/ 22 h 205"/>
                <a:gd name="T48" fmla="*/ 262 w 312"/>
                <a:gd name="T49" fmla="*/ 22 h 205"/>
                <a:gd name="T50" fmla="*/ 262 w 312"/>
                <a:gd name="T51" fmla="*/ 140 h 205"/>
                <a:gd name="T52" fmla="*/ 50 w 312"/>
                <a:gd name="T53" fmla="*/ 140 h 205"/>
                <a:gd name="T54" fmla="*/ 50 w 312"/>
                <a:gd name="T55" fmla="*/ 2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2" h="205">
                  <a:moveTo>
                    <a:pt x="311" y="175"/>
                  </a:moveTo>
                  <a:cubicBezTo>
                    <a:pt x="311" y="174"/>
                    <a:pt x="311" y="174"/>
                    <a:pt x="310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1" y="174"/>
                    <a:pt x="1" y="174"/>
                    <a:pt x="0" y="175"/>
                  </a:cubicBezTo>
                  <a:cubicBezTo>
                    <a:pt x="0" y="175"/>
                    <a:pt x="0" y="175"/>
                    <a:pt x="0" y="176"/>
                  </a:cubicBezTo>
                  <a:cubicBezTo>
                    <a:pt x="0" y="176"/>
                    <a:pt x="5" y="205"/>
                    <a:pt x="41" y="205"/>
                  </a:cubicBezTo>
                  <a:cubicBezTo>
                    <a:pt x="271" y="205"/>
                    <a:pt x="271" y="205"/>
                    <a:pt x="271" y="205"/>
                  </a:cubicBezTo>
                  <a:cubicBezTo>
                    <a:pt x="307" y="205"/>
                    <a:pt x="312" y="176"/>
                    <a:pt x="312" y="176"/>
                  </a:cubicBezTo>
                  <a:cubicBezTo>
                    <a:pt x="312" y="175"/>
                    <a:pt x="312" y="175"/>
                    <a:pt x="311" y="175"/>
                  </a:cubicBezTo>
                  <a:close/>
                  <a:moveTo>
                    <a:pt x="179" y="195"/>
                  </a:moveTo>
                  <a:cubicBezTo>
                    <a:pt x="133" y="195"/>
                    <a:pt x="133" y="195"/>
                    <a:pt x="133" y="195"/>
                  </a:cubicBezTo>
                  <a:cubicBezTo>
                    <a:pt x="133" y="184"/>
                    <a:pt x="133" y="184"/>
                    <a:pt x="133" y="184"/>
                  </a:cubicBezTo>
                  <a:cubicBezTo>
                    <a:pt x="179" y="184"/>
                    <a:pt x="179" y="184"/>
                    <a:pt x="179" y="184"/>
                  </a:cubicBezTo>
                  <a:lnTo>
                    <a:pt x="179" y="195"/>
                  </a:lnTo>
                  <a:close/>
                  <a:moveTo>
                    <a:pt x="34" y="163"/>
                  </a:moveTo>
                  <a:cubicBezTo>
                    <a:pt x="278" y="163"/>
                    <a:pt x="278" y="163"/>
                    <a:pt x="278" y="163"/>
                  </a:cubicBezTo>
                  <a:cubicBezTo>
                    <a:pt x="282" y="163"/>
                    <a:pt x="284" y="160"/>
                    <a:pt x="284" y="156"/>
                  </a:cubicBezTo>
                  <a:cubicBezTo>
                    <a:pt x="284" y="6"/>
                    <a:pt x="284" y="6"/>
                    <a:pt x="284" y="6"/>
                  </a:cubicBezTo>
                  <a:cubicBezTo>
                    <a:pt x="284" y="3"/>
                    <a:pt x="282" y="0"/>
                    <a:pt x="27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0" y="0"/>
                    <a:pt x="27" y="3"/>
                    <a:pt x="27" y="6"/>
                  </a:cubicBezTo>
                  <a:cubicBezTo>
                    <a:pt x="27" y="156"/>
                    <a:pt x="27" y="156"/>
                    <a:pt x="27" y="156"/>
                  </a:cubicBezTo>
                  <a:cubicBezTo>
                    <a:pt x="27" y="160"/>
                    <a:pt x="30" y="163"/>
                    <a:pt x="34" y="163"/>
                  </a:cubicBezTo>
                  <a:close/>
                  <a:moveTo>
                    <a:pt x="50" y="22"/>
                  </a:moveTo>
                  <a:cubicBezTo>
                    <a:pt x="262" y="22"/>
                    <a:pt x="262" y="22"/>
                    <a:pt x="262" y="22"/>
                  </a:cubicBezTo>
                  <a:cubicBezTo>
                    <a:pt x="262" y="140"/>
                    <a:pt x="262" y="140"/>
                    <a:pt x="262" y="140"/>
                  </a:cubicBezTo>
                  <a:cubicBezTo>
                    <a:pt x="50" y="140"/>
                    <a:pt x="50" y="140"/>
                    <a:pt x="50" y="140"/>
                  </a:cubicBezTo>
                  <a:lnTo>
                    <a:pt x="50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46" name="Freeform 172"/>
            <p:cNvSpPr>
              <a:spLocks noEditPoints="1"/>
            </p:cNvSpPr>
            <p:nvPr/>
          </p:nvSpPr>
          <p:spPr bwMode="auto">
            <a:xfrm>
              <a:off x="2941320" y="4075430"/>
              <a:ext cx="88300" cy="166528"/>
            </a:xfrm>
            <a:custGeom>
              <a:avLst/>
              <a:gdLst>
                <a:gd name="T0" fmla="*/ 194 w 208"/>
                <a:gd name="T1" fmla="*/ 0 h 392"/>
                <a:gd name="T2" fmla="*/ 14 w 208"/>
                <a:gd name="T3" fmla="*/ 0 h 392"/>
                <a:gd name="T4" fmla="*/ 0 w 208"/>
                <a:gd name="T5" fmla="*/ 14 h 392"/>
                <a:gd name="T6" fmla="*/ 0 w 208"/>
                <a:gd name="T7" fmla="*/ 378 h 392"/>
                <a:gd name="T8" fmla="*/ 14 w 208"/>
                <a:gd name="T9" fmla="*/ 392 h 392"/>
                <a:gd name="T10" fmla="*/ 194 w 208"/>
                <a:gd name="T11" fmla="*/ 392 h 392"/>
                <a:gd name="T12" fmla="*/ 208 w 208"/>
                <a:gd name="T13" fmla="*/ 378 h 392"/>
                <a:gd name="T14" fmla="*/ 208 w 208"/>
                <a:gd name="T15" fmla="*/ 14 h 392"/>
                <a:gd name="T16" fmla="*/ 194 w 208"/>
                <a:gd name="T17" fmla="*/ 0 h 392"/>
                <a:gd name="T18" fmla="*/ 80 w 208"/>
                <a:gd name="T19" fmla="*/ 24 h 392"/>
                <a:gd name="T20" fmla="*/ 128 w 208"/>
                <a:gd name="T21" fmla="*/ 24 h 392"/>
                <a:gd name="T22" fmla="*/ 132 w 208"/>
                <a:gd name="T23" fmla="*/ 28 h 392"/>
                <a:gd name="T24" fmla="*/ 128 w 208"/>
                <a:gd name="T25" fmla="*/ 32 h 392"/>
                <a:gd name="T26" fmla="*/ 80 w 208"/>
                <a:gd name="T27" fmla="*/ 32 h 392"/>
                <a:gd name="T28" fmla="*/ 76 w 208"/>
                <a:gd name="T29" fmla="*/ 28 h 392"/>
                <a:gd name="T30" fmla="*/ 80 w 208"/>
                <a:gd name="T31" fmla="*/ 24 h 392"/>
                <a:gd name="T32" fmla="*/ 102 w 208"/>
                <a:gd name="T33" fmla="*/ 380 h 392"/>
                <a:gd name="T34" fmla="*/ 88 w 208"/>
                <a:gd name="T35" fmla="*/ 366 h 392"/>
                <a:gd name="T36" fmla="*/ 102 w 208"/>
                <a:gd name="T37" fmla="*/ 352 h 392"/>
                <a:gd name="T38" fmla="*/ 116 w 208"/>
                <a:gd name="T39" fmla="*/ 366 h 392"/>
                <a:gd name="T40" fmla="*/ 102 w 208"/>
                <a:gd name="T41" fmla="*/ 380 h 392"/>
                <a:gd name="T42" fmla="*/ 192 w 208"/>
                <a:gd name="T43" fmla="*/ 342 h 392"/>
                <a:gd name="T44" fmla="*/ 16 w 208"/>
                <a:gd name="T45" fmla="*/ 342 h 392"/>
                <a:gd name="T46" fmla="*/ 16 w 208"/>
                <a:gd name="T47" fmla="*/ 50 h 392"/>
                <a:gd name="T48" fmla="*/ 192 w 208"/>
                <a:gd name="T49" fmla="*/ 50 h 392"/>
                <a:gd name="T50" fmla="*/ 192 w 208"/>
                <a:gd name="T51" fmla="*/ 342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8" h="392">
                  <a:moveTo>
                    <a:pt x="19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378"/>
                    <a:pt x="0" y="378"/>
                    <a:pt x="0" y="378"/>
                  </a:cubicBezTo>
                  <a:cubicBezTo>
                    <a:pt x="0" y="386"/>
                    <a:pt x="6" y="392"/>
                    <a:pt x="14" y="392"/>
                  </a:cubicBezTo>
                  <a:cubicBezTo>
                    <a:pt x="194" y="392"/>
                    <a:pt x="194" y="392"/>
                    <a:pt x="194" y="392"/>
                  </a:cubicBezTo>
                  <a:cubicBezTo>
                    <a:pt x="202" y="392"/>
                    <a:pt x="208" y="386"/>
                    <a:pt x="208" y="378"/>
                  </a:cubicBezTo>
                  <a:cubicBezTo>
                    <a:pt x="208" y="14"/>
                    <a:pt x="208" y="14"/>
                    <a:pt x="208" y="14"/>
                  </a:cubicBezTo>
                  <a:cubicBezTo>
                    <a:pt x="208" y="6"/>
                    <a:pt x="202" y="0"/>
                    <a:pt x="194" y="0"/>
                  </a:cubicBezTo>
                  <a:close/>
                  <a:moveTo>
                    <a:pt x="80" y="24"/>
                  </a:moveTo>
                  <a:cubicBezTo>
                    <a:pt x="128" y="24"/>
                    <a:pt x="128" y="24"/>
                    <a:pt x="128" y="24"/>
                  </a:cubicBezTo>
                  <a:cubicBezTo>
                    <a:pt x="130" y="24"/>
                    <a:pt x="132" y="26"/>
                    <a:pt x="132" y="28"/>
                  </a:cubicBezTo>
                  <a:cubicBezTo>
                    <a:pt x="132" y="30"/>
                    <a:pt x="130" y="32"/>
                    <a:pt x="128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78" y="32"/>
                    <a:pt x="76" y="30"/>
                    <a:pt x="76" y="28"/>
                  </a:cubicBezTo>
                  <a:cubicBezTo>
                    <a:pt x="76" y="26"/>
                    <a:pt x="78" y="24"/>
                    <a:pt x="80" y="24"/>
                  </a:cubicBezTo>
                  <a:close/>
                  <a:moveTo>
                    <a:pt x="102" y="380"/>
                  </a:moveTo>
                  <a:cubicBezTo>
                    <a:pt x="94" y="380"/>
                    <a:pt x="88" y="374"/>
                    <a:pt x="88" y="366"/>
                  </a:cubicBezTo>
                  <a:cubicBezTo>
                    <a:pt x="88" y="358"/>
                    <a:pt x="94" y="352"/>
                    <a:pt x="102" y="352"/>
                  </a:cubicBezTo>
                  <a:cubicBezTo>
                    <a:pt x="110" y="352"/>
                    <a:pt x="116" y="358"/>
                    <a:pt x="116" y="366"/>
                  </a:cubicBezTo>
                  <a:cubicBezTo>
                    <a:pt x="116" y="374"/>
                    <a:pt x="110" y="380"/>
                    <a:pt x="102" y="380"/>
                  </a:cubicBezTo>
                  <a:close/>
                  <a:moveTo>
                    <a:pt x="192" y="342"/>
                  </a:moveTo>
                  <a:cubicBezTo>
                    <a:pt x="16" y="342"/>
                    <a:pt x="16" y="342"/>
                    <a:pt x="16" y="342"/>
                  </a:cubicBezTo>
                  <a:cubicBezTo>
                    <a:pt x="16" y="50"/>
                    <a:pt x="16" y="50"/>
                    <a:pt x="16" y="50"/>
                  </a:cubicBezTo>
                  <a:cubicBezTo>
                    <a:pt x="192" y="50"/>
                    <a:pt x="192" y="50"/>
                    <a:pt x="192" y="50"/>
                  </a:cubicBezTo>
                  <a:lnTo>
                    <a:pt x="192" y="34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47" name="Freeform 192"/>
            <p:cNvSpPr>
              <a:spLocks noEditPoints="1"/>
            </p:cNvSpPr>
            <p:nvPr/>
          </p:nvSpPr>
          <p:spPr bwMode="auto">
            <a:xfrm>
              <a:off x="3657600" y="3562350"/>
              <a:ext cx="152082" cy="181902"/>
            </a:xfrm>
            <a:custGeom>
              <a:avLst/>
              <a:gdLst>
                <a:gd name="T0" fmla="*/ 0 w 108"/>
                <a:gd name="T1" fmla="*/ 99 h 129"/>
                <a:gd name="T2" fmla="*/ 29 w 108"/>
                <a:gd name="T3" fmla="*/ 129 h 129"/>
                <a:gd name="T4" fmla="*/ 58 w 108"/>
                <a:gd name="T5" fmla="*/ 99 h 129"/>
                <a:gd name="T6" fmla="*/ 58 w 108"/>
                <a:gd name="T7" fmla="*/ 75 h 129"/>
                <a:gd name="T8" fmla="*/ 0 w 108"/>
                <a:gd name="T9" fmla="*/ 75 h 129"/>
                <a:gd name="T10" fmla="*/ 0 w 108"/>
                <a:gd name="T11" fmla="*/ 99 h 129"/>
                <a:gd name="T12" fmla="*/ 26 w 108"/>
                <a:gd name="T13" fmla="*/ 33 h 129"/>
                <a:gd name="T14" fmla="*/ 0 w 108"/>
                <a:gd name="T15" fmla="*/ 61 h 129"/>
                <a:gd name="T16" fmla="*/ 0 w 108"/>
                <a:gd name="T17" fmla="*/ 71 h 129"/>
                <a:gd name="T18" fmla="*/ 26 w 108"/>
                <a:gd name="T19" fmla="*/ 71 h 129"/>
                <a:gd name="T20" fmla="*/ 26 w 108"/>
                <a:gd name="T21" fmla="*/ 33 h 129"/>
                <a:gd name="T22" fmla="*/ 31 w 108"/>
                <a:gd name="T23" fmla="*/ 33 h 129"/>
                <a:gd name="T24" fmla="*/ 31 w 108"/>
                <a:gd name="T25" fmla="*/ 71 h 129"/>
                <a:gd name="T26" fmla="*/ 58 w 108"/>
                <a:gd name="T27" fmla="*/ 71 h 129"/>
                <a:gd name="T28" fmla="*/ 58 w 108"/>
                <a:gd name="T29" fmla="*/ 61 h 129"/>
                <a:gd name="T30" fmla="*/ 31 w 108"/>
                <a:gd name="T31" fmla="*/ 33 h 129"/>
                <a:gd name="T32" fmla="*/ 101 w 108"/>
                <a:gd name="T33" fmla="*/ 22 h 129"/>
                <a:gd name="T34" fmla="*/ 101 w 108"/>
                <a:gd name="T35" fmla="*/ 41 h 129"/>
                <a:gd name="T36" fmla="*/ 92 w 108"/>
                <a:gd name="T37" fmla="*/ 51 h 129"/>
                <a:gd name="T38" fmla="*/ 83 w 108"/>
                <a:gd name="T39" fmla="*/ 41 h 129"/>
                <a:gd name="T40" fmla="*/ 83 w 108"/>
                <a:gd name="T41" fmla="*/ 28 h 129"/>
                <a:gd name="T42" fmla="*/ 54 w 108"/>
                <a:gd name="T43" fmla="*/ 0 h 129"/>
                <a:gd name="T44" fmla="*/ 25 w 108"/>
                <a:gd name="T45" fmla="*/ 28 h 129"/>
                <a:gd name="T46" fmla="*/ 32 w 108"/>
                <a:gd name="T47" fmla="*/ 28 h 129"/>
                <a:gd name="T48" fmla="*/ 54 w 108"/>
                <a:gd name="T49" fmla="*/ 7 h 129"/>
                <a:gd name="T50" fmla="*/ 76 w 108"/>
                <a:gd name="T51" fmla="*/ 28 h 129"/>
                <a:gd name="T52" fmla="*/ 76 w 108"/>
                <a:gd name="T53" fmla="*/ 41 h 129"/>
                <a:gd name="T54" fmla="*/ 92 w 108"/>
                <a:gd name="T55" fmla="*/ 58 h 129"/>
                <a:gd name="T56" fmla="*/ 108 w 108"/>
                <a:gd name="T57" fmla="*/ 41 h 129"/>
                <a:gd name="T58" fmla="*/ 108 w 108"/>
                <a:gd name="T59" fmla="*/ 22 h 129"/>
                <a:gd name="T60" fmla="*/ 101 w 108"/>
                <a:gd name="T61" fmla="*/ 22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8" h="129">
                  <a:moveTo>
                    <a:pt x="0" y="99"/>
                  </a:moveTo>
                  <a:cubicBezTo>
                    <a:pt x="0" y="116"/>
                    <a:pt x="13" y="129"/>
                    <a:pt x="29" y="129"/>
                  </a:cubicBezTo>
                  <a:cubicBezTo>
                    <a:pt x="45" y="129"/>
                    <a:pt x="58" y="116"/>
                    <a:pt x="58" y="99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0" y="75"/>
                    <a:pt x="0" y="75"/>
                    <a:pt x="0" y="75"/>
                  </a:cubicBezTo>
                  <a:lnTo>
                    <a:pt x="0" y="99"/>
                  </a:lnTo>
                  <a:close/>
                  <a:moveTo>
                    <a:pt x="26" y="33"/>
                  </a:moveTo>
                  <a:cubicBezTo>
                    <a:pt x="11" y="34"/>
                    <a:pt x="0" y="46"/>
                    <a:pt x="0" y="61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26" y="71"/>
                    <a:pt x="26" y="71"/>
                    <a:pt x="26" y="71"/>
                  </a:cubicBezTo>
                  <a:lnTo>
                    <a:pt x="26" y="33"/>
                  </a:lnTo>
                  <a:close/>
                  <a:moveTo>
                    <a:pt x="31" y="33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58" y="71"/>
                    <a:pt x="58" y="71"/>
                    <a:pt x="58" y="71"/>
                  </a:cubicBezTo>
                  <a:cubicBezTo>
                    <a:pt x="58" y="61"/>
                    <a:pt x="58" y="61"/>
                    <a:pt x="58" y="61"/>
                  </a:cubicBezTo>
                  <a:cubicBezTo>
                    <a:pt x="58" y="46"/>
                    <a:pt x="46" y="34"/>
                    <a:pt x="31" y="33"/>
                  </a:cubicBezTo>
                  <a:close/>
                  <a:moveTo>
                    <a:pt x="101" y="22"/>
                  </a:moveTo>
                  <a:cubicBezTo>
                    <a:pt x="101" y="41"/>
                    <a:pt x="101" y="41"/>
                    <a:pt x="101" y="41"/>
                  </a:cubicBezTo>
                  <a:cubicBezTo>
                    <a:pt x="101" y="47"/>
                    <a:pt x="97" y="51"/>
                    <a:pt x="92" y="51"/>
                  </a:cubicBezTo>
                  <a:cubicBezTo>
                    <a:pt x="87" y="51"/>
                    <a:pt x="83" y="47"/>
                    <a:pt x="83" y="41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3" y="12"/>
                    <a:pt x="70" y="0"/>
                    <a:pt x="54" y="0"/>
                  </a:cubicBezTo>
                  <a:cubicBezTo>
                    <a:pt x="38" y="0"/>
                    <a:pt x="25" y="12"/>
                    <a:pt x="25" y="28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32" y="16"/>
                    <a:pt x="42" y="7"/>
                    <a:pt x="54" y="7"/>
                  </a:cubicBezTo>
                  <a:cubicBezTo>
                    <a:pt x="66" y="7"/>
                    <a:pt x="76" y="16"/>
                    <a:pt x="76" y="28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6" y="51"/>
                    <a:pt x="83" y="58"/>
                    <a:pt x="92" y="58"/>
                  </a:cubicBezTo>
                  <a:cubicBezTo>
                    <a:pt x="101" y="58"/>
                    <a:pt x="108" y="51"/>
                    <a:pt x="108" y="41"/>
                  </a:cubicBezTo>
                  <a:cubicBezTo>
                    <a:pt x="108" y="22"/>
                    <a:pt x="108" y="22"/>
                    <a:pt x="108" y="22"/>
                  </a:cubicBezTo>
                  <a:lnTo>
                    <a:pt x="101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48" name="Freeform 198"/>
            <p:cNvSpPr>
              <a:spLocks noEditPoints="1"/>
            </p:cNvSpPr>
            <p:nvPr/>
          </p:nvSpPr>
          <p:spPr bwMode="auto">
            <a:xfrm>
              <a:off x="3987800" y="4166870"/>
              <a:ext cx="163962" cy="177166"/>
            </a:xfrm>
            <a:custGeom>
              <a:avLst/>
              <a:gdLst>
                <a:gd name="T0" fmla="*/ 107 w 126"/>
                <a:gd name="T1" fmla="*/ 55 h 136"/>
                <a:gd name="T2" fmla="*/ 99 w 126"/>
                <a:gd name="T3" fmla="*/ 47 h 136"/>
                <a:gd name="T4" fmla="*/ 95 w 126"/>
                <a:gd name="T5" fmla="*/ 0 h 136"/>
                <a:gd name="T6" fmla="*/ 24 w 126"/>
                <a:gd name="T7" fmla="*/ 4 h 136"/>
                <a:gd name="T8" fmla="*/ 16 w 126"/>
                <a:gd name="T9" fmla="*/ 47 h 136"/>
                <a:gd name="T10" fmla="*/ 32 w 126"/>
                <a:gd name="T11" fmla="*/ 8 h 136"/>
                <a:gd name="T12" fmla="*/ 91 w 126"/>
                <a:gd name="T13" fmla="*/ 47 h 136"/>
                <a:gd name="T14" fmla="*/ 32 w 126"/>
                <a:gd name="T15" fmla="*/ 8 h 136"/>
                <a:gd name="T16" fmla="*/ 16 w 126"/>
                <a:gd name="T17" fmla="*/ 84 h 136"/>
                <a:gd name="T18" fmla="*/ 24 w 126"/>
                <a:gd name="T19" fmla="*/ 92 h 136"/>
                <a:gd name="T20" fmla="*/ 28 w 126"/>
                <a:gd name="T21" fmla="*/ 136 h 136"/>
                <a:gd name="T22" fmla="*/ 99 w 126"/>
                <a:gd name="T23" fmla="*/ 132 h 136"/>
                <a:gd name="T24" fmla="*/ 107 w 126"/>
                <a:gd name="T25" fmla="*/ 92 h 136"/>
                <a:gd name="T26" fmla="*/ 91 w 126"/>
                <a:gd name="T27" fmla="*/ 128 h 136"/>
                <a:gd name="T28" fmla="*/ 32 w 126"/>
                <a:gd name="T29" fmla="*/ 92 h 136"/>
                <a:gd name="T30" fmla="*/ 91 w 126"/>
                <a:gd name="T31" fmla="*/ 128 h 136"/>
                <a:gd name="T32" fmla="*/ 35 w 126"/>
                <a:gd name="T33" fmla="*/ 104 h 136"/>
                <a:gd name="T34" fmla="*/ 87 w 126"/>
                <a:gd name="T35" fmla="*/ 108 h 136"/>
                <a:gd name="T36" fmla="*/ 87 w 126"/>
                <a:gd name="T37" fmla="*/ 96 h 136"/>
                <a:gd name="T38" fmla="*/ 35 w 126"/>
                <a:gd name="T39" fmla="*/ 100 h 136"/>
                <a:gd name="T40" fmla="*/ 87 w 126"/>
                <a:gd name="T41" fmla="*/ 96 h 136"/>
                <a:gd name="T42" fmla="*/ 35 w 126"/>
                <a:gd name="T43" fmla="*/ 112 h 136"/>
                <a:gd name="T44" fmla="*/ 87 w 126"/>
                <a:gd name="T45" fmla="*/ 116 h 136"/>
                <a:gd name="T46" fmla="*/ 75 w 126"/>
                <a:gd name="T47" fmla="*/ 124 h 136"/>
                <a:gd name="T48" fmla="*/ 87 w 126"/>
                <a:gd name="T49" fmla="*/ 120 h 136"/>
                <a:gd name="T50" fmla="*/ 75 w 126"/>
                <a:gd name="T51" fmla="*/ 124 h 136"/>
                <a:gd name="T52" fmla="*/ 20 w 126"/>
                <a:gd name="T53" fmla="*/ 69 h 136"/>
                <a:gd name="T54" fmla="*/ 20 w 126"/>
                <a:gd name="T55" fmla="*/ 59 h 136"/>
                <a:gd name="T56" fmla="*/ 21 w 126"/>
                <a:gd name="T57" fmla="*/ 64 h 136"/>
                <a:gd name="T58" fmla="*/ 19 w 126"/>
                <a:gd name="T59" fmla="*/ 64 h 136"/>
                <a:gd name="T60" fmla="*/ 21 w 126"/>
                <a:gd name="T61" fmla="*/ 64 h 136"/>
                <a:gd name="T62" fmla="*/ 32 w 126"/>
                <a:gd name="T63" fmla="*/ 69 h 136"/>
                <a:gd name="T64" fmla="*/ 32 w 126"/>
                <a:gd name="T65" fmla="*/ 59 h 136"/>
                <a:gd name="T66" fmla="*/ 33 w 126"/>
                <a:gd name="T67" fmla="*/ 64 h 136"/>
                <a:gd name="T68" fmla="*/ 31 w 126"/>
                <a:gd name="T69" fmla="*/ 64 h 136"/>
                <a:gd name="T70" fmla="*/ 33 w 126"/>
                <a:gd name="T71" fmla="*/ 64 h 136"/>
                <a:gd name="T72" fmla="*/ 43 w 126"/>
                <a:gd name="T73" fmla="*/ 69 h 136"/>
                <a:gd name="T74" fmla="*/ 43 w 126"/>
                <a:gd name="T75" fmla="*/ 59 h 136"/>
                <a:gd name="T76" fmla="*/ 44 w 126"/>
                <a:gd name="T77" fmla="*/ 64 h 136"/>
                <a:gd name="T78" fmla="*/ 42 w 126"/>
                <a:gd name="T79" fmla="*/ 64 h 136"/>
                <a:gd name="T80" fmla="*/ 44 w 126"/>
                <a:gd name="T81" fmla="*/ 64 h 136"/>
                <a:gd name="T82" fmla="*/ 103 w 126"/>
                <a:gd name="T83" fmla="*/ 23 h 136"/>
                <a:gd name="T84" fmla="*/ 118 w 126"/>
                <a:gd name="T85" fmla="*/ 31 h 136"/>
                <a:gd name="T86" fmla="*/ 103 w 126"/>
                <a:gd name="T87" fmla="*/ 97 h 136"/>
                <a:gd name="T88" fmla="*/ 122 w 126"/>
                <a:gd name="T89" fmla="*/ 105 h 136"/>
                <a:gd name="T90" fmla="*/ 126 w 126"/>
                <a:gd name="T91" fmla="*/ 27 h 136"/>
                <a:gd name="T92" fmla="*/ 8 w 126"/>
                <a:gd name="T93" fmla="*/ 31 h 136"/>
                <a:gd name="T94" fmla="*/ 20 w 126"/>
                <a:gd name="T95" fmla="*/ 23 h 136"/>
                <a:gd name="T96" fmla="*/ 0 w 126"/>
                <a:gd name="T97" fmla="*/ 27 h 136"/>
                <a:gd name="T98" fmla="*/ 4 w 126"/>
                <a:gd name="T99" fmla="*/ 105 h 136"/>
                <a:gd name="T100" fmla="*/ 20 w 126"/>
                <a:gd name="T101" fmla="*/ 97 h 136"/>
                <a:gd name="T102" fmla="*/ 8 w 126"/>
                <a:gd name="T103" fmla="*/ 31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6" h="136">
                  <a:moveTo>
                    <a:pt x="16" y="55"/>
                  </a:moveTo>
                  <a:cubicBezTo>
                    <a:pt x="107" y="55"/>
                    <a:pt x="107" y="55"/>
                    <a:pt x="107" y="55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9" y="2"/>
                    <a:pt x="97" y="0"/>
                    <a:pt x="95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6" y="0"/>
                    <a:pt x="24" y="2"/>
                    <a:pt x="24" y="4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16" y="47"/>
                    <a:pt x="16" y="47"/>
                    <a:pt x="16" y="47"/>
                  </a:cubicBezTo>
                  <a:lnTo>
                    <a:pt x="16" y="55"/>
                  </a:lnTo>
                  <a:close/>
                  <a:moveTo>
                    <a:pt x="32" y="8"/>
                  </a:moveTo>
                  <a:cubicBezTo>
                    <a:pt x="91" y="8"/>
                    <a:pt x="91" y="8"/>
                    <a:pt x="91" y="8"/>
                  </a:cubicBezTo>
                  <a:cubicBezTo>
                    <a:pt x="91" y="47"/>
                    <a:pt x="91" y="47"/>
                    <a:pt x="91" y="47"/>
                  </a:cubicBezTo>
                  <a:cubicBezTo>
                    <a:pt x="32" y="47"/>
                    <a:pt x="32" y="47"/>
                    <a:pt x="32" y="47"/>
                  </a:cubicBezTo>
                  <a:lnTo>
                    <a:pt x="32" y="8"/>
                  </a:lnTo>
                  <a:close/>
                  <a:moveTo>
                    <a:pt x="107" y="84"/>
                  </a:moveTo>
                  <a:cubicBezTo>
                    <a:pt x="16" y="84"/>
                    <a:pt x="16" y="84"/>
                    <a:pt x="16" y="84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24" y="92"/>
                    <a:pt x="24" y="92"/>
                    <a:pt x="24" y="92"/>
                  </a:cubicBezTo>
                  <a:cubicBezTo>
                    <a:pt x="24" y="132"/>
                    <a:pt x="24" y="132"/>
                    <a:pt x="24" y="132"/>
                  </a:cubicBezTo>
                  <a:cubicBezTo>
                    <a:pt x="24" y="134"/>
                    <a:pt x="26" y="136"/>
                    <a:pt x="28" y="136"/>
                  </a:cubicBezTo>
                  <a:cubicBezTo>
                    <a:pt x="95" y="136"/>
                    <a:pt x="95" y="136"/>
                    <a:pt x="95" y="136"/>
                  </a:cubicBezTo>
                  <a:cubicBezTo>
                    <a:pt x="97" y="136"/>
                    <a:pt x="99" y="134"/>
                    <a:pt x="99" y="132"/>
                  </a:cubicBezTo>
                  <a:cubicBezTo>
                    <a:pt x="99" y="92"/>
                    <a:pt x="99" y="92"/>
                    <a:pt x="99" y="92"/>
                  </a:cubicBezTo>
                  <a:cubicBezTo>
                    <a:pt x="107" y="92"/>
                    <a:pt x="107" y="92"/>
                    <a:pt x="107" y="92"/>
                  </a:cubicBezTo>
                  <a:lnTo>
                    <a:pt x="107" y="84"/>
                  </a:lnTo>
                  <a:close/>
                  <a:moveTo>
                    <a:pt x="91" y="128"/>
                  </a:moveTo>
                  <a:cubicBezTo>
                    <a:pt x="32" y="128"/>
                    <a:pt x="32" y="128"/>
                    <a:pt x="32" y="128"/>
                  </a:cubicBezTo>
                  <a:cubicBezTo>
                    <a:pt x="32" y="92"/>
                    <a:pt x="32" y="92"/>
                    <a:pt x="32" y="92"/>
                  </a:cubicBezTo>
                  <a:cubicBezTo>
                    <a:pt x="91" y="92"/>
                    <a:pt x="91" y="92"/>
                    <a:pt x="91" y="92"/>
                  </a:cubicBezTo>
                  <a:lnTo>
                    <a:pt x="91" y="128"/>
                  </a:lnTo>
                  <a:close/>
                  <a:moveTo>
                    <a:pt x="87" y="104"/>
                  </a:moveTo>
                  <a:cubicBezTo>
                    <a:pt x="35" y="104"/>
                    <a:pt x="35" y="104"/>
                    <a:pt x="35" y="104"/>
                  </a:cubicBezTo>
                  <a:cubicBezTo>
                    <a:pt x="35" y="108"/>
                    <a:pt x="35" y="108"/>
                    <a:pt x="35" y="108"/>
                  </a:cubicBezTo>
                  <a:cubicBezTo>
                    <a:pt x="87" y="108"/>
                    <a:pt x="87" y="108"/>
                    <a:pt x="87" y="108"/>
                  </a:cubicBezTo>
                  <a:lnTo>
                    <a:pt x="87" y="104"/>
                  </a:lnTo>
                  <a:close/>
                  <a:moveTo>
                    <a:pt x="87" y="96"/>
                  </a:moveTo>
                  <a:cubicBezTo>
                    <a:pt x="35" y="96"/>
                    <a:pt x="35" y="96"/>
                    <a:pt x="35" y="96"/>
                  </a:cubicBezTo>
                  <a:cubicBezTo>
                    <a:pt x="35" y="100"/>
                    <a:pt x="35" y="100"/>
                    <a:pt x="35" y="100"/>
                  </a:cubicBezTo>
                  <a:cubicBezTo>
                    <a:pt x="87" y="100"/>
                    <a:pt x="87" y="100"/>
                    <a:pt x="87" y="100"/>
                  </a:cubicBezTo>
                  <a:lnTo>
                    <a:pt x="87" y="96"/>
                  </a:lnTo>
                  <a:close/>
                  <a:moveTo>
                    <a:pt x="87" y="112"/>
                  </a:moveTo>
                  <a:cubicBezTo>
                    <a:pt x="35" y="112"/>
                    <a:pt x="35" y="112"/>
                    <a:pt x="35" y="112"/>
                  </a:cubicBezTo>
                  <a:cubicBezTo>
                    <a:pt x="35" y="116"/>
                    <a:pt x="35" y="116"/>
                    <a:pt x="35" y="116"/>
                  </a:cubicBezTo>
                  <a:cubicBezTo>
                    <a:pt x="87" y="116"/>
                    <a:pt x="87" y="116"/>
                    <a:pt x="87" y="116"/>
                  </a:cubicBezTo>
                  <a:lnTo>
                    <a:pt x="87" y="112"/>
                  </a:lnTo>
                  <a:close/>
                  <a:moveTo>
                    <a:pt x="75" y="124"/>
                  </a:moveTo>
                  <a:cubicBezTo>
                    <a:pt x="87" y="124"/>
                    <a:pt x="87" y="124"/>
                    <a:pt x="87" y="124"/>
                  </a:cubicBezTo>
                  <a:cubicBezTo>
                    <a:pt x="87" y="120"/>
                    <a:pt x="87" y="120"/>
                    <a:pt x="87" y="120"/>
                  </a:cubicBezTo>
                  <a:cubicBezTo>
                    <a:pt x="75" y="120"/>
                    <a:pt x="75" y="120"/>
                    <a:pt x="75" y="120"/>
                  </a:cubicBezTo>
                  <a:lnTo>
                    <a:pt x="75" y="124"/>
                  </a:lnTo>
                  <a:close/>
                  <a:moveTo>
                    <a:pt x="15" y="64"/>
                  </a:moveTo>
                  <a:cubicBezTo>
                    <a:pt x="15" y="67"/>
                    <a:pt x="17" y="69"/>
                    <a:pt x="20" y="69"/>
                  </a:cubicBezTo>
                  <a:cubicBezTo>
                    <a:pt x="23" y="69"/>
                    <a:pt x="25" y="67"/>
                    <a:pt x="25" y="64"/>
                  </a:cubicBezTo>
                  <a:cubicBezTo>
                    <a:pt x="25" y="61"/>
                    <a:pt x="23" y="59"/>
                    <a:pt x="20" y="59"/>
                  </a:cubicBezTo>
                  <a:cubicBezTo>
                    <a:pt x="17" y="59"/>
                    <a:pt x="15" y="61"/>
                    <a:pt x="15" y="64"/>
                  </a:cubicBezTo>
                  <a:close/>
                  <a:moveTo>
                    <a:pt x="21" y="64"/>
                  </a:moveTo>
                  <a:cubicBezTo>
                    <a:pt x="21" y="65"/>
                    <a:pt x="20" y="65"/>
                    <a:pt x="20" y="65"/>
                  </a:cubicBezTo>
                  <a:cubicBezTo>
                    <a:pt x="19" y="65"/>
                    <a:pt x="19" y="65"/>
                    <a:pt x="19" y="64"/>
                  </a:cubicBezTo>
                  <a:cubicBezTo>
                    <a:pt x="19" y="64"/>
                    <a:pt x="19" y="63"/>
                    <a:pt x="20" y="63"/>
                  </a:cubicBezTo>
                  <a:cubicBezTo>
                    <a:pt x="20" y="63"/>
                    <a:pt x="21" y="64"/>
                    <a:pt x="21" y="64"/>
                  </a:cubicBezTo>
                  <a:close/>
                  <a:moveTo>
                    <a:pt x="27" y="64"/>
                  </a:moveTo>
                  <a:cubicBezTo>
                    <a:pt x="27" y="67"/>
                    <a:pt x="29" y="69"/>
                    <a:pt x="32" y="69"/>
                  </a:cubicBezTo>
                  <a:cubicBezTo>
                    <a:pt x="34" y="69"/>
                    <a:pt x="37" y="67"/>
                    <a:pt x="37" y="64"/>
                  </a:cubicBezTo>
                  <a:cubicBezTo>
                    <a:pt x="37" y="61"/>
                    <a:pt x="34" y="59"/>
                    <a:pt x="32" y="59"/>
                  </a:cubicBezTo>
                  <a:cubicBezTo>
                    <a:pt x="29" y="59"/>
                    <a:pt x="27" y="61"/>
                    <a:pt x="27" y="64"/>
                  </a:cubicBezTo>
                  <a:close/>
                  <a:moveTo>
                    <a:pt x="33" y="64"/>
                  </a:moveTo>
                  <a:cubicBezTo>
                    <a:pt x="33" y="65"/>
                    <a:pt x="32" y="65"/>
                    <a:pt x="32" y="65"/>
                  </a:cubicBezTo>
                  <a:cubicBezTo>
                    <a:pt x="31" y="65"/>
                    <a:pt x="31" y="65"/>
                    <a:pt x="31" y="64"/>
                  </a:cubicBezTo>
                  <a:cubicBezTo>
                    <a:pt x="31" y="64"/>
                    <a:pt x="31" y="63"/>
                    <a:pt x="32" y="63"/>
                  </a:cubicBezTo>
                  <a:cubicBezTo>
                    <a:pt x="32" y="63"/>
                    <a:pt x="33" y="64"/>
                    <a:pt x="33" y="64"/>
                  </a:cubicBezTo>
                  <a:close/>
                  <a:moveTo>
                    <a:pt x="38" y="64"/>
                  </a:moveTo>
                  <a:cubicBezTo>
                    <a:pt x="38" y="67"/>
                    <a:pt x="41" y="69"/>
                    <a:pt x="43" y="69"/>
                  </a:cubicBezTo>
                  <a:cubicBezTo>
                    <a:pt x="46" y="69"/>
                    <a:pt x="48" y="67"/>
                    <a:pt x="48" y="64"/>
                  </a:cubicBezTo>
                  <a:cubicBezTo>
                    <a:pt x="48" y="61"/>
                    <a:pt x="46" y="59"/>
                    <a:pt x="43" y="59"/>
                  </a:cubicBezTo>
                  <a:cubicBezTo>
                    <a:pt x="41" y="59"/>
                    <a:pt x="38" y="61"/>
                    <a:pt x="38" y="64"/>
                  </a:cubicBezTo>
                  <a:close/>
                  <a:moveTo>
                    <a:pt x="44" y="64"/>
                  </a:moveTo>
                  <a:cubicBezTo>
                    <a:pt x="44" y="65"/>
                    <a:pt x="44" y="65"/>
                    <a:pt x="43" y="65"/>
                  </a:cubicBezTo>
                  <a:cubicBezTo>
                    <a:pt x="43" y="65"/>
                    <a:pt x="42" y="65"/>
                    <a:pt x="42" y="64"/>
                  </a:cubicBezTo>
                  <a:cubicBezTo>
                    <a:pt x="42" y="64"/>
                    <a:pt x="43" y="63"/>
                    <a:pt x="43" y="63"/>
                  </a:cubicBezTo>
                  <a:cubicBezTo>
                    <a:pt x="44" y="63"/>
                    <a:pt x="44" y="64"/>
                    <a:pt x="44" y="64"/>
                  </a:cubicBezTo>
                  <a:close/>
                  <a:moveTo>
                    <a:pt x="122" y="23"/>
                  </a:moveTo>
                  <a:cubicBezTo>
                    <a:pt x="103" y="23"/>
                    <a:pt x="103" y="23"/>
                    <a:pt x="103" y="23"/>
                  </a:cubicBezTo>
                  <a:cubicBezTo>
                    <a:pt x="103" y="31"/>
                    <a:pt x="103" y="31"/>
                    <a:pt x="103" y="31"/>
                  </a:cubicBezTo>
                  <a:cubicBezTo>
                    <a:pt x="118" y="31"/>
                    <a:pt x="118" y="31"/>
                    <a:pt x="118" y="31"/>
                  </a:cubicBezTo>
                  <a:cubicBezTo>
                    <a:pt x="118" y="97"/>
                    <a:pt x="118" y="97"/>
                    <a:pt x="118" y="97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3" y="105"/>
                    <a:pt x="103" y="105"/>
                    <a:pt x="103" y="105"/>
                  </a:cubicBezTo>
                  <a:cubicBezTo>
                    <a:pt x="122" y="105"/>
                    <a:pt x="122" y="105"/>
                    <a:pt x="122" y="105"/>
                  </a:cubicBezTo>
                  <a:cubicBezTo>
                    <a:pt x="124" y="105"/>
                    <a:pt x="126" y="104"/>
                    <a:pt x="126" y="101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5"/>
                    <a:pt x="124" y="23"/>
                    <a:pt x="122" y="23"/>
                  </a:cubicBezTo>
                  <a:close/>
                  <a:moveTo>
                    <a:pt x="8" y="31"/>
                  </a:moveTo>
                  <a:cubicBezTo>
                    <a:pt x="20" y="31"/>
                    <a:pt x="20" y="31"/>
                    <a:pt x="20" y="31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4" y="23"/>
                    <a:pt x="4" y="23"/>
                    <a:pt x="4" y="23"/>
                  </a:cubicBezTo>
                  <a:cubicBezTo>
                    <a:pt x="2" y="23"/>
                    <a:pt x="0" y="25"/>
                    <a:pt x="0" y="27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04"/>
                    <a:pt x="2" y="105"/>
                    <a:pt x="4" y="105"/>
                  </a:cubicBezTo>
                  <a:cubicBezTo>
                    <a:pt x="20" y="105"/>
                    <a:pt x="20" y="105"/>
                    <a:pt x="20" y="105"/>
                  </a:cubicBezTo>
                  <a:cubicBezTo>
                    <a:pt x="20" y="97"/>
                    <a:pt x="20" y="97"/>
                    <a:pt x="20" y="97"/>
                  </a:cubicBezTo>
                  <a:cubicBezTo>
                    <a:pt x="8" y="97"/>
                    <a:pt x="8" y="97"/>
                    <a:pt x="8" y="97"/>
                  </a:cubicBezTo>
                  <a:lnTo>
                    <a:pt x="8" y="3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49" name="Freeform 208"/>
            <p:cNvSpPr>
              <a:spLocks noEditPoints="1"/>
            </p:cNvSpPr>
            <p:nvPr/>
          </p:nvSpPr>
          <p:spPr bwMode="auto">
            <a:xfrm>
              <a:off x="2555558" y="4260072"/>
              <a:ext cx="183197" cy="177308"/>
            </a:xfrm>
            <a:custGeom>
              <a:avLst/>
              <a:gdLst>
                <a:gd name="T0" fmla="*/ 3 w 119"/>
                <a:gd name="T1" fmla="*/ 109 h 115"/>
                <a:gd name="T2" fmla="*/ 2 w 119"/>
                <a:gd name="T3" fmla="*/ 110 h 115"/>
                <a:gd name="T4" fmla="*/ 2 w 119"/>
                <a:gd name="T5" fmla="*/ 114 h 115"/>
                <a:gd name="T6" fmla="*/ 6 w 119"/>
                <a:gd name="T7" fmla="*/ 113 h 115"/>
                <a:gd name="T8" fmla="*/ 6 w 119"/>
                <a:gd name="T9" fmla="*/ 113 h 115"/>
                <a:gd name="T10" fmla="*/ 4 w 119"/>
                <a:gd name="T11" fmla="*/ 112 h 115"/>
                <a:gd name="T12" fmla="*/ 3 w 119"/>
                <a:gd name="T13" fmla="*/ 109 h 115"/>
                <a:gd name="T14" fmla="*/ 3 w 119"/>
                <a:gd name="T15" fmla="*/ 109 h 115"/>
                <a:gd name="T16" fmla="*/ 7 w 119"/>
                <a:gd name="T17" fmla="*/ 109 h 115"/>
                <a:gd name="T18" fmla="*/ 6 w 119"/>
                <a:gd name="T19" fmla="*/ 113 h 115"/>
                <a:gd name="T20" fmla="*/ 60 w 119"/>
                <a:gd name="T21" fmla="*/ 80 h 115"/>
                <a:gd name="T22" fmla="*/ 35 w 119"/>
                <a:gd name="T23" fmla="*/ 56 h 115"/>
                <a:gd name="T24" fmla="*/ 3 w 119"/>
                <a:gd name="T25" fmla="*/ 109 h 115"/>
                <a:gd name="T26" fmla="*/ 54 w 119"/>
                <a:gd name="T27" fmla="*/ 80 h 115"/>
                <a:gd name="T28" fmla="*/ 11 w 119"/>
                <a:gd name="T29" fmla="*/ 109 h 115"/>
                <a:gd name="T30" fmla="*/ 47 w 119"/>
                <a:gd name="T31" fmla="*/ 73 h 115"/>
                <a:gd name="T32" fmla="*/ 54 w 119"/>
                <a:gd name="T33" fmla="*/ 80 h 115"/>
                <a:gd name="T34" fmla="*/ 105 w 119"/>
                <a:gd name="T35" fmla="*/ 28 h 115"/>
                <a:gd name="T36" fmla="*/ 110 w 119"/>
                <a:gd name="T37" fmla="*/ 18 h 115"/>
                <a:gd name="T38" fmla="*/ 110 w 119"/>
                <a:gd name="T39" fmla="*/ 18 h 115"/>
                <a:gd name="T40" fmla="*/ 116 w 119"/>
                <a:gd name="T41" fmla="*/ 12 h 115"/>
                <a:gd name="T42" fmla="*/ 104 w 119"/>
                <a:gd name="T43" fmla="*/ 0 h 115"/>
                <a:gd name="T44" fmla="*/ 98 w 119"/>
                <a:gd name="T45" fmla="*/ 6 h 115"/>
                <a:gd name="T46" fmla="*/ 98 w 119"/>
                <a:gd name="T47" fmla="*/ 6 h 115"/>
                <a:gd name="T48" fmla="*/ 48 w 119"/>
                <a:gd name="T49" fmla="*/ 43 h 115"/>
                <a:gd name="T50" fmla="*/ 42 w 119"/>
                <a:gd name="T51" fmla="*/ 50 h 115"/>
                <a:gd name="T52" fmla="*/ 66 w 119"/>
                <a:gd name="T53" fmla="*/ 74 h 115"/>
                <a:gd name="T54" fmla="*/ 73 w 119"/>
                <a:gd name="T55" fmla="*/ 68 h 115"/>
                <a:gd name="T56" fmla="*/ 100 w 119"/>
                <a:gd name="T57" fmla="*/ 35 h 115"/>
                <a:gd name="T58" fmla="*/ 107 w 119"/>
                <a:gd name="T59" fmla="*/ 42 h 115"/>
                <a:gd name="T60" fmla="*/ 73 w 119"/>
                <a:gd name="T61" fmla="*/ 75 h 115"/>
                <a:gd name="T62" fmla="*/ 73 w 119"/>
                <a:gd name="T63" fmla="*/ 81 h 115"/>
                <a:gd name="T64" fmla="*/ 80 w 119"/>
                <a:gd name="T65" fmla="*/ 81 h 115"/>
                <a:gd name="T66" fmla="*/ 119 w 119"/>
                <a:gd name="T67" fmla="*/ 42 h 115"/>
                <a:gd name="T68" fmla="*/ 105 w 119"/>
                <a:gd name="T69" fmla="*/ 28 h 115"/>
                <a:gd name="T70" fmla="*/ 70 w 119"/>
                <a:gd name="T71" fmla="*/ 65 h 115"/>
                <a:gd name="T72" fmla="*/ 66 w 119"/>
                <a:gd name="T73" fmla="*/ 69 h 115"/>
                <a:gd name="T74" fmla="*/ 59 w 119"/>
                <a:gd name="T75" fmla="*/ 61 h 115"/>
                <a:gd name="T76" fmla="*/ 103 w 119"/>
                <a:gd name="T77" fmla="*/ 17 h 115"/>
                <a:gd name="T78" fmla="*/ 105 w 119"/>
                <a:gd name="T79" fmla="*/ 19 h 115"/>
                <a:gd name="T80" fmla="*/ 70 w 119"/>
                <a:gd name="T81" fmla="*/ 6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9" h="115">
                  <a:moveTo>
                    <a:pt x="3" y="109"/>
                  </a:moveTo>
                  <a:cubicBezTo>
                    <a:pt x="3" y="110"/>
                    <a:pt x="3" y="110"/>
                    <a:pt x="2" y="110"/>
                  </a:cubicBezTo>
                  <a:cubicBezTo>
                    <a:pt x="1" y="111"/>
                    <a:pt x="1" y="113"/>
                    <a:pt x="2" y="114"/>
                  </a:cubicBezTo>
                  <a:cubicBezTo>
                    <a:pt x="3" y="115"/>
                    <a:pt x="5" y="115"/>
                    <a:pt x="6" y="113"/>
                  </a:cubicBezTo>
                  <a:cubicBezTo>
                    <a:pt x="6" y="113"/>
                    <a:pt x="6" y="113"/>
                    <a:pt x="6" y="113"/>
                  </a:cubicBezTo>
                  <a:cubicBezTo>
                    <a:pt x="6" y="112"/>
                    <a:pt x="5" y="112"/>
                    <a:pt x="4" y="112"/>
                  </a:cubicBezTo>
                  <a:cubicBezTo>
                    <a:pt x="4" y="111"/>
                    <a:pt x="3" y="110"/>
                    <a:pt x="3" y="109"/>
                  </a:cubicBezTo>
                  <a:close/>
                  <a:moveTo>
                    <a:pt x="3" y="109"/>
                  </a:moveTo>
                  <a:cubicBezTo>
                    <a:pt x="4" y="109"/>
                    <a:pt x="6" y="108"/>
                    <a:pt x="7" y="109"/>
                  </a:cubicBezTo>
                  <a:cubicBezTo>
                    <a:pt x="7" y="110"/>
                    <a:pt x="7" y="112"/>
                    <a:pt x="6" y="113"/>
                  </a:cubicBezTo>
                  <a:cubicBezTo>
                    <a:pt x="15" y="115"/>
                    <a:pt x="37" y="102"/>
                    <a:pt x="60" y="80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14" y="79"/>
                    <a:pt x="0" y="101"/>
                    <a:pt x="3" y="109"/>
                  </a:cubicBezTo>
                  <a:close/>
                  <a:moveTo>
                    <a:pt x="54" y="80"/>
                  </a:moveTo>
                  <a:cubicBezTo>
                    <a:pt x="35" y="98"/>
                    <a:pt x="19" y="107"/>
                    <a:pt x="11" y="109"/>
                  </a:cubicBezTo>
                  <a:cubicBezTo>
                    <a:pt x="47" y="73"/>
                    <a:pt x="47" y="73"/>
                    <a:pt x="47" y="73"/>
                  </a:cubicBezTo>
                  <a:lnTo>
                    <a:pt x="54" y="80"/>
                  </a:lnTo>
                  <a:close/>
                  <a:moveTo>
                    <a:pt x="105" y="28"/>
                  </a:moveTo>
                  <a:cubicBezTo>
                    <a:pt x="107" y="24"/>
                    <a:pt x="109" y="21"/>
                    <a:pt x="110" y="18"/>
                  </a:cubicBezTo>
                  <a:cubicBezTo>
                    <a:pt x="110" y="18"/>
                    <a:pt x="110" y="18"/>
                    <a:pt x="110" y="18"/>
                  </a:cubicBezTo>
                  <a:cubicBezTo>
                    <a:pt x="116" y="12"/>
                    <a:pt x="116" y="12"/>
                    <a:pt x="116" y="12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98" y="6"/>
                    <a:pt x="98" y="6"/>
                    <a:pt x="98" y="6"/>
                  </a:cubicBezTo>
                  <a:cubicBezTo>
                    <a:pt x="98" y="6"/>
                    <a:pt x="98" y="6"/>
                    <a:pt x="98" y="6"/>
                  </a:cubicBezTo>
                  <a:cubicBezTo>
                    <a:pt x="85" y="11"/>
                    <a:pt x="66" y="24"/>
                    <a:pt x="48" y="43"/>
                  </a:cubicBezTo>
                  <a:cubicBezTo>
                    <a:pt x="46" y="45"/>
                    <a:pt x="44" y="47"/>
                    <a:pt x="42" y="50"/>
                  </a:cubicBezTo>
                  <a:cubicBezTo>
                    <a:pt x="66" y="74"/>
                    <a:pt x="66" y="74"/>
                    <a:pt x="66" y="74"/>
                  </a:cubicBezTo>
                  <a:cubicBezTo>
                    <a:pt x="68" y="72"/>
                    <a:pt x="70" y="70"/>
                    <a:pt x="73" y="68"/>
                  </a:cubicBezTo>
                  <a:cubicBezTo>
                    <a:pt x="84" y="57"/>
                    <a:pt x="93" y="45"/>
                    <a:pt x="100" y="35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73" y="75"/>
                    <a:pt x="73" y="75"/>
                    <a:pt x="73" y="75"/>
                  </a:cubicBezTo>
                  <a:cubicBezTo>
                    <a:pt x="72" y="77"/>
                    <a:pt x="72" y="80"/>
                    <a:pt x="73" y="81"/>
                  </a:cubicBezTo>
                  <a:cubicBezTo>
                    <a:pt x="75" y="83"/>
                    <a:pt x="78" y="83"/>
                    <a:pt x="80" y="81"/>
                  </a:cubicBezTo>
                  <a:cubicBezTo>
                    <a:pt x="119" y="42"/>
                    <a:pt x="119" y="42"/>
                    <a:pt x="119" y="42"/>
                  </a:cubicBezTo>
                  <a:lnTo>
                    <a:pt x="105" y="28"/>
                  </a:lnTo>
                  <a:close/>
                  <a:moveTo>
                    <a:pt x="70" y="65"/>
                  </a:moveTo>
                  <a:cubicBezTo>
                    <a:pt x="69" y="66"/>
                    <a:pt x="67" y="67"/>
                    <a:pt x="66" y="69"/>
                  </a:cubicBezTo>
                  <a:cubicBezTo>
                    <a:pt x="59" y="61"/>
                    <a:pt x="59" y="61"/>
                    <a:pt x="59" y="61"/>
                  </a:cubicBezTo>
                  <a:cubicBezTo>
                    <a:pt x="103" y="17"/>
                    <a:pt x="103" y="17"/>
                    <a:pt x="103" y="17"/>
                  </a:cubicBezTo>
                  <a:cubicBezTo>
                    <a:pt x="105" y="19"/>
                    <a:pt x="105" y="19"/>
                    <a:pt x="105" y="19"/>
                  </a:cubicBezTo>
                  <a:cubicBezTo>
                    <a:pt x="100" y="31"/>
                    <a:pt x="86" y="49"/>
                    <a:pt x="70" y="6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50" name="Freeform 203"/>
            <p:cNvSpPr>
              <a:spLocks noEditPoints="1"/>
            </p:cNvSpPr>
            <p:nvPr/>
          </p:nvSpPr>
          <p:spPr bwMode="auto">
            <a:xfrm>
              <a:off x="2749233" y="3776980"/>
              <a:ext cx="181928" cy="181928"/>
            </a:xfrm>
            <a:custGeom>
              <a:avLst/>
              <a:gdLst>
                <a:gd name="T0" fmla="*/ 68 w 136"/>
                <a:gd name="T1" fmla="*/ 0 h 136"/>
                <a:gd name="T2" fmla="*/ 0 w 136"/>
                <a:gd name="T3" fmla="*/ 68 h 136"/>
                <a:gd name="T4" fmla="*/ 68 w 136"/>
                <a:gd name="T5" fmla="*/ 136 h 136"/>
                <a:gd name="T6" fmla="*/ 136 w 136"/>
                <a:gd name="T7" fmla="*/ 68 h 136"/>
                <a:gd name="T8" fmla="*/ 68 w 136"/>
                <a:gd name="T9" fmla="*/ 0 h 136"/>
                <a:gd name="T10" fmla="*/ 68 w 136"/>
                <a:gd name="T11" fmla="*/ 128 h 136"/>
                <a:gd name="T12" fmla="*/ 8 w 136"/>
                <a:gd name="T13" fmla="*/ 68 h 136"/>
                <a:gd name="T14" fmla="*/ 68 w 136"/>
                <a:gd name="T15" fmla="*/ 8 h 136"/>
                <a:gd name="T16" fmla="*/ 128 w 136"/>
                <a:gd name="T17" fmla="*/ 68 h 136"/>
                <a:gd name="T18" fmla="*/ 68 w 136"/>
                <a:gd name="T19" fmla="*/ 128 h 136"/>
                <a:gd name="T20" fmla="*/ 68 w 136"/>
                <a:gd name="T21" fmla="*/ 112 h 136"/>
                <a:gd name="T22" fmla="*/ 24 w 136"/>
                <a:gd name="T23" fmla="*/ 68 h 136"/>
                <a:gd name="T24" fmla="*/ 20 w 136"/>
                <a:gd name="T25" fmla="*/ 64 h 136"/>
                <a:gd name="T26" fmla="*/ 16 w 136"/>
                <a:gd name="T27" fmla="*/ 68 h 136"/>
                <a:gd name="T28" fmla="*/ 68 w 136"/>
                <a:gd name="T29" fmla="*/ 120 h 136"/>
                <a:gd name="T30" fmla="*/ 72 w 136"/>
                <a:gd name="T31" fmla="*/ 116 h 136"/>
                <a:gd name="T32" fmla="*/ 68 w 136"/>
                <a:gd name="T33" fmla="*/ 112 h 136"/>
                <a:gd name="T34" fmla="*/ 68 w 136"/>
                <a:gd name="T35" fmla="*/ 16 h 136"/>
                <a:gd name="T36" fmla="*/ 64 w 136"/>
                <a:gd name="T37" fmla="*/ 20 h 136"/>
                <a:gd name="T38" fmla="*/ 68 w 136"/>
                <a:gd name="T39" fmla="*/ 24 h 136"/>
                <a:gd name="T40" fmla="*/ 112 w 136"/>
                <a:gd name="T41" fmla="*/ 68 h 136"/>
                <a:gd name="T42" fmla="*/ 116 w 136"/>
                <a:gd name="T43" fmla="*/ 72 h 136"/>
                <a:gd name="T44" fmla="*/ 120 w 136"/>
                <a:gd name="T45" fmla="*/ 68 h 136"/>
                <a:gd name="T46" fmla="*/ 68 w 136"/>
                <a:gd name="T47" fmla="*/ 16 h 136"/>
                <a:gd name="T48" fmla="*/ 68 w 136"/>
                <a:gd name="T49" fmla="*/ 25 h 136"/>
                <a:gd name="T50" fmla="*/ 64 w 136"/>
                <a:gd name="T51" fmla="*/ 29 h 136"/>
                <a:gd name="T52" fmla="*/ 64 w 136"/>
                <a:gd name="T53" fmla="*/ 64 h 136"/>
                <a:gd name="T54" fmla="*/ 46 w 136"/>
                <a:gd name="T55" fmla="*/ 64 h 136"/>
                <a:gd name="T56" fmla="*/ 42 w 136"/>
                <a:gd name="T57" fmla="*/ 68 h 136"/>
                <a:gd name="T58" fmla="*/ 46 w 136"/>
                <a:gd name="T59" fmla="*/ 72 h 136"/>
                <a:gd name="T60" fmla="*/ 72 w 136"/>
                <a:gd name="T61" fmla="*/ 72 h 136"/>
                <a:gd name="T62" fmla="*/ 72 w 136"/>
                <a:gd name="T63" fmla="*/ 29 h 136"/>
                <a:gd name="T64" fmla="*/ 68 w 136"/>
                <a:gd name="T65" fmla="*/ 25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6" h="136">
                  <a:moveTo>
                    <a:pt x="68" y="0"/>
                  </a:moveTo>
                  <a:cubicBezTo>
                    <a:pt x="31" y="0"/>
                    <a:pt x="0" y="31"/>
                    <a:pt x="0" y="68"/>
                  </a:cubicBezTo>
                  <a:cubicBezTo>
                    <a:pt x="0" y="105"/>
                    <a:pt x="31" y="136"/>
                    <a:pt x="68" y="136"/>
                  </a:cubicBezTo>
                  <a:cubicBezTo>
                    <a:pt x="105" y="136"/>
                    <a:pt x="136" y="105"/>
                    <a:pt x="136" y="68"/>
                  </a:cubicBezTo>
                  <a:cubicBezTo>
                    <a:pt x="136" y="31"/>
                    <a:pt x="105" y="0"/>
                    <a:pt x="68" y="0"/>
                  </a:cubicBezTo>
                  <a:close/>
                  <a:moveTo>
                    <a:pt x="68" y="128"/>
                  </a:moveTo>
                  <a:cubicBezTo>
                    <a:pt x="35" y="128"/>
                    <a:pt x="8" y="101"/>
                    <a:pt x="8" y="68"/>
                  </a:cubicBezTo>
                  <a:cubicBezTo>
                    <a:pt x="8" y="35"/>
                    <a:pt x="35" y="8"/>
                    <a:pt x="68" y="8"/>
                  </a:cubicBezTo>
                  <a:cubicBezTo>
                    <a:pt x="101" y="8"/>
                    <a:pt x="128" y="35"/>
                    <a:pt x="128" y="68"/>
                  </a:cubicBezTo>
                  <a:cubicBezTo>
                    <a:pt x="128" y="101"/>
                    <a:pt x="101" y="128"/>
                    <a:pt x="68" y="128"/>
                  </a:cubicBezTo>
                  <a:close/>
                  <a:moveTo>
                    <a:pt x="68" y="112"/>
                  </a:moveTo>
                  <a:cubicBezTo>
                    <a:pt x="44" y="112"/>
                    <a:pt x="24" y="92"/>
                    <a:pt x="24" y="68"/>
                  </a:cubicBezTo>
                  <a:cubicBezTo>
                    <a:pt x="24" y="66"/>
                    <a:pt x="22" y="64"/>
                    <a:pt x="20" y="64"/>
                  </a:cubicBezTo>
                  <a:cubicBezTo>
                    <a:pt x="17" y="64"/>
                    <a:pt x="16" y="66"/>
                    <a:pt x="16" y="68"/>
                  </a:cubicBezTo>
                  <a:cubicBezTo>
                    <a:pt x="16" y="97"/>
                    <a:pt x="39" y="120"/>
                    <a:pt x="68" y="120"/>
                  </a:cubicBezTo>
                  <a:cubicBezTo>
                    <a:pt x="70" y="120"/>
                    <a:pt x="72" y="119"/>
                    <a:pt x="72" y="116"/>
                  </a:cubicBezTo>
                  <a:cubicBezTo>
                    <a:pt x="72" y="114"/>
                    <a:pt x="70" y="112"/>
                    <a:pt x="68" y="112"/>
                  </a:cubicBezTo>
                  <a:close/>
                  <a:moveTo>
                    <a:pt x="68" y="16"/>
                  </a:moveTo>
                  <a:cubicBezTo>
                    <a:pt x="66" y="16"/>
                    <a:pt x="64" y="17"/>
                    <a:pt x="64" y="20"/>
                  </a:cubicBezTo>
                  <a:cubicBezTo>
                    <a:pt x="64" y="22"/>
                    <a:pt x="66" y="24"/>
                    <a:pt x="68" y="24"/>
                  </a:cubicBezTo>
                  <a:cubicBezTo>
                    <a:pt x="92" y="24"/>
                    <a:pt x="112" y="44"/>
                    <a:pt x="112" y="68"/>
                  </a:cubicBezTo>
                  <a:cubicBezTo>
                    <a:pt x="112" y="70"/>
                    <a:pt x="114" y="72"/>
                    <a:pt x="116" y="72"/>
                  </a:cubicBezTo>
                  <a:cubicBezTo>
                    <a:pt x="119" y="72"/>
                    <a:pt x="120" y="70"/>
                    <a:pt x="120" y="68"/>
                  </a:cubicBezTo>
                  <a:cubicBezTo>
                    <a:pt x="120" y="39"/>
                    <a:pt x="97" y="16"/>
                    <a:pt x="68" y="16"/>
                  </a:cubicBezTo>
                  <a:close/>
                  <a:moveTo>
                    <a:pt x="68" y="25"/>
                  </a:moveTo>
                  <a:cubicBezTo>
                    <a:pt x="66" y="25"/>
                    <a:pt x="64" y="27"/>
                    <a:pt x="64" y="29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4" y="64"/>
                    <a:pt x="42" y="66"/>
                    <a:pt x="42" y="68"/>
                  </a:cubicBezTo>
                  <a:cubicBezTo>
                    <a:pt x="42" y="70"/>
                    <a:pt x="44" y="72"/>
                    <a:pt x="46" y="72"/>
                  </a:cubicBezTo>
                  <a:cubicBezTo>
                    <a:pt x="72" y="72"/>
                    <a:pt x="72" y="72"/>
                    <a:pt x="72" y="72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7"/>
                    <a:pt x="70" y="25"/>
                    <a:pt x="68" y="2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51" name="Freeform 213"/>
            <p:cNvSpPr>
              <a:spLocks noEditPoints="1"/>
            </p:cNvSpPr>
            <p:nvPr/>
          </p:nvSpPr>
          <p:spPr bwMode="auto">
            <a:xfrm>
              <a:off x="3929381" y="1309310"/>
              <a:ext cx="231140" cy="80705"/>
            </a:xfrm>
            <a:custGeom>
              <a:avLst/>
              <a:gdLst>
                <a:gd name="T0" fmla="*/ 145 w 152"/>
                <a:gd name="T1" fmla="*/ 0 h 53"/>
                <a:gd name="T2" fmla="*/ 7 w 152"/>
                <a:gd name="T3" fmla="*/ 0 h 53"/>
                <a:gd name="T4" fmla="*/ 0 w 152"/>
                <a:gd name="T5" fmla="*/ 6 h 53"/>
                <a:gd name="T6" fmla="*/ 0 w 152"/>
                <a:gd name="T7" fmla="*/ 41 h 53"/>
                <a:gd name="T8" fmla="*/ 7 w 152"/>
                <a:gd name="T9" fmla="*/ 48 h 53"/>
                <a:gd name="T10" fmla="*/ 13 w 152"/>
                <a:gd name="T11" fmla="*/ 48 h 53"/>
                <a:gd name="T12" fmla="*/ 20 w 152"/>
                <a:gd name="T13" fmla="*/ 53 h 53"/>
                <a:gd name="T14" fmla="*/ 25 w 152"/>
                <a:gd name="T15" fmla="*/ 53 h 53"/>
                <a:gd name="T16" fmla="*/ 32 w 152"/>
                <a:gd name="T17" fmla="*/ 48 h 53"/>
                <a:gd name="T18" fmla="*/ 120 w 152"/>
                <a:gd name="T19" fmla="*/ 48 h 53"/>
                <a:gd name="T20" fmla="*/ 127 w 152"/>
                <a:gd name="T21" fmla="*/ 53 h 53"/>
                <a:gd name="T22" fmla="*/ 132 w 152"/>
                <a:gd name="T23" fmla="*/ 53 h 53"/>
                <a:gd name="T24" fmla="*/ 139 w 152"/>
                <a:gd name="T25" fmla="*/ 48 h 53"/>
                <a:gd name="T26" fmla="*/ 145 w 152"/>
                <a:gd name="T27" fmla="*/ 48 h 53"/>
                <a:gd name="T28" fmla="*/ 152 w 152"/>
                <a:gd name="T29" fmla="*/ 41 h 53"/>
                <a:gd name="T30" fmla="*/ 152 w 152"/>
                <a:gd name="T31" fmla="*/ 6 h 53"/>
                <a:gd name="T32" fmla="*/ 145 w 152"/>
                <a:gd name="T33" fmla="*/ 0 h 53"/>
                <a:gd name="T34" fmla="*/ 13 w 152"/>
                <a:gd name="T35" fmla="*/ 38 h 53"/>
                <a:gd name="T36" fmla="*/ 11 w 152"/>
                <a:gd name="T37" fmla="*/ 40 h 53"/>
                <a:gd name="T38" fmla="*/ 9 w 152"/>
                <a:gd name="T39" fmla="*/ 38 h 53"/>
                <a:gd name="T40" fmla="*/ 9 w 152"/>
                <a:gd name="T41" fmla="*/ 9 h 53"/>
                <a:gd name="T42" fmla="*/ 11 w 152"/>
                <a:gd name="T43" fmla="*/ 7 h 53"/>
                <a:gd name="T44" fmla="*/ 13 w 152"/>
                <a:gd name="T45" fmla="*/ 9 h 53"/>
                <a:gd name="T46" fmla="*/ 13 w 152"/>
                <a:gd name="T47" fmla="*/ 38 h 53"/>
                <a:gd name="T48" fmla="*/ 24 w 152"/>
                <a:gd name="T49" fmla="*/ 38 h 53"/>
                <a:gd name="T50" fmla="*/ 22 w 152"/>
                <a:gd name="T51" fmla="*/ 40 h 53"/>
                <a:gd name="T52" fmla="*/ 20 w 152"/>
                <a:gd name="T53" fmla="*/ 38 h 53"/>
                <a:gd name="T54" fmla="*/ 20 w 152"/>
                <a:gd name="T55" fmla="*/ 9 h 53"/>
                <a:gd name="T56" fmla="*/ 22 w 152"/>
                <a:gd name="T57" fmla="*/ 7 h 53"/>
                <a:gd name="T58" fmla="*/ 24 w 152"/>
                <a:gd name="T59" fmla="*/ 9 h 53"/>
                <a:gd name="T60" fmla="*/ 24 w 152"/>
                <a:gd name="T61" fmla="*/ 38 h 53"/>
                <a:gd name="T62" fmla="*/ 35 w 152"/>
                <a:gd name="T63" fmla="*/ 38 h 53"/>
                <a:gd name="T64" fmla="*/ 33 w 152"/>
                <a:gd name="T65" fmla="*/ 40 h 53"/>
                <a:gd name="T66" fmla="*/ 31 w 152"/>
                <a:gd name="T67" fmla="*/ 38 h 53"/>
                <a:gd name="T68" fmla="*/ 31 w 152"/>
                <a:gd name="T69" fmla="*/ 9 h 53"/>
                <a:gd name="T70" fmla="*/ 33 w 152"/>
                <a:gd name="T71" fmla="*/ 7 h 53"/>
                <a:gd name="T72" fmla="*/ 35 w 152"/>
                <a:gd name="T73" fmla="*/ 9 h 53"/>
                <a:gd name="T74" fmla="*/ 35 w 152"/>
                <a:gd name="T75" fmla="*/ 38 h 53"/>
                <a:gd name="T76" fmla="*/ 120 w 152"/>
                <a:gd name="T77" fmla="*/ 42 h 53"/>
                <a:gd name="T78" fmla="*/ 102 w 152"/>
                <a:gd name="T79" fmla="*/ 24 h 53"/>
                <a:gd name="T80" fmla="*/ 120 w 152"/>
                <a:gd name="T81" fmla="*/ 5 h 53"/>
                <a:gd name="T82" fmla="*/ 139 w 152"/>
                <a:gd name="T83" fmla="*/ 24 h 53"/>
                <a:gd name="T84" fmla="*/ 120 w 152"/>
                <a:gd name="T85" fmla="*/ 42 h 53"/>
                <a:gd name="T86" fmla="*/ 120 w 152"/>
                <a:gd name="T87" fmla="*/ 12 h 53"/>
                <a:gd name="T88" fmla="*/ 108 w 152"/>
                <a:gd name="T89" fmla="*/ 24 h 53"/>
                <a:gd name="T90" fmla="*/ 120 w 152"/>
                <a:gd name="T91" fmla="*/ 35 h 53"/>
                <a:gd name="T92" fmla="*/ 132 w 152"/>
                <a:gd name="T93" fmla="*/ 24 h 53"/>
                <a:gd name="T94" fmla="*/ 120 w 152"/>
                <a:gd name="T95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52" h="53">
                  <a:moveTo>
                    <a:pt x="145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45"/>
                    <a:pt x="3" y="48"/>
                    <a:pt x="7" y="48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4" y="51"/>
                    <a:pt x="16" y="53"/>
                    <a:pt x="20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9" y="53"/>
                    <a:pt x="32" y="51"/>
                    <a:pt x="32" y="48"/>
                  </a:cubicBezTo>
                  <a:cubicBezTo>
                    <a:pt x="120" y="48"/>
                    <a:pt x="120" y="48"/>
                    <a:pt x="120" y="48"/>
                  </a:cubicBezTo>
                  <a:cubicBezTo>
                    <a:pt x="120" y="51"/>
                    <a:pt x="123" y="53"/>
                    <a:pt x="127" y="53"/>
                  </a:cubicBezTo>
                  <a:cubicBezTo>
                    <a:pt x="132" y="53"/>
                    <a:pt x="132" y="53"/>
                    <a:pt x="132" y="53"/>
                  </a:cubicBezTo>
                  <a:cubicBezTo>
                    <a:pt x="136" y="53"/>
                    <a:pt x="138" y="51"/>
                    <a:pt x="139" y="48"/>
                  </a:cubicBezTo>
                  <a:cubicBezTo>
                    <a:pt x="145" y="48"/>
                    <a:pt x="145" y="48"/>
                    <a:pt x="145" y="48"/>
                  </a:cubicBezTo>
                  <a:cubicBezTo>
                    <a:pt x="149" y="48"/>
                    <a:pt x="152" y="45"/>
                    <a:pt x="152" y="41"/>
                  </a:cubicBezTo>
                  <a:cubicBezTo>
                    <a:pt x="152" y="6"/>
                    <a:pt x="152" y="6"/>
                    <a:pt x="152" y="6"/>
                  </a:cubicBezTo>
                  <a:cubicBezTo>
                    <a:pt x="152" y="2"/>
                    <a:pt x="149" y="0"/>
                    <a:pt x="145" y="0"/>
                  </a:cubicBezTo>
                  <a:close/>
                  <a:moveTo>
                    <a:pt x="13" y="38"/>
                  </a:moveTo>
                  <a:cubicBezTo>
                    <a:pt x="13" y="39"/>
                    <a:pt x="12" y="40"/>
                    <a:pt x="11" y="40"/>
                  </a:cubicBezTo>
                  <a:cubicBezTo>
                    <a:pt x="10" y="40"/>
                    <a:pt x="9" y="39"/>
                    <a:pt x="9" y="38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8"/>
                    <a:pt x="10" y="7"/>
                    <a:pt x="11" y="7"/>
                  </a:cubicBezTo>
                  <a:cubicBezTo>
                    <a:pt x="12" y="7"/>
                    <a:pt x="13" y="8"/>
                    <a:pt x="13" y="9"/>
                  </a:cubicBezTo>
                  <a:lnTo>
                    <a:pt x="13" y="38"/>
                  </a:lnTo>
                  <a:close/>
                  <a:moveTo>
                    <a:pt x="24" y="38"/>
                  </a:moveTo>
                  <a:cubicBezTo>
                    <a:pt x="24" y="39"/>
                    <a:pt x="23" y="40"/>
                    <a:pt x="22" y="40"/>
                  </a:cubicBezTo>
                  <a:cubicBezTo>
                    <a:pt x="21" y="40"/>
                    <a:pt x="20" y="39"/>
                    <a:pt x="20" y="38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8"/>
                    <a:pt x="21" y="7"/>
                    <a:pt x="22" y="7"/>
                  </a:cubicBezTo>
                  <a:cubicBezTo>
                    <a:pt x="23" y="7"/>
                    <a:pt x="24" y="8"/>
                    <a:pt x="24" y="9"/>
                  </a:cubicBezTo>
                  <a:lnTo>
                    <a:pt x="24" y="38"/>
                  </a:lnTo>
                  <a:close/>
                  <a:moveTo>
                    <a:pt x="35" y="38"/>
                  </a:moveTo>
                  <a:cubicBezTo>
                    <a:pt x="35" y="39"/>
                    <a:pt x="34" y="40"/>
                    <a:pt x="33" y="40"/>
                  </a:cubicBezTo>
                  <a:cubicBezTo>
                    <a:pt x="32" y="40"/>
                    <a:pt x="31" y="39"/>
                    <a:pt x="31" y="38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8"/>
                    <a:pt x="32" y="7"/>
                    <a:pt x="33" y="7"/>
                  </a:cubicBezTo>
                  <a:cubicBezTo>
                    <a:pt x="34" y="7"/>
                    <a:pt x="35" y="8"/>
                    <a:pt x="35" y="9"/>
                  </a:cubicBezTo>
                  <a:lnTo>
                    <a:pt x="35" y="38"/>
                  </a:lnTo>
                  <a:close/>
                  <a:moveTo>
                    <a:pt x="120" y="42"/>
                  </a:moveTo>
                  <a:cubicBezTo>
                    <a:pt x="110" y="42"/>
                    <a:pt x="102" y="34"/>
                    <a:pt x="102" y="24"/>
                  </a:cubicBezTo>
                  <a:cubicBezTo>
                    <a:pt x="102" y="13"/>
                    <a:pt x="110" y="5"/>
                    <a:pt x="120" y="5"/>
                  </a:cubicBezTo>
                  <a:cubicBezTo>
                    <a:pt x="130" y="5"/>
                    <a:pt x="139" y="13"/>
                    <a:pt x="139" y="24"/>
                  </a:cubicBezTo>
                  <a:cubicBezTo>
                    <a:pt x="139" y="34"/>
                    <a:pt x="130" y="42"/>
                    <a:pt x="120" y="42"/>
                  </a:cubicBezTo>
                  <a:close/>
                  <a:moveTo>
                    <a:pt x="120" y="12"/>
                  </a:moveTo>
                  <a:cubicBezTo>
                    <a:pt x="114" y="12"/>
                    <a:pt x="108" y="17"/>
                    <a:pt x="108" y="24"/>
                  </a:cubicBezTo>
                  <a:cubicBezTo>
                    <a:pt x="108" y="30"/>
                    <a:pt x="114" y="35"/>
                    <a:pt x="120" y="35"/>
                  </a:cubicBezTo>
                  <a:cubicBezTo>
                    <a:pt x="127" y="35"/>
                    <a:pt x="132" y="30"/>
                    <a:pt x="132" y="24"/>
                  </a:cubicBezTo>
                  <a:cubicBezTo>
                    <a:pt x="132" y="17"/>
                    <a:pt x="127" y="12"/>
                    <a:pt x="120" y="1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52" name="Freeform 177"/>
            <p:cNvSpPr>
              <a:spLocks noEditPoints="1"/>
            </p:cNvSpPr>
            <p:nvPr/>
          </p:nvSpPr>
          <p:spPr bwMode="auto">
            <a:xfrm>
              <a:off x="4309260" y="1964891"/>
              <a:ext cx="106064" cy="153640"/>
            </a:xfrm>
            <a:custGeom>
              <a:avLst/>
              <a:gdLst>
                <a:gd name="T0" fmla="*/ 371 w 384"/>
                <a:gd name="T1" fmla="*/ 0 h 556"/>
                <a:gd name="T2" fmla="*/ 13 w 384"/>
                <a:gd name="T3" fmla="*/ 0 h 556"/>
                <a:gd name="T4" fmla="*/ 0 w 384"/>
                <a:gd name="T5" fmla="*/ 14 h 556"/>
                <a:gd name="T6" fmla="*/ 0 w 384"/>
                <a:gd name="T7" fmla="*/ 542 h 556"/>
                <a:gd name="T8" fmla="*/ 13 w 384"/>
                <a:gd name="T9" fmla="*/ 556 h 556"/>
                <a:gd name="T10" fmla="*/ 371 w 384"/>
                <a:gd name="T11" fmla="*/ 556 h 556"/>
                <a:gd name="T12" fmla="*/ 384 w 384"/>
                <a:gd name="T13" fmla="*/ 542 h 556"/>
                <a:gd name="T14" fmla="*/ 384 w 384"/>
                <a:gd name="T15" fmla="*/ 14 h 556"/>
                <a:gd name="T16" fmla="*/ 371 w 384"/>
                <a:gd name="T17" fmla="*/ 0 h 556"/>
                <a:gd name="T18" fmla="*/ 192 w 384"/>
                <a:gd name="T19" fmla="*/ 528 h 556"/>
                <a:gd name="T20" fmla="*/ 170 w 384"/>
                <a:gd name="T21" fmla="*/ 506 h 556"/>
                <a:gd name="T22" fmla="*/ 192 w 384"/>
                <a:gd name="T23" fmla="*/ 484 h 556"/>
                <a:gd name="T24" fmla="*/ 214 w 384"/>
                <a:gd name="T25" fmla="*/ 506 h 556"/>
                <a:gd name="T26" fmla="*/ 192 w 384"/>
                <a:gd name="T27" fmla="*/ 528 h 556"/>
                <a:gd name="T28" fmla="*/ 358 w 384"/>
                <a:gd name="T29" fmla="*/ 464 h 556"/>
                <a:gd name="T30" fmla="*/ 26 w 384"/>
                <a:gd name="T31" fmla="*/ 464 h 556"/>
                <a:gd name="T32" fmla="*/ 26 w 384"/>
                <a:gd name="T33" fmla="*/ 32 h 556"/>
                <a:gd name="T34" fmla="*/ 358 w 384"/>
                <a:gd name="T35" fmla="*/ 32 h 556"/>
                <a:gd name="T36" fmla="*/ 358 w 384"/>
                <a:gd name="T37" fmla="*/ 464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84" h="556">
                  <a:moveTo>
                    <a:pt x="371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542"/>
                    <a:pt x="0" y="542"/>
                    <a:pt x="0" y="542"/>
                  </a:cubicBezTo>
                  <a:cubicBezTo>
                    <a:pt x="0" y="550"/>
                    <a:pt x="6" y="556"/>
                    <a:pt x="13" y="556"/>
                  </a:cubicBezTo>
                  <a:cubicBezTo>
                    <a:pt x="371" y="556"/>
                    <a:pt x="371" y="556"/>
                    <a:pt x="371" y="556"/>
                  </a:cubicBezTo>
                  <a:cubicBezTo>
                    <a:pt x="378" y="556"/>
                    <a:pt x="384" y="550"/>
                    <a:pt x="384" y="542"/>
                  </a:cubicBezTo>
                  <a:cubicBezTo>
                    <a:pt x="384" y="14"/>
                    <a:pt x="384" y="14"/>
                    <a:pt x="384" y="14"/>
                  </a:cubicBezTo>
                  <a:cubicBezTo>
                    <a:pt x="384" y="6"/>
                    <a:pt x="378" y="0"/>
                    <a:pt x="371" y="0"/>
                  </a:cubicBezTo>
                  <a:close/>
                  <a:moveTo>
                    <a:pt x="192" y="528"/>
                  </a:moveTo>
                  <a:cubicBezTo>
                    <a:pt x="180" y="528"/>
                    <a:pt x="170" y="518"/>
                    <a:pt x="170" y="506"/>
                  </a:cubicBezTo>
                  <a:cubicBezTo>
                    <a:pt x="170" y="494"/>
                    <a:pt x="180" y="484"/>
                    <a:pt x="192" y="484"/>
                  </a:cubicBezTo>
                  <a:cubicBezTo>
                    <a:pt x="204" y="484"/>
                    <a:pt x="214" y="494"/>
                    <a:pt x="214" y="506"/>
                  </a:cubicBezTo>
                  <a:cubicBezTo>
                    <a:pt x="214" y="518"/>
                    <a:pt x="204" y="528"/>
                    <a:pt x="192" y="528"/>
                  </a:cubicBezTo>
                  <a:close/>
                  <a:moveTo>
                    <a:pt x="358" y="464"/>
                  </a:moveTo>
                  <a:cubicBezTo>
                    <a:pt x="26" y="464"/>
                    <a:pt x="26" y="464"/>
                    <a:pt x="26" y="464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358" y="32"/>
                    <a:pt x="358" y="32"/>
                    <a:pt x="358" y="32"/>
                  </a:cubicBezTo>
                  <a:lnTo>
                    <a:pt x="358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53" name="Freeform 182"/>
            <p:cNvSpPr>
              <a:spLocks noEditPoints="1"/>
            </p:cNvSpPr>
            <p:nvPr/>
          </p:nvSpPr>
          <p:spPr bwMode="auto">
            <a:xfrm>
              <a:off x="3870955" y="3032760"/>
              <a:ext cx="149728" cy="137478"/>
            </a:xfrm>
            <a:custGeom>
              <a:avLst/>
              <a:gdLst>
                <a:gd name="T0" fmla="*/ 19 w 140"/>
                <a:gd name="T1" fmla="*/ 14 h 128"/>
                <a:gd name="T2" fmla="*/ 26 w 140"/>
                <a:gd name="T3" fmla="*/ 85 h 128"/>
                <a:gd name="T4" fmla="*/ 33 w 140"/>
                <a:gd name="T5" fmla="*/ 128 h 128"/>
                <a:gd name="T6" fmla="*/ 62 w 140"/>
                <a:gd name="T7" fmla="*/ 97 h 128"/>
                <a:gd name="T8" fmla="*/ 62 w 140"/>
                <a:gd name="T9" fmla="*/ 31 h 128"/>
                <a:gd name="T10" fmla="*/ 0 w 140"/>
                <a:gd name="T11" fmla="*/ 20 h 128"/>
                <a:gd name="T12" fmla="*/ 16 w 140"/>
                <a:gd name="T13" fmla="*/ 119 h 128"/>
                <a:gd name="T14" fmla="*/ 8 w 140"/>
                <a:gd name="T15" fmla="*/ 20 h 128"/>
                <a:gd name="T16" fmla="*/ 8 w 140"/>
                <a:gd name="T17" fmla="*/ 12 h 128"/>
                <a:gd name="T18" fmla="*/ 65 w 140"/>
                <a:gd name="T19" fmla="*/ 12 h 128"/>
                <a:gd name="T20" fmla="*/ 132 w 140"/>
                <a:gd name="T21" fmla="*/ 111 h 128"/>
                <a:gd name="T22" fmla="*/ 132 w 140"/>
                <a:gd name="T23" fmla="*/ 119 h 128"/>
                <a:gd name="T24" fmla="*/ 132 w 140"/>
                <a:gd name="T25" fmla="*/ 12 h 128"/>
                <a:gd name="T26" fmla="*/ 83 w 140"/>
                <a:gd name="T27" fmla="*/ 38 h 128"/>
                <a:gd name="T28" fmla="*/ 72 w 140"/>
                <a:gd name="T29" fmla="*/ 27 h 128"/>
                <a:gd name="T30" fmla="*/ 72 w 140"/>
                <a:gd name="T31" fmla="*/ 42 h 128"/>
                <a:gd name="T32" fmla="*/ 104 w 140"/>
                <a:gd name="T33" fmla="*/ 38 h 128"/>
                <a:gd name="T34" fmla="*/ 93 w 140"/>
                <a:gd name="T35" fmla="*/ 27 h 128"/>
                <a:gd name="T36" fmla="*/ 93 w 140"/>
                <a:gd name="T37" fmla="*/ 42 h 128"/>
                <a:gd name="T38" fmla="*/ 125 w 140"/>
                <a:gd name="T39" fmla="*/ 38 h 128"/>
                <a:gd name="T40" fmla="*/ 113 w 140"/>
                <a:gd name="T41" fmla="*/ 27 h 128"/>
                <a:gd name="T42" fmla="*/ 113 w 140"/>
                <a:gd name="T43" fmla="*/ 42 h 128"/>
                <a:gd name="T44" fmla="*/ 79 w 140"/>
                <a:gd name="T45" fmla="*/ 62 h 128"/>
                <a:gd name="T46" fmla="*/ 79 w 140"/>
                <a:gd name="T47" fmla="*/ 47 h 128"/>
                <a:gd name="T48" fmla="*/ 68 w 140"/>
                <a:gd name="T49" fmla="*/ 58 h 128"/>
                <a:gd name="T50" fmla="*/ 100 w 140"/>
                <a:gd name="T51" fmla="*/ 62 h 128"/>
                <a:gd name="T52" fmla="*/ 100 w 140"/>
                <a:gd name="T53" fmla="*/ 47 h 128"/>
                <a:gd name="T54" fmla="*/ 89 w 140"/>
                <a:gd name="T55" fmla="*/ 58 h 128"/>
                <a:gd name="T56" fmla="*/ 120 w 140"/>
                <a:gd name="T57" fmla="*/ 62 h 128"/>
                <a:gd name="T58" fmla="*/ 120 w 140"/>
                <a:gd name="T59" fmla="*/ 47 h 128"/>
                <a:gd name="T60" fmla="*/ 109 w 140"/>
                <a:gd name="T61" fmla="*/ 58 h 128"/>
                <a:gd name="T62" fmla="*/ 79 w 140"/>
                <a:gd name="T63" fmla="*/ 82 h 128"/>
                <a:gd name="T64" fmla="*/ 79 w 140"/>
                <a:gd name="T65" fmla="*/ 67 h 128"/>
                <a:gd name="T66" fmla="*/ 68 w 140"/>
                <a:gd name="T67" fmla="*/ 78 h 128"/>
                <a:gd name="T68" fmla="*/ 100 w 140"/>
                <a:gd name="T69" fmla="*/ 82 h 128"/>
                <a:gd name="T70" fmla="*/ 100 w 140"/>
                <a:gd name="T71" fmla="*/ 67 h 128"/>
                <a:gd name="T72" fmla="*/ 89 w 140"/>
                <a:gd name="T73" fmla="*/ 78 h 128"/>
                <a:gd name="T74" fmla="*/ 120 w 140"/>
                <a:gd name="T75" fmla="*/ 82 h 128"/>
                <a:gd name="T76" fmla="*/ 120 w 140"/>
                <a:gd name="T77" fmla="*/ 67 h 128"/>
                <a:gd name="T78" fmla="*/ 109 w 140"/>
                <a:gd name="T79" fmla="*/ 78 h 128"/>
                <a:gd name="T80" fmla="*/ 79 w 140"/>
                <a:gd name="T81" fmla="*/ 102 h 128"/>
                <a:gd name="T82" fmla="*/ 79 w 140"/>
                <a:gd name="T83" fmla="*/ 87 h 128"/>
                <a:gd name="T84" fmla="*/ 68 w 140"/>
                <a:gd name="T85" fmla="*/ 98 h 128"/>
                <a:gd name="T86" fmla="*/ 100 w 140"/>
                <a:gd name="T87" fmla="*/ 102 h 128"/>
                <a:gd name="T88" fmla="*/ 100 w 140"/>
                <a:gd name="T89" fmla="*/ 87 h 128"/>
                <a:gd name="T90" fmla="*/ 89 w 140"/>
                <a:gd name="T91" fmla="*/ 98 h 128"/>
                <a:gd name="T92" fmla="*/ 120 w 140"/>
                <a:gd name="T93" fmla="*/ 102 h 128"/>
                <a:gd name="T94" fmla="*/ 120 w 140"/>
                <a:gd name="T95" fmla="*/ 87 h 128"/>
                <a:gd name="T96" fmla="*/ 109 w 140"/>
                <a:gd name="T97" fmla="*/ 9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0" h="128">
                  <a:moveTo>
                    <a:pt x="48" y="0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25" y="0"/>
                    <a:pt x="19" y="6"/>
                    <a:pt x="19" y="14"/>
                  </a:cubicBezTo>
                  <a:cubicBezTo>
                    <a:pt x="19" y="31"/>
                    <a:pt x="19" y="31"/>
                    <a:pt x="19" y="31"/>
                  </a:cubicBezTo>
                  <a:cubicBezTo>
                    <a:pt x="19" y="37"/>
                    <a:pt x="22" y="41"/>
                    <a:pt x="26" y="43"/>
                  </a:cubicBezTo>
                  <a:cubicBezTo>
                    <a:pt x="26" y="85"/>
                    <a:pt x="26" y="85"/>
                    <a:pt x="26" y="85"/>
                  </a:cubicBezTo>
                  <a:cubicBezTo>
                    <a:pt x="22" y="87"/>
                    <a:pt x="19" y="91"/>
                    <a:pt x="19" y="97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19" y="122"/>
                    <a:pt x="25" y="128"/>
                    <a:pt x="33" y="128"/>
                  </a:cubicBezTo>
                  <a:cubicBezTo>
                    <a:pt x="48" y="128"/>
                    <a:pt x="48" y="128"/>
                    <a:pt x="48" y="128"/>
                  </a:cubicBezTo>
                  <a:cubicBezTo>
                    <a:pt x="56" y="128"/>
                    <a:pt x="62" y="122"/>
                    <a:pt x="62" y="114"/>
                  </a:cubicBezTo>
                  <a:cubicBezTo>
                    <a:pt x="62" y="97"/>
                    <a:pt x="62" y="97"/>
                    <a:pt x="62" y="97"/>
                  </a:cubicBezTo>
                  <a:cubicBezTo>
                    <a:pt x="62" y="91"/>
                    <a:pt x="59" y="87"/>
                    <a:pt x="55" y="85"/>
                  </a:cubicBezTo>
                  <a:cubicBezTo>
                    <a:pt x="55" y="43"/>
                    <a:pt x="55" y="43"/>
                    <a:pt x="55" y="43"/>
                  </a:cubicBezTo>
                  <a:cubicBezTo>
                    <a:pt x="59" y="41"/>
                    <a:pt x="62" y="37"/>
                    <a:pt x="62" y="31"/>
                  </a:cubicBezTo>
                  <a:cubicBezTo>
                    <a:pt x="62" y="14"/>
                    <a:pt x="62" y="14"/>
                    <a:pt x="62" y="14"/>
                  </a:cubicBezTo>
                  <a:cubicBezTo>
                    <a:pt x="62" y="6"/>
                    <a:pt x="56" y="0"/>
                    <a:pt x="48" y="0"/>
                  </a:cubicBezTo>
                  <a:close/>
                  <a:moveTo>
                    <a:pt x="0" y="20"/>
                  </a:moveTo>
                  <a:cubicBezTo>
                    <a:pt x="0" y="111"/>
                    <a:pt x="0" y="111"/>
                    <a:pt x="0" y="111"/>
                  </a:cubicBezTo>
                  <a:cubicBezTo>
                    <a:pt x="0" y="116"/>
                    <a:pt x="4" y="119"/>
                    <a:pt x="8" y="119"/>
                  </a:cubicBezTo>
                  <a:cubicBezTo>
                    <a:pt x="16" y="119"/>
                    <a:pt x="16" y="119"/>
                    <a:pt x="16" y="119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4" y="12"/>
                    <a:pt x="0" y="16"/>
                    <a:pt x="0" y="20"/>
                  </a:cubicBezTo>
                  <a:close/>
                  <a:moveTo>
                    <a:pt x="132" y="12"/>
                  </a:moveTo>
                  <a:cubicBezTo>
                    <a:pt x="65" y="12"/>
                    <a:pt x="65" y="12"/>
                    <a:pt x="65" y="12"/>
                  </a:cubicBezTo>
                  <a:cubicBezTo>
                    <a:pt x="65" y="20"/>
                    <a:pt x="65" y="20"/>
                    <a:pt x="65" y="20"/>
                  </a:cubicBezTo>
                  <a:cubicBezTo>
                    <a:pt x="132" y="20"/>
                    <a:pt x="132" y="20"/>
                    <a:pt x="132" y="20"/>
                  </a:cubicBezTo>
                  <a:cubicBezTo>
                    <a:pt x="132" y="111"/>
                    <a:pt x="132" y="111"/>
                    <a:pt x="132" y="111"/>
                  </a:cubicBezTo>
                  <a:cubicBezTo>
                    <a:pt x="65" y="111"/>
                    <a:pt x="65" y="111"/>
                    <a:pt x="65" y="111"/>
                  </a:cubicBezTo>
                  <a:cubicBezTo>
                    <a:pt x="65" y="119"/>
                    <a:pt x="65" y="119"/>
                    <a:pt x="65" y="119"/>
                  </a:cubicBezTo>
                  <a:cubicBezTo>
                    <a:pt x="132" y="119"/>
                    <a:pt x="132" y="119"/>
                    <a:pt x="132" y="119"/>
                  </a:cubicBezTo>
                  <a:cubicBezTo>
                    <a:pt x="136" y="119"/>
                    <a:pt x="140" y="116"/>
                    <a:pt x="140" y="111"/>
                  </a:cubicBezTo>
                  <a:cubicBezTo>
                    <a:pt x="140" y="20"/>
                    <a:pt x="140" y="20"/>
                    <a:pt x="140" y="20"/>
                  </a:cubicBezTo>
                  <a:cubicBezTo>
                    <a:pt x="140" y="16"/>
                    <a:pt x="136" y="12"/>
                    <a:pt x="132" y="12"/>
                  </a:cubicBezTo>
                  <a:close/>
                  <a:moveTo>
                    <a:pt x="72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81" y="42"/>
                    <a:pt x="83" y="40"/>
                    <a:pt x="83" y="38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83" y="28"/>
                    <a:pt x="81" y="27"/>
                    <a:pt x="79" y="27"/>
                  </a:cubicBezTo>
                  <a:cubicBezTo>
                    <a:pt x="72" y="27"/>
                    <a:pt x="72" y="27"/>
                    <a:pt x="72" y="27"/>
                  </a:cubicBezTo>
                  <a:cubicBezTo>
                    <a:pt x="70" y="27"/>
                    <a:pt x="68" y="28"/>
                    <a:pt x="68" y="31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40"/>
                    <a:pt x="70" y="42"/>
                    <a:pt x="72" y="42"/>
                  </a:cubicBezTo>
                  <a:close/>
                  <a:moveTo>
                    <a:pt x="93" y="42"/>
                  </a:moveTo>
                  <a:cubicBezTo>
                    <a:pt x="100" y="42"/>
                    <a:pt x="100" y="42"/>
                    <a:pt x="100" y="42"/>
                  </a:cubicBezTo>
                  <a:cubicBezTo>
                    <a:pt x="102" y="42"/>
                    <a:pt x="104" y="40"/>
                    <a:pt x="104" y="38"/>
                  </a:cubicBezTo>
                  <a:cubicBezTo>
                    <a:pt x="104" y="31"/>
                    <a:pt x="104" y="31"/>
                    <a:pt x="104" y="31"/>
                  </a:cubicBezTo>
                  <a:cubicBezTo>
                    <a:pt x="104" y="28"/>
                    <a:pt x="102" y="27"/>
                    <a:pt x="100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0" y="27"/>
                    <a:pt x="89" y="28"/>
                    <a:pt x="89" y="31"/>
                  </a:cubicBezTo>
                  <a:cubicBezTo>
                    <a:pt x="89" y="38"/>
                    <a:pt x="89" y="38"/>
                    <a:pt x="89" y="38"/>
                  </a:cubicBezTo>
                  <a:cubicBezTo>
                    <a:pt x="89" y="40"/>
                    <a:pt x="90" y="42"/>
                    <a:pt x="93" y="42"/>
                  </a:cubicBezTo>
                  <a:close/>
                  <a:moveTo>
                    <a:pt x="113" y="42"/>
                  </a:moveTo>
                  <a:cubicBezTo>
                    <a:pt x="120" y="42"/>
                    <a:pt x="120" y="42"/>
                    <a:pt x="120" y="42"/>
                  </a:cubicBezTo>
                  <a:cubicBezTo>
                    <a:pt x="123" y="42"/>
                    <a:pt x="125" y="40"/>
                    <a:pt x="125" y="38"/>
                  </a:cubicBezTo>
                  <a:cubicBezTo>
                    <a:pt x="125" y="31"/>
                    <a:pt x="125" y="31"/>
                    <a:pt x="125" y="31"/>
                  </a:cubicBezTo>
                  <a:cubicBezTo>
                    <a:pt x="125" y="28"/>
                    <a:pt x="123" y="27"/>
                    <a:pt x="120" y="27"/>
                  </a:cubicBezTo>
                  <a:cubicBezTo>
                    <a:pt x="113" y="27"/>
                    <a:pt x="113" y="27"/>
                    <a:pt x="113" y="27"/>
                  </a:cubicBezTo>
                  <a:cubicBezTo>
                    <a:pt x="111" y="27"/>
                    <a:pt x="109" y="28"/>
                    <a:pt x="109" y="31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40"/>
                    <a:pt x="111" y="42"/>
                    <a:pt x="113" y="42"/>
                  </a:cubicBezTo>
                  <a:close/>
                  <a:moveTo>
                    <a:pt x="68" y="58"/>
                  </a:moveTo>
                  <a:cubicBezTo>
                    <a:pt x="68" y="60"/>
                    <a:pt x="70" y="62"/>
                    <a:pt x="72" y="62"/>
                  </a:cubicBezTo>
                  <a:cubicBezTo>
                    <a:pt x="79" y="62"/>
                    <a:pt x="79" y="62"/>
                    <a:pt x="79" y="62"/>
                  </a:cubicBezTo>
                  <a:cubicBezTo>
                    <a:pt x="81" y="62"/>
                    <a:pt x="83" y="60"/>
                    <a:pt x="83" y="58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83" y="49"/>
                    <a:pt x="81" y="47"/>
                    <a:pt x="79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0" y="47"/>
                    <a:pt x="68" y="49"/>
                    <a:pt x="68" y="51"/>
                  </a:cubicBezTo>
                  <a:lnTo>
                    <a:pt x="68" y="58"/>
                  </a:lnTo>
                  <a:close/>
                  <a:moveTo>
                    <a:pt x="89" y="58"/>
                  </a:moveTo>
                  <a:cubicBezTo>
                    <a:pt x="89" y="60"/>
                    <a:pt x="90" y="62"/>
                    <a:pt x="93" y="62"/>
                  </a:cubicBezTo>
                  <a:cubicBezTo>
                    <a:pt x="100" y="62"/>
                    <a:pt x="100" y="62"/>
                    <a:pt x="100" y="62"/>
                  </a:cubicBezTo>
                  <a:cubicBezTo>
                    <a:pt x="102" y="62"/>
                    <a:pt x="104" y="60"/>
                    <a:pt x="104" y="58"/>
                  </a:cubicBezTo>
                  <a:cubicBezTo>
                    <a:pt x="104" y="51"/>
                    <a:pt x="104" y="51"/>
                    <a:pt x="104" y="51"/>
                  </a:cubicBezTo>
                  <a:cubicBezTo>
                    <a:pt x="104" y="49"/>
                    <a:pt x="102" y="47"/>
                    <a:pt x="100" y="47"/>
                  </a:cubicBezTo>
                  <a:cubicBezTo>
                    <a:pt x="93" y="47"/>
                    <a:pt x="93" y="47"/>
                    <a:pt x="93" y="47"/>
                  </a:cubicBezTo>
                  <a:cubicBezTo>
                    <a:pt x="90" y="47"/>
                    <a:pt x="89" y="49"/>
                    <a:pt x="89" y="51"/>
                  </a:cubicBezTo>
                  <a:lnTo>
                    <a:pt x="89" y="58"/>
                  </a:lnTo>
                  <a:close/>
                  <a:moveTo>
                    <a:pt x="109" y="58"/>
                  </a:moveTo>
                  <a:cubicBezTo>
                    <a:pt x="109" y="60"/>
                    <a:pt x="111" y="62"/>
                    <a:pt x="113" y="62"/>
                  </a:cubicBezTo>
                  <a:cubicBezTo>
                    <a:pt x="120" y="62"/>
                    <a:pt x="120" y="62"/>
                    <a:pt x="120" y="62"/>
                  </a:cubicBezTo>
                  <a:cubicBezTo>
                    <a:pt x="123" y="62"/>
                    <a:pt x="125" y="60"/>
                    <a:pt x="125" y="58"/>
                  </a:cubicBezTo>
                  <a:cubicBezTo>
                    <a:pt x="125" y="51"/>
                    <a:pt x="125" y="51"/>
                    <a:pt x="125" y="51"/>
                  </a:cubicBezTo>
                  <a:cubicBezTo>
                    <a:pt x="125" y="49"/>
                    <a:pt x="123" y="47"/>
                    <a:pt x="120" y="47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1" y="47"/>
                    <a:pt x="109" y="49"/>
                    <a:pt x="109" y="51"/>
                  </a:cubicBezTo>
                  <a:lnTo>
                    <a:pt x="109" y="58"/>
                  </a:lnTo>
                  <a:close/>
                  <a:moveTo>
                    <a:pt x="68" y="78"/>
                  </a:moveTo>
                  <a:cubicBezTo>
                    <a:pt x="68" y="80"/>
                    <a:pt x="70" y="82"/>
                    <a:pt x="72" y="82"/>
                  </a:cubicBezTo>
                  <a:cubicBezTo>
                    <a:pt x="79" y="82"/>
                    <a:pt x="79" y="82"/>
                    <a:pt x="79" y="82"/>
                  </a:cubicBezTo>
                  <a:cubicBezTo>
                    <a:pt x="81" y="82"/>
                    <a:pt x="83" y="80"/>
                    <a:pt x="83" y="78"/>
                  </a:cubicBezTo>
                  <a:cubicBezTo>
                    <a:pt x="83" y="71"/>
                    <a:pt x="83" y="71"/>
                    <a:pt x="83" y="71"/>
                  </a:cubicBezTo>
                  <a:cubicBezTo>
                    <a:pt x="83" y="69"/>
                    <a:pt x="81" y="67"/>
                    <a:pt x="79" y="67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70" y="67"/>
                    <a:pt x="68" y="69"/>
                    <a:pt x="68" y="71"/>
                  </a:cubicBezTo>
                  <a:lnTo>
                    <a:pt x="68" y="78"/>
                  </a:lnTo>
                  <a:close/>
                  <a:moveTo>
                    <a:pt x="89" y="78"/>
                  </a:moveTo>
                  <a:cubicBezTo>
                    <a:pt x="89" y="80"/>
                    <a:pt x="90" y="82"/>
                    <a:pt x="93" y="82"/>
                  </a:cubicBezTo>
                  <a:cubicBezTo>
                    <a:pt x="100" y="82"/>
                    <a:pt x="100" y="82"/>
                    <a:pt x="100" y="82"/>
                  </a:cubicBezTo>
                  <a:cubicBezTo>
                    <a:pt x="102" y="82"/>
                    <a:pt x="104" y="80"/>
                    <a:pt x="104" y="78"/>
                  </a:cubicBezTo>
                  <a:cubicBezTo>
                    <a:pt x="104" y="71"/>
                    <a:pt x="104" y="71"/>
                    <a:pt x="104" y="71"/>
                  </a:cubicBezTo>
                  <a:cubicBezTo>
                    <a:pt x="104" y="69"/>
                    <a:pt x="102" y="67"/>
                    <a:pt x="100" y="67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90" y="67"/>
                    <a:pt x="89" y="69"/>
                    <a:pt x="89" y="71"/>
                  </a:cubicBezTo>
                  <a:lnTo>
                    <a:pt x="89" y="78"/>
                  </a:lnTo>
                  <a:close/>
                  <a:moveTo>
                    <a:pt x="109" y="78"/>
                  </a:moveTo>
                  <a:cubicBezTo>
                    <a:pt x="109" y="80"/>
                    <a:pt x="111" y="82"/>
                    <a:pt x="113" y="82"/>
                  </a:cubicBezTo>
                  <a:cubicBezTo>
                    <a:pt x="120" y="82"/>
                    <a:pt x="120" y="82"/>
                    <a:pt x="120" y="82"/>
                  </a:cubicBezTo>
                  <a:cubicBezTo>
                    <a:pt x="123" y="82"/>
                    <a:pt x="125" y="80"/>
                    <a:pt x="125" y="78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25" y="69"/>
                    <a:pt x="123" y="67"/>
                    <a:pt x="120" y="67"/>
                  </a:cubicBezTo>
                  <a:cubicBezTo>
                    <a:pt x="113" y="67"/>
                    <a:pt x="113" y="67"/>
                    <a:pt x="113" y="67"/>
                  </a:cubicBezTo>
                  <a:cubicBezTo>
                    <a:pt x="111" y="67"/>
                    <a:pt x="109" y="69"/>
                    <a:pt x="109" y="71"/>
                  </a:cubicBezTo>
                  <a:lnTo>
                    <a:pt x="109" y="78"/>
                  </a:lnTo>
                  <a:close/>
                  <a:moveTo>
                    <a:pt x="68" y="98"/>
                  </a:moveTo>
                  <a:cubicBezTo>
                    <a:pt x="68" y="100"/>
                    <a:pt x="70" y="102"/>
                    <a:pt x="72" y="102"/>
                  </a:cubicBezTo>
                  <a:cubicBezTo>
                    <a:pt x="79" y="102"/>
                    <a:pt x="79" y="102"/>
                    <a:pt x="79" y="102"/>
                  </a:cubicBezTo>
                  <a:cubicBezTo>
                    <a:pt x="81" y="102"/>
                    <a:pt x="83" y="100"/>
                    <a:pt x="83" y="98"/>
                  </a:cubicBezTo>
                  <a:cubicBezTo>
                    <a:pt x="83" y="91"/>
                    <a:pt x="83" y="91"/>
                    <a:pt x="83" y="91"/>
                  </a:cubicBezTo>
                  <a:cubicBezTo>
                    <a:pt x="83" y="89"/>
                    <a:pt x="81" y="87"/>
                    <a:pt x="79" y="87"/>
                  </a:cubicBezTo>
                  <a:cubicBezTo>
                    <a:pt x="72" y="87"/>
                    <a:pt x="72" y="87"/>
                    <a:pt x="72" y="87"/>
                  </a:cubicBezTo>
                  <a:cubicBezTo>
                    <a:pt x="70" y="87"/>
                    <a:pt x="68" y="89"/>
                    <a:pt x="68" y="91"/>
                  </a:cubicBezTo>
                  <a:lnTo>
                    <a:pt x="68" y="98"/>
                  </a:lnTo>
                  <a:close/>
                  <a:moveTo>
                    <a:pt x="89" y="98"/>
                  </a:moveTo>
                  <a:cubicBezTo>
                    <a:pt x="89" y="100"/>
                    <a:pt x="90" y="102"/>
                    <a:pt x="93" y="102"/>
                  </a:cubicBezTo>
                  <a:cubicBezTo>
                    <a:pt x="100" y="102"/>
                    <a:pt x="100" y="102"/>
                    <a:pt x="100" y="102"/>
                  </a:cubicBezTo>
                  <a:cubicBezTo>
                    <a:pt x="102" y="102"/>
                    <a:pt x="104" y="100"/>
                    <a:pt x="104" y="98"/>
                  </a:cubicBezTo>
                  <a:cubicBezTo>
                    <a:pt x="104" y="91"/>
                    <a:pt x="104" y="91"/>
                    <a:pt x="104" y="91"/>
                  </a:cubicBezTo>
                  <a:cubicBezTo>
                    <a:pt x="104" y="89"/>
                    <a:pt x="102" y="87"/>
                    <a:pt x="100" y="87"/>
                  </a:cubicBezTo>
                  <a:cubicBezTo>
                    <a:pt x="93" y="87"/>
                    <a:pt x="93" y="87"/>
                    <a:pt x="93" y="87"/>
                  </a:cubicBezTo>
                  <a:cubicBezTo>
                    <a:pt x="90" y="87"/>
                    <a:pt x="89" y="89"/>
                    <a:pt x="89" y="91"/>
                  </a:cubicBezTo>
                  <a:lnTo>
                    <a:pt x="89" y="98"/>
                  </a:lnTo>
                  <a:close/>
                  <a:moveTo>
                    <a:pt x="109" y="98"/>
                  </a:moveTo>
                  <a:cubicBezTo>
                    <a:pt x="109" y="100"/>
                    <a:pt x="111" y="102"/>
                    <a:pt x="113" y="102"/>
                  </a:cubicBezTo>
                  <a:cubicBezTo>
                    <a:pt x="120" y="102"/>
                    <a:pt x="120" y="102"/>
                    <a:pt x="120" y="102"/>
                  </a:cubicBezTo>
                  <a:cubicBezTo>
                    <a:pt x="123" y="102"/>
                    <a:pt x="125" y="100"/>
                    <a:pt x="125" y="98"/>
                  </a:cubicBezTo>
                  <a:cubicBezTo>
                    <a:pt x="125" y="91"/>
                    <a:pt x="125" y="91"/>
                    <a:pt x="125" y="91"/>
                  </a:cubicBezTo>
                  <a:cubicBezTo>
                    <a:pt x="125" y="89"/>
                    <a:pt x="123" y="87"/>
                    <a:pt x="120" y="87"/>
                  </a:cubicBezTo>
                  <a:cubicBezTo>
                    <a:pt x="113" y="87"/>
                    <a:pt x="113" y="87"/>
                    <a:pt x="113" y="87"/>
                  </a:cubicBezTo>
                  <a:cubicBezTo>
                    <a:pt x="111" y="87"/>
                    <a:pt x="109" y="89"/>
                    <a:pt x="109" y="91"/>
                  </a:cubicBezTo>
                  <a:lnTo>
                    <a:pt x="109" y="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54" name="Freeform 167"/>
            <p:cNvSpPr>
              <a:spLocks noEditPoints="1"/>
            </p:cNvSpPr>
            <p:nvPr/>
          </p:nvSpPr>
          <p:spPr bwMode="auto">
            <a:xfrm>
              <a:off x="4226664" y="3721339"/>
              <a:ext cx="179814" cy="118086"/>
            </a:xfrm>
            <a:custGeom>
              <a:avLst/>
              <a:gdLst>
                <a:gd name="T0" fmla="*/ 311 w 312"/>
                <a:gd name="T1" fmla="*/ 175 h 205"/>
                <a:gd name="T2" fmla="*/ 310 w 312"/>
                <a:gd name="T3" fmla="*/ 174 h 205"/>
                <a:gd name="T4" fmla="*/ 2 w 312"/>
                <a:gd name="T5" fmla="*/ 174 h 205"/>
                <a:gd name="T6" fmla="*/ 0 w 312"/>
                <a:gd name="T7" fmla="*/ 175 h 205"/>
                <a:gd name="T8" fmla="*/ 0 w 312"/>
                <a:gd name="T9" fmla="*/ 176 h 205"/>
                <a:gd name="T10" fmla="*/ 41 w 312"/>
                <a:gd name="T11" fmla="*/ 205 h 205"/>
                <a:gd name="T12" fmla="*/ 271 w 312"/>
                <a:gd name="T13" fmla="*/ 205 h 205"/>
                <a:gd name="T14" fmla="*/ 312 w 312"/>
                <a:gd name="T15" fmla="*/ 176 h 205"/>
                <a:gd name="T16" fmla="*/ 311 w 312"/>
                <a:gd name="T17" fmla="*/ 175 h 205"/>
                <a:gd name="T18" fmla="*/ 179 w 312"/>
                <a:gd name="T19" fmla="*/ 195 h 205"/>
                <a:gd name="T20" fmla="*/ 133 w 312"/>
                <a:gd name="T21" fmla="*/ 195 h 205"/>
                <a:gd name="T22" fmla="*/ 133 w 312"/>
                <a:gd name="T23" fmla="*/ 184 h 205"/>
                <a:gd name="T24" fmla="*/ 179 w 312"/>
                <a:gd name="T25" fmla="*/ 184 h 205"/>
                <a:gd name="T26" fmla="*/ 179 w 312"/>
                <a:gd name="T27" fmla="*/ 195 h 205"/>
                <a:gd name="T28" fmla="*/ 34 w 312"/>
                <a:gd name="T29" fmla="*/ 163 h 205"/>
                <a:gd name="T30" fmla="*/ 278 w 312"/>
                <a:gd name="T31" fmla="*/ 163 h 205"/>
                <a:gd name="T32" fmla="*/ 284 w 312"/>
                <a:gd name="T33" fmla="*/ 156 h 205"/>
                <a:gd name="T34" fmla="*/ 284 w 312"/>
                <a:gd name="T35" fmla="*/ 6 h 205"/>
                <a:gd name="T36" fmla="*/ 278 w 312"/>
                <a:gd name="T37" fmla="*/ 0 h 205"/>
                <a:gd name="T38" fmla="*/ 34 w 312"/>
                <a:gd name="T39" fmla="*/ 0 h 205"/>
                <a:gd name="T40" fmla="*/ 27 w 312"/>
                <a:gd name="T41" fmla="*/ 6 h 205"/>
                <a:gd name="T42" fmla="*/ 27 w 312"/>
                <a:gd name="T43" fmla="*/ 156 h 205"/>
                <a:gd name="T44" fmla="*/ 34 w 312"/>
                <a:gd name="T45" fmla="*/ 163 h 205"/>
                <a:gd name="T46" fmla="*/ 50 w 312"/>
                <a:gd name="T47" fmla="*/ 22 h 205"/>
                <a:gd name="T48" fmla="*/ 262 w 312"/>
                <a:gd name="T49" fmla="*/ 22 h 205"/>
                <a:gd name="T50" fmla="*/ 262 w 312"/>
                <a:gd name="T51" fmla="*/ 140 h 205"/>
                <a:gd name="T52" fmla="*/ 50 w 312"/>
                <a:gd name="T53" fmla="*/ 140 h 205"/>
                <a:gd name="T54" fmla="*/ 50 w 312"/>
                <a:gd name="T55" fmla="*/ 22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2" h="205">
                  <a:moveTo>
                    <a:pt x="311" y="175"/>
                  </a:moveTo>
                  <a:cubicBezTo>
                    <a:pt x="311" y="174"/>
                    <a:pt x="311" y="174"/>
                    <a:pt x="310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1" y="174"/>
                    <a:pt x="1" y="174"/>
                    <a:pt x="0" y="175"/>
                  </a:cubicBezTo>
                  <a:cubicBezTo>
                    <a:pt x="0" y="175"/>
                    <a:pt x="0" y="175"/>
                    <a:pt x="0" y="176"/>
                  </a:cubicBezTo>
                  <a:cubicBezTo>
                    <a:pt x="0" y="176"/>
                    <a:pt x="5" y="205"/>
                    <a:pt x="41" y="205"/>
                  </a:cubicBezTo>
                  <a:cubicBezTo>
                    <a:pt x="271" y="205"/>
                    <a:pt x="271" y="205"/>
                    <a:pt x="271" y="205"/>
                  </a:cubicBezTo>
                  <a:cubicBezTo>
                    <a:pt x="307" y="205"/>
                    <a:pt x="312" y="176"/>
                    <a:pt x="312" y="176"/>
                  </a:cubicBezTo>
                  <a:cubicBezTo>
                    <a:pt x="312" y="175"/>
                    <a:pt x="312" y="175"/>
                    <a:pt x="311" y="175"/>
                  </a:cubicBezTo>
                  <a:close/>
                  <a:moveTo>
                    <a:pt x="179" y="195"/>
                  </a:moveTo>
                  <a:cubicBezTo>
                    <a:pt x="133" y="195"/>
                    <a:pt x="133" y="195"/>
                    <a:pt x="133" y="195"/>
                  </a:cubicBezTo>
                  <a:cubicBezTo>
                    <a:pt x="133" y="184"/>
                    <a:pt x="133" y="184"/>
                    <a:pt x="133" y="184"/>
                  </a:cubicBezTo>
                  <a:cubicBezTo>
                    <a:pt x="179" y="184"/>
                    <a:pt x="179" y="184"/>
                    <a:pt x="179" y="184"/>
                  </a:cubicBezTo>
                  <a:lnTo>
                    <a:pt x="179" y="195"/>
                  </a:lnTo>
                  <a:close/>
                  <a:moveTo>
                    <a:pt x="34" y="163"/>
                  </a:moveTo>
                  <a:cubicBezTo>
                    <a:pt x="278" y="163"/>
                    <a:pt x="278" y="163"/>
                    <a:pt x="278" y="163"/>
                  </a:cubicBezTo>
                  <a:cubicBezTo>
                    <a:pt x="282" y="163"/>
                    <a:pt x="284" y="160"/>
                    <a:pt x="284" y="156"/>
                  </a:cubicBezTo>
                  <a:cubicBezTo>
                    <a:pt x="284" y="6"/>
                    <a:pt x="284" y="6"/>
                    <a:pt x="284" y="6"/>
                  </a:cubicBezTo>
                  <a:cubicBezTo>
                    <a:pt x="284" y="3"/>
                    <a:pt x="282" y="0"/>
                    <a:pt x="278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0" y="0"/>
                    <a:pt x="27" y="3"/>
                    <a:pt x="27" y="6"/>
                  </a:cubicBezTo>
                  <a:cubicBezTo>
                    <a:pt x="27" y="156"/>
                    <a:pt x="27" y="156"/>
                    <a:pt x="27" y="156"/>
                  </a:cubicBezTo>
                  <a:cubicBezTo>
                    <a:pt x="27" y="160"/>
                    <a:pt x="30" y="163"/>
                    <a:pt x="34" y="163"/>
                  </a:cubicBezTo>
                  <a:close/>
                  <a:moveTo>
                    <a:pt x="50" y="22"/>
                  </a:moveTo>
                  <a:cubicBezTo>
                    <a:pt x="262" y="22"/>
                    <a:pt x="262" y="22"/>
                    <a:pt x="262" y="22"/>
                  </a:cubicBezTo>
                  <a:cubicBezTo>
                    <a:pt x="262" y="140"/>
                    <a:pt x="262" y="140"/>
                    <a:pt x="262" y="140"/>
                  </a:cubicBezTo>
                  <a:cubicBezTo>
                    <a:pt x="50" y="140"/>
                    <a:pt x="50" y="140"/>
                    <a:pt x="50" y="140"/>
                  </a:cubicBezTo>
                  <a:lnTo>
                    <a:pt x="50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</p:grpSp>
      <p:grpSp>
        <p:nvGrpSpPr>
          <p:cNvPr id="689" name="Group 688"/>
          <p:cNvGrpSpPr/>
          <p:nvPr/>
        </p:nvGrpSpPr>
        <p:grpSpPr>
          <a:xfrm>
            <a:off x="5061204" y="2401503"/>
            <a:ext cx="1996440" cy="261610"/>
            <a:chOff x="5196840" y="1912620"/>
            <a:chExt cx="1996440" cy="261610"/>
          </a:xfrm>
        </p:grpSpPr>
        <p:sp>
          <p:nvSpPr>
            <p:cNvPr id="682" name="TextBox 681"/>
            <p:cNvSpPr txBox="1"/>
            <p:nvPr/>
          </p:nvSpPr>
          <p:spPr>
            <a:xfrm>
              <a:off x="5448300" y="1912620"/>
              <a:ext cx="174498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smtClean="0">
                  <a:solidFill>
                    <a:srgbClr val="676767"/>
                  </a:solidFill>
                  <a:ea typeface="ＭＳ Ｐゴシック" pitchFamily="34" charset="-128"/>
                </a:rPr>
                <a:t>Dawn of Wireless</a:t>
              </a:r>
              <a:endParaRPr lang="en-US" sz="1100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683" name="Oval 682"/>
            <p:cNvSpPr/>
            <p:nvPr/>
          </p:nvSpPr>
          <p:spPr>
            <a:xfrm>
              <a:off x="5196840" y="1935480"/>
              <a:ext cx="190500" cy="190500"/>
            </a:xfrm>
            <a:prstGeom prst="ellipse">
              <a:avLst/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690" name="Group 689"/>
          <p:cNvGrpSpPr/>
          <p:nvPr/>
        </p:nvGrpSpPr>
        <p:grpSpPr>
          <a:xfrm>
            <a:off x="5061204" y="3019040"/>
            <a:ext cx="1996440" cy="261610"/>
            <a:chOff x="5196840" y="2530157"/>
            <a:chExt cx="1996440" cy="261610"/>
          </a:xfrm>
        </p:grpSpPr>
        <p:sp>
          <p:nvSpPr>
            <p:cNvPr id="759" name="TextBox 758"/>
            <p:cNvSpPr txBox="1"/>
            <p:nvPr/>
          </p:nvSpPr>
          <p:spPr>
            <a:xfrm>
              <a:off x="5448300" y="2530157"/>
              <a:ext cx="174498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smtClean="0">
                  <a:solidFill>
                    <a:srgbClr val="676767"/>
                  </a:solidFill>
                  <a:ea typeface="ＭＳ Ｐゴシック" pitchFamily="34" charset="-128"/>
                </a:rPr>
                <a:t>Mobility Density </a:t>
              </a:r>
              <a:endParaRPr lang="en-US" sz="1100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62" name="Oval 761"/>
            <p:cNvSpPr/>
            <p:nvPr/>
          </p:nvSpPr>
          <p:spPr>
            <a:xfrm>
              <a:off x="5196840" y="2558415"/>
              <a:ext cx="190500" cy="190500"/>
            </a:xfrm>
            <a:prstGeom prst="ellipse">
              <a:avLst/>
            </a:prstGeom>
            <a:solidFill>
              <a:srgbClr val="36A4D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691" name="Group 690"/>
          <p:cNvGrpSpPr/>
          <p:nvPr/>
        </p:nvGrpSpPr>
        <p:grpSpPr>
          <a:xfrm>
            <a:off x="5061204" y="3636578"/>
            <a:ext cx="1996440" cy="430887"/>
            <a:chOff x="5196840" y="3147695"/>
            <a:chExt cx="1996440" cy="430887"/>
          </a:xfrm>
        </p:grpSpPr>
        <p:sp>
          <p:nvSpPr>
            <p:cNvPr id="760" name="TextBox 759"/>
            <p:cNvSpPr txBox="1"/>
            <p:nvPr/>
          </p:nvSpPr>
          <p:spPr>
            <a:xfrm>
              <a:off x="5448300" y="3147695"/>
              <a:ext cx="1744980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100" dirty="0" smtClean="0">
                  <a:solidFill>
                    <a:srgbClr val="676767"/>
                  </a:solidFill>
                  <a:ea typeface="ＭＳ Ｐゴシック" pitchFamily="34" charset="-128"/>
                </a:rPr>
                <a:t>Internet of Everything (IoE) </a:t>
              </a:r>
              <a:endParaRPr lang="en-US" sz="1100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sp>
          <p:nvSpPr>
            <p:cNvPr id="763" name="Oval 762"/>
            <p:cNvSpPr/>
            <p:nvPr/>
          </p:nvSpPr>
          <p:spPr>
            <a:xfrm>
              <a:off x="5196840" y="3181350"/>
              <a:ext cx="190500" cy="1905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768" name="Rectangle 767"/>
          <p:cNvSpPr/>
          <p:nvPr/>
        </p:nvSpPr>
        <p:spPr>
          <a:xfrm>
            <a:off x="546100" y="4407159"/>
            <a:ext cx="4014325" cy="320416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rgbClr val="676767"/>
                </a:solidFill>
              </a:rPr>
              <a:t>Next-Generation Mobility-Ready Network</a:t>
            </a:r>
          </a:p>
        </p:txBody>
      </p:sp>
      <p:sp>
        <p:nvSpPr>
          <p:cNvPr id="694" name="Round Same Side Corner Rectangle 693"/>
          <p:cNvSpPr/>
          <p:nvPr/>
        </p:nvSpPr>
        <p:spPr>
          <a:xfrm>
            <a:off x="7837836" y="1534160"/>
            <a:ext cx="396240" cy="3269615"/>
          </a:xfrm>
          <a:prstGeom prst="round2SameRect">
            <a:avLst>
              <a:gd name="adj1" fmla="val 30548"/>
              <a:gd name="adj2" fmla="val 0"/>
            </a:avLst>
          </a:prstGeom>
          <a:gradFill flip="none" rotWithShape="1">
            <a:gsLst>
              <a:gs pos="87000">
                <a:schemeClr val="accent4"/>
              </a:gs>
              <a:gs pos="32000">
                <a:schemeClr val="accent6">
                  <a:lumMod val="60000"/>
                  <a:lumOff val="40000"/>
                </a:schemeClr>
              </a:gs>
              <a:gs pos="65000">
                <a:schemeClr val="accent5"/>
              </a:gs>
              <a:gs pos="2000">
                <a:schemeClr val="tx2"/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695" name="Rounded Rectangle 694"/>
          <p:cNvSpPr/>
          <p:nvPr/>
        </p:nvSpPr>
        <p:spPr>
          <a:xfrm>
            <a:off x="7767321" y="4505960"/>
            <a:ext cx="548640" cy="135894"/>
          </a:xfrm>
          <a:prstGeom prst="roundRect">
            <a:avLst/>
          </a:prstGeom>
          <a:gradFill flip="none" rotWithShape="1">
            <a:gsLst>
              <a:gs pos="100000">
                <a:schemeClr val="tx1">
                  <a:lumMod val="75000"/>
                </a:schemeClr>
              </a:gs>
              <a:gs pos="47000">
                <a:schemeClr val="bg1"/>
              </a:gs>
              <a:gs pos="2000">
                <a:schemeClr val="tx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775" name="TextBox 774"/>
          <p:cNvSpPr txBox="1"/>
          <p:nvPr/>
        </p:nvSpPr>
        <p:spPr>
          <a:xfrm>
            <a:off x="7119620" y="1181389"/>
            <a:ext cx="17449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676767"/>
                </a:solidFill>
                <a:ea typeface="ＭＳ Ｐゴシック" pitchFamily="34" charset="-128"/>
              </a:rPr>
              <a:t>Network Capacity</a:t>
            </a:r>
            <a:endParaRPr lang="en-US" sz="1100" dirty="0">
              <a:solidFill>
                <a:srgbClr val="676767"/>
              </a:solidFill>
              <a:ea typeface="ＭＳ Ｐゴシック" pitchFamily="34" charset="-128"/>
            </a:endParaRPr>
          </a:p>
        </p:txBody>
      </p:sp>
      <p:sp>
        <p:nvSpPr>
          <p:cNvPr id="696" name="Rectangle 695"/>
          <p:cNvSpPr/>
          <p:nvPr/>
        </p:nvSpPr>
        <p:spPr>
          <a:xfrm>
            <a:off x="7721601" y="4716780"/>
            <a:ext cx="640080" cy="8699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477305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7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6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7 2.46914E-6 L -2.77778E-7 -0.19383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69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69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6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4" presetClass="pat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7 -0.19383 L -2.77778E-7 -0.35 " pathEditMode="relative" rAng="0" ptsTypes="AA">
                                      <p:cBhvr>
                                        <p:cTn id="33" dur="2000" fill="hold"/>
                                        <p:tgtEl>
                                          <p:spTgt spid="69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780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73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6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6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64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7 -0.35 L -2.77778E-7 -0.54507 " pathEditMode="relative" rAng="0" ptsTypes="AA">
                                      <p:cBhvr>
                                        <p:cTn id="47" dur="2000" fill="hold"/>
                                        <p:tgtEl>
                                          <p:spTgt spid="69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75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1" dur="500"/>
                                        <p:tgtEl>
                                          <p:spTgt spid="4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#ppt_h*1.125000"/>
                                          </p:val>
                                        </p:tav>
                                      </p:tavLst>
                                    </p:anim>
                                    <p:animEffect transition="out" filter="wipe(down)">
                                      <p:cBhvr>
                                        <p:cTn id="52" dur="500"/>
                                        <p:tgtEl>
                                          <p:spTgt spid="4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/>
                                        <p:tgtEl>
                                          <p:spTgt spid="7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57" dur="500"/>
                                        <p:tgtEl>
                                          <p:spTgt spid="7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42" presetClass="path" presetSubtype="0" accel="50000" decel="5000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7 -0.5438 L -2.77778E-7 -0.00093 " pathEditMode="relative" rAng="0" ptsTypes="AA">
                                      <p:cBhvr>
                                        <p:cTn id="59" dur="2000" fill="hold"/>
                                        <p:tgtEl>
                                          <p:spTgt spid="69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714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71" grpId="0" animBg="1"/>
      <p:bldP spid="411" grpId="0" animBg="1"/>
      <p:bldP spid="768" grpId="0" animBg="1"/>
      <p:bldP spid="695" grpId="0" animBg="1"/>
      <p:bldP spid="695" grpId="1" animBg="1"/>
      <p:bldP spid="695" grpId="2" animBg="1"/>
      <p:bldP spid="695" grpId="3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0" y="1013460"/>
            <a:ext cx="9144000" cy="1135379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pic>
        <p:nvPicPr>
          <p:cNvPr id="33" name="Picture 3" descr="C:\Users\balajkum\Desktop\Giri\734259\AN31055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594" t="6603" r="1" b="12251"/>
          <a:stretch/>
        </p:blipFill>
        <p:spPr bwMode="auto">
          <a:xfrm>
            <a:off x="5951184" y="2334895"/>
            <a:ext cx="2644140" cy="180022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" descr="C:\Users\balajkum\Desktop\Giri\734259\AN34382.jpg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296" b="1281"/>
          <a:stretch/>
        </p:blipFill>
        <p:spPr bwMode="auto">
          <a:xfrm>
            <a:off x="3244042" y="2333751"/>
            <a:ext cx="2648649" cy="180136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802.11ac Wave 2 Works</a:t>
            </a:r>
          </a:p>
        </p:txBody>
      </p:sp>
      <p:pic>
        <p:nvPicPr>
          <p:cNvPr id="32" name="Picture 2" descr="C:\Users\balajkum\Desktop\Giri\734259\AR61775.jpg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41" t="2434" r="-34" b="2089"/>
          <a:stretch/>
        </p:blipFill>
        <p:spPr bwMode="auto">
          <a:xfrm>
            <a:off x="548041" y="2341880"/>
            <a:ext cx="2644140" cy="179324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546100" y="4115435"/>
            <a:ext cx="2648657" cy="72010"/>
          </a:xfrm>
          <a:prstGeom prst="rect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243720" y="4115435"/>
            <a:ext cx="2649292" cy="7201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948608" y="4115435"/>
            <a:ext cx="2649292" cy="7201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46100" y="4157444"/>
            <a:ext cx="26482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76767"/>
                </a:solidFill>
                <a:ea typeface="ＭＳ Ｐゴシック" pitchFamily="34" charset="-128"/>
              </a:rPr>
              <a:t>Multi-User MIMO </a:t>
            </a:r>
            <a:r>
              <a:rPr lang="en-US" dirty="0" smtClean="0">
                <a:solidFill>
                  <a:srgbClr val="676767"/>
                </a:solidFill>
                <a:ea typeface="ＭＳ Ｐゴシック" pitchFamily="34" charset="-128"/>
              </a:rPr>
              <a:t/>
            </a:r>
            <a:br>
              <a:rPr lang="en-US" dirty="0" smtClean="0">
                <a:solidFill>
                  <a:srgbClr val="676767"/>
                </a:solidFill>
                <a:ea typeface="ＭＳ Ｐゴシック" pitchFamily="34" charset="-128"/>
              </a:rPr>
            </a:br>
            <a:r>
              <a:rPr lang="en-US" dirty="0" smtClean="0">
                <a:solidFill>
                  <a:srgbClr val="676767"/>
                </a:solidFill>
                <a:ea typeface="ＭＳ Ｐゴシック" pitchFamily="34" charset="-128"/>
              </a:rPr>
              <a:t>(</a:t>
            </a:r>
            <a:r>
              <a:rPr lang="en-US" dirty="0">
                <a:solidFill>
                  <a:srgbClr val="676767"/>
                </a:solidFill>
                <a:ea typeface="ＭＳ Ｐゴシック" pitchFamily="34" charset="-128"/>
              </a:rPr>
              <a:t>MU-MIMO</a:t>
            </a:r>
            <a:r>
              <a:rPr lang="en-US" dirty="0" smtClean="0">
                <a:solidFill>
                  <a:srgbClr val="676767"/>
                </a:solidFill>
                <a:ea typeface="ＭＳ Ｐゴシック" pitchFamily="34" charset="-128"/>
              </a:rPr>
              <a:t>)</a:t>
            </a:r>
            <a:endParaRPr lang="en-US" dirty="0">
              <a:solidFill>
                <a:srgbClr val="676767"/>
              </a:solidFill>
              <a:ea typeface="ＭＳ Ｐゴシック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240088" y="4157444"/>
            <a:ext cx="26482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76767"/>
                </a:solidFill>
                <a:ea typeface="ＭＳ Ｐゴシック" pitchFamily="34" charset="-128"/>
              </a:rPr>
              <a:t>Wider RF Channel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943600" y="4157444"/>
            <a:ext cx="26482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srgbClr val="676767"/>
                </a:solidFill>
                <a:ea typeface="ＭＳ Ｐゴシック" pitchFamily="34" charset="-128"/>
              </a:rPr>
              <a:t>Four Spatial Streams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1675131" y="1123949"/>
            <a:ext cx="5793739" cy="914400"/>
            <a:chOff x="546100" y="1211580"/>
            <a:chExt cx="5793739" cy="914400"/>
          </a:xfrm>
        </p:grpSpPr>
        <p:sp>
          <p:nvSpPr>
            <p:cNvPr id="10" name="TextBox 9"/>
            <p:cNvSpPr txBox="1"/>
            <p:nvPr/>
          </p:nvSpPr>
          <p:spPr>
            <a:xfrm>
              <a:off x="1461364" y="1463188"/>
              <a:ext cx="487847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dirty="0" smtClean="0">
                  <a:solidFill>
                    <a:srgbClr val="676767"/>
                  </a:solidFill>
                  <a:ea typeface="ＭＳ Ｐゴシック" pitchFamily="34" charset="-128"/>
                </a:rPr>
                <a:t>speed </a:t>
              </a:r>
              <a:r>
                <a:rPr lang="en-US" dirty="0">
                  <a:solidFill>
                    <a:srgbClr val="676767"/>
                  </a:solidFill>
                  <a:ea typeface="ＭＳ Ｐゴシック" pitchFamily="34" charset="-128"/>
                </a:rPr>
                <a:t>boost compared to Wave 1, thanks to</a:t>
              </a:r>
              <a:r>
                <a:rPr lang="en-US" dirty="0" smtClean="0">
                  <a:solidFill>
                    <a:srgbClr val="676767"/>
                  </a:solidFill>
                  <a:ea typeface="ＭＳ Ｐゴシック" pitchFamily="34" charset="-128"/>
                </a:rPr>
                <a:t>:</a:t>
              </a:r>
              <a:endParaRPr lang="en-US" dirty="0">
                <a:solidFill>
                  <a:srgbClr val="676767"/>
                </a:solidFill>
                <a:ea typeface="ＭＳ Ｐゴシック" pitchFamily="34" charset="-128"/>
              </a:endParaRPr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546100" y="1211580"/>
              <a:ext cx="914400" cy="914400"/>
              <a:chOff x="769620" y="1790700"/>
              <a:chExt cx="914400" cy="914400"/>
            </a:xfrm>
          </p:grpSpPr>
          <p:grpSp>
            <p:nvGrpSpPr>
              <p:cNvPr id="22" name="Group 21"/>
              <p:cNvGrpSpPr/>
              <p:nvPr/>
            </p:nvGrpSpPr>
            <p:grpSpPr>
              <a:xfrm rot="17100000">
                <a:off x="769620" y="1790700"/>
                <a:ext cx="914400" cy="914400"/>
                <a:chOff x="769620" y="1790700"/>
                <a:chExt cx="914400" cy="914400"/>
              </a:xfrm>
            </p:grpSpPr>
            <p:grpSp>
              <p:nvGrpSpPr>
                <p:cNvPr id="20" name="Group 19"/>
                <p:cNvGrpSpPr/>
                <p:nvPr/>
              </p:nvGrpSpPr>
              <p:grpSpPr>
                <a:xfrm>
                  <a:off x="769620" y="1790700"/>
                  <a:ext cx="914400" cy="914400"/>
                  <a:chOff x="769620" y="1790700"/>
                  <a:chExt cx="1426464" cy="1426464"/>
                </a:xfrm>
              </p:grpSpPr>
              <p:sp>
                <p:nvSpPr>
                  <p:cNvPr id="19" name="Oval 18"/>
                  <p:cNvSpPr/>
                  <p:nvPr/>
                </p:nvSpPr>
                <p:spPr>
                  <a:xfrm>
                    <a:off x="769620" y="1790700"/>
                    <a:ext cx="1426464" cy="1426464"/>
                  </a:xfrm>
                  <a:prstGeom prst="ellipse">
                    <a:avLst/>
                  </a:prstGeom>
                  <a:solidFill>
                    <a:schemeClr val="accent4"/>
                  </a:solidFill>
                  <a:ln w="25400">
                    <a:solidFill>
                      <a:schemeClr val="bg1"/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457200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dirty="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18" name="Pie 17"/>
                  <p:cNvSpPr/>
                  <p:nvPr/>
                </p:nvSpPr>
                <p:spPr>
                  <a:xfrm>
                    <a:off x="770382" y="1791462"/>
                    <a:ext cx="1424940" cy="1424940"/>
                  </a:xfrm>
                  <a:prstGeom prst="pie">
                    <a:avLst>
                      <a:gd name="adj1" fmla="val 20638933"/>
                      <a:gd name="adj2" fmla="val 16200000"/>
                    </a:avLst>
                  </a:prstGeom>
                  <a:solidFill>
                    <a:srgbClr val="36A4D7"/>
                  </a:solidFill>
                  <a:ln w="25400">
                    <a:solidFill>
                      <a:schemeClr val="bg1"/>
                    </a:solidFill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457200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en-US" dirty="0" smtClean="0">
                      <a:solidFill>
                        <a:srgbClr val="676767"/>
                      </a:solidFill>
                    </a:endParaRPr>
                  </a:p>
                </p:txBody>
              </p:sp>
            </p:grpSp>
            <p:sp>
              <p:nvSpPr>
                <p:cNvPr id="21" name="Oval 20"/>
                <p:cNvSpPr/>
                <p:nvPr/>
              </p:nvSpPr>
              <p:spPr>
                <a:xfrm>
                  <a:off x="950648" y="1971728"/>
                  <a:ext cx="552346" cy="55234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3" name="TextBox 22"/>
              <p:cNvSpPr txBox="1"/>
              <p:nvPr/>
            </p:nvSpPr>
            <p:spPr>
              <a:xfrm>
                <a:off x="905531" y="2069330"/>
                <a:ext cx="679154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b="1" dirty="0">
                    <a:solidFill>
                      <a:srgbClr val="676767"/>
                    </a:solidFill>
                    <a:ea typeface="ＭＳ Ｐゴシック" pitchFamily="34" charset="-128"/>
                  </a:rPr>
                  <a:t>80%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08761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37917" y="259337"/>
            <a:ext cx="8345488" cy="32647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Why Cisco for </a:t>
            </a:r>
            <a:r>
              <a:rPr lang="en-US" smtClean="0"/>
              <a:t>Gigabit Wireless</a:t>
            </a:r>
            <a:r>
              <a:rPr lang="en-US" dirty="0" smtClean="0"/>
              <a:t>?</a:t>
            </a:r>
            <a:br>
              <a:rPr lang="en-US" dirty="0" smtClean="0"/>
            </a:br>
            <a:endParaRPr lang="en-US" sz="2000" dirty="0"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3" name="Pentagon 2"/>
          <p:cNvSpPr/>
          <p:nvPr/>
        </p:nvSpPr>
        <p:spPr>
          <a:xfrm rot="5400000" flipH="1">
            <a:off x="3281284" y="2921688"/>
            <a:ext cx="297788" cy="1552192"/>
          </a:xfrm>
          <a:prstGeom prst="homePlate">
            <a:avLst>
              <a:gd name="adj" fmla="val 68889"/>
            </a:avLst>
          </a:prstGeom>
          <a:noFill/>
          <a:ln w="12700">
            <a:gradFill flip="none" rotWithShape="1"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100000">
                  <a:schemeClr val="tx2"/>
                </a:gs>
              </a:gsLst>
              <a:lin ang="0" scaled="0"/>
              <a:tileRect/>
            </a:gradFill>
          </a:ln>
          <a:effectLst>
            <a:innerShdw blurRad="114300">
              <a:prstClr val="black">
                <a:alpha val="34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5" tIns="34295" rIns="68585" bIns="34295" rtlCol="0" anchor="ctr"/>
          <a:lstStyle/>
          <a:p>
            <a:pPr algn="ctr"/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69494" y="2810615"/>
            <a:ext cx="1535503" cy="323165"/>
          </a:xfrm>
          <a:prstGeom prst="rect">
            <a:avLst/>
          </a:prstGeom>
          <a:noFill/>
        </p:spPr>
        <p:txBody>
          <a:bodyPr wrap="square" lIns="68585" tIns="34295" rIns="68585" bIns="34295" rtlCol="0">
            <a:spAutoFit/>
          </a:bodyPr>
          <a:lstStyle/>
          <a:p>
            <a:r>
              <a:rPr lang="en-US" sz="800" dirty="0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t>Cisco Wi-Fi </a:t>
            </a:r>
          </a:p>
          <a:p>
            <a:r>
              <a:rPr lang="en-US" sz="800" dirty="0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t>Leadership</a:t>
            </a:r>
          </a:p>
        </p:txBody>
      </p:sp>
      <p:sp>
        <p:nvSpPr>
          <p:cNvPr id="6" name="TextBox 26"/>
          <p:cNvSpPr txBox="1">
            <a:spLocks noChangeArrowheads="1"/>
          </p:cNvSpPr>
          <p:nvPr/>
        </p:nvSpPr>
        <p:spPr bwMode="auto">
          <a:xfrm>
            <a:off x="2599426" y="3743386"/>
            <a:ext cx="1715564" cy="367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28808" tIns="14403" rIns="28808" bIns="14403">
            <a:spAutoFit/>
          </a:bodyPr>
          <a:lstStyle>
            <a:defPPr>
              <a:defRPr lang="en-US"/>
            </a:defPPr>
            <a:lvl1pPr indent="0" algn="ctr" fontAlgn="base">
              <a:buSzPct val="120000"/>
              <a:buFont typeface="Wingdings" charset="2"/>
              <a:buNone/>
              <a:defRPr sz="1050" b="1" i="0">
                <a:solidFill>
                  <a:schemeClr val="bg2"/>
                </a:solidFill>
                <a:cs typeface="Arial" charset="0"/>
              </a:defRPr>
            </a:lvl1pPr>
          </a:lstStyle>
          <a:p>
            <a:r>
              <a:rPr lang="en-US" sz="1100" dirty="0">
                <a:solidFill>
                  <a:srgbClr val="676767"/>
                </a:solidFill>
                <a:ea typeface="ＭＳ Ｐゴシック" charset="0"/>
              </a:rPr>
              <a:t>Self-Protecting </a:t>
            </a:r>
            <a:r>
              <a:rPr lang="en-US" sz="1100" dirty="0" smtClean="0">
                <a:solidFill>
                  <a:srgbClr val="676767"/>
                </a:solidFill>
                <a:ea typeface="ＭＳ Ｐゴシック" charset="0"/>
              </a:rPr>
              <a:t>- CleanAir</a:t>
            </a:r>
            <a:endParaRPr lang="en-US" sz="1100" dirty="0">
              <a:solidFill>
                <a:srgbClr val="676767"/>
              </a:solidFill>
              <a:ea typeface="ＭＳ Ｐゴシック" charset="0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283217" y="3149648"/>
            <a:ext cx="8371569" cy="15"/>
          </a:xfrm>
          <a:prstGeom prst="line">
            <a:avLst/>
          </a:prstGeom>
          <a:ln w="9525" cmpd="sng">
            <a:solidFill>
              <a:srgbClr val="2968A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/>
        </p:nvGrpSpPr>
        <p:grpSpPr>
          <a:xfrm>
            <a:off x="1029975" y="2252349"/>
            <a:ext cx="907721" cy="897299"/>
            <a:chOff x="1673351" y="3003131"/>
            <a:chExt cx="1209979" cy="1196399"/>
          </a:xfrm>
        </p:grpSpPr>
        <p:grpSp>
          <p:nvGrpSpPr>
            <p:cNvPr id="10" name="Group 9"/>
            <p:cNvGrpSpPr/>
            <p:nvPr/>
          </p:nvGrpSpPr>
          <p:grpSpPr>
            <a:xfrm>
              <a:off x="1673351" y="3003131"/>
              <a:ext cx="1209979" cy="1037888"/>
              <a:chOff x="1158491" y="2196980"/>
              <a:chExt cx="1209979" cy="1037888"/>
            </a:xfrm>
          </p:grpSpPr>
          <p:sp>
            <p:nvSpPr>
              <p:cNvPr id="12" name="Oval 11"/>
              <p:cNvSpPr/>
              <p:nvPr/>
            </p:nvSpPr>
            <p:spPr bwMode="auto">
              <a:xfrm flipH="1">
                <a:off x="1506887" y="2730284"/>
                <a:ext cx="504584" cy="504584"/>
              </a:xfrm>
              <a:prstGeom prst="ellipse">
                <a:avLst/>
              </a:prstGeom>
              <a:gradFill rotWithShape="0">
                <a:gsLst>
                  <a:gs pos="0">
                    <a:srgbClr val="5C6A76"/>
                  </a:gs>
                  <a:gs pos="100000">
                    <a:srgbClr val="121517"/>
                  </a:gs>
                </a:gsLst>
                <a:lin ang="5400000" scaled="1"/>
              </a:gradFill>
              <a:ln w="19050" cap="flat">
                <a:gradFill>
                  <a:gsLst>
                    <a:gs pos="0">
                      <a:srgbClr val="0183B7">
                        <a:lumMod val="20000"/>
                        <a:lumOff val="80000"/>
                      </a:srgbClr>
                    </a:gs>
                    <a:gs pos="100000">
                      <a:srgbClr val="0183B7">
                        <a:lumMod val="20000"/>
                        <a:lumOff val="80000"/>
                        <a:alpha val="39000"/>
                      </a:srgbClr>
                    </a:gs>
                  </a:gsLst>
                  <a:lin ang="5400000" scaled="0"/>
                </a:gradFill>
                <a:round/>
                <a:headEnd type="none" w="med" len="med"/>
                <a:tailEnd type="none" w="med" len="med"/>
              </a:ln>
              <a:effectLst>
                <a:outerShdw blurRad="241300" algn="ctr" rotWithShape="0">
                  <a:sysClr val="windowText" lastClr="000000">
                    <a:alpha val="73000"/>
                  </a:sysClr>
                </a:outerShdw>
              </a:effectLst>
            </p:spPr>
            <p:txBody>
              <a:bodyPr lIns="0" tIns="0" rIns="0" bIns="0"/>
              <a:lstStyle/>
              <a:p>
                <a:pPr>
                  <a:lnSpc>
                    <a:spcPct val="90000"/>
                  </a:lnSpc>
                </a:pPr>
                <a:endParaRPr lang="en-US" sz="1200" dirty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grpSp>
            <p:nvGrpSpPr>
              <p:cNvPr id="13" name="Group 382"/>
              <p:cNvGrpSpPr/>
              <p:nvPr/>
            </p:nvGrpSpPr>
            <p:grpSpPr>
              <a:xfrm>
                <a:off x="1618689" y="2835238"/>
                <a:ext cx="280980" cy="285227"/>
                <a:chOff x="2784571" y="3205550"/>
                <a:chExt cx="408950" cy="544212"/>
              </a:xfrm>
              <a:solidFill>
                <a:schemeClr val="bg1"/>
              </a:solidFill>
            </p:grpSpPr>
            <p:sp>
              <p:nvSpPr>
                <p:cNvPr id="15" name="Freeform 14"/>
                <p:cNvSpPr>
                  <a:spLocks noEditPoints="1"/>
                </p:cNvSpPr>
                <p:nvPr/>
              </p:nvSpPr>
              <p:spPr bwMode="auto">
                <a:xfrm>
                  <a:off x="2898832" y="3357659"/>
                  <a:ext cx="180428" cy="239995"/>
                </a:xfrm>
                <a:custGeom>
                  <a:avLst/>
                  <a:gdLst>
                    <a:gd name="T0" fmla="*/ 384 w 511"/>
                    <a:gd name="T1" fmla="*/ 0 h 511"/>
                    <a:gd name="T2" fmla="*/ 127 w 511"/>
                    <a:gd name="T3" fmla="*/ 0 h 511"/>
                    <a:gd name="T4" fmla="*/ 0 w 511"/>
                    <a:gd name="T5" fmla="*/ 127 h 511"/>
                    <a:gd name="T6" fmla="*/ 0 w 511"/>
                    <a:gd name="T7" fmla="*/ 384 h 511"/>
                    <a:gd name="T8" fmla="*/ 127 w 511"/>
                    <a:gd name="T9" fmla="*/ 511 h 511"/>
                    <a:gd name="T10" fmla="*/ 384 w 511"/>
                    <a:gd name="T11" fmla="*/ 511 h 511"/>
                    <a:gd name="T12" fmla="*/ 511 w 511"/>
                    <a:gd name="T13" fmla="*/ 384 h 511"/>
                    <a:gd name="T14" fmla="*/ 511 w 511"/>
                    <a:gd name="T15" fmla="*/ 127 h 511"/>
                    <a:gd name="T16" fmla="*/ 384 w 511"/>
                    <a:gd name="T17" fmla="*/ 0 h 511"/>
                    <a:gd name="T18" fmla="*/ 275 w 511"/>
                    <a:gd name="T19" fmla="*/ 85 h 511"/>
                    <a:gd name="T20" fmla="*/ 236 w 511"/>
                    <a:gd name="T21" fmla="*/ 85 h 511"/>
                    <a:gd name="T22" fmla="*/ 236 w 511"/>
                    <a:gd name="T23" fmla="*/ 45 h 511"/>
                    <a:gd name="T24" fmla="*/ 275 w 511"/>
                    <a:gd name="T25" fmla="*/ 45 h 511"/>
                    <a:gd name="T26" fmla="*/ 275 w 511"/>
                    <a:gd name="T27" fmla="*/ 85 h 5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11" h="511">
                      <a:moveTo>
                        <a:pt x="384" y="0"/>
                      </a:moveTo>
                      <a:cubicBezTo>
                        <a:pt x="127" y="0"/>
                        <a:pt x="127" y="0"/>
                        <a:pt x="127" y="0"/>
                      </a:cubicBezTo>
                      <a:cubicBezTo>
                        <a:pt x="57" y="0"/>
                        <a:pt x="0" y="57"/>
                        <a:pt x="0" y="127"/>
                      </a:cubicBezTo>
                      <a:cubicBezTo>
                        <a:pt x="0" y="384"/>
                        <a:pt x="0" y="384"/>
                        <a:pt x="0" y="384"/>
                      </a:cubicBezTo>
                      <a:cubicBezTo>
                        <a:pt x="0" y="454"/>
                        <a:pt x="57" y="511"/>
                        <a:pt x="127" y="511"/>
                      </a:cubicBezTo>
                      <a:cubicBezTo>
                        <a:pt x="384" y="511"/>
                        <a:pt x="384" y="511"/>
                        <a:pt x="384" y="511"/>
                      </a:cubicBezTo>
                      <a:cubicBezTo>
                        <a:pt x="454" y="511"/>
                        <a:pt x="511" y="454"/>
                        <a:pt x="511" y="384"/>
                      </a:cubicBezTo>
                      <a:cubicBezTo>
                        <a:pt x="511" y="127"/>
                        <a:pt x="511" y="127"/>
                        <a:pt x="511" y="127"/>
                      </a:cubicBezTo>
                      <a:cubicBezTo>
                        <a:pt x="511" y="57"/>
                        <a:pt x="454" y="0"/>
                        <a:pt x="384" y="0"/>
                      </a:cubicBezTo>
                      <a:close/>
                      <a:moveTo>
                        <a:pt x="275" y="85"/>
                      </a:moveTo>
                      <a:cubicBezTo>
                        <a:pt x="236" y="85"/>
                        <a:pt x="236" y="85"/>
                        <a:pt x="236" y="85"/>
                      </a:cubicBezTo>
                      <a:cubicBezTo>
                        <a:pt x="236" y="45"/>
                        <a:pt x="236" y="45"/>
                        <a:pt x="236" y="45"/>
                      </a:cubicBezTo>
                      <a:cubicBezTo>
                        <a:pt x="275" y="45"/>
                        <a:pt x="275" y="45"/>
                        <a:pt x="275" y="45"/>
                      </a:cubicBezTo>
                      <a:lnTo>
                        <a:pt x="275" y="8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16" name="Freeform 15"/>
                <p:cNvSpPr>
                  <a:spLocks noEditPoints="1"/>
                </p:cNvSpPr>
                <p:nvPr/>
              </p:nvSpPr>
              <p:spPr bwMode="auto">
                <a:xfrm>
                  <a:off x="2784571" y="3205550"/>
                  <a:ext cx="408950" cy="544212"/>
                </a:xfrm>
                <a:custGeom>
                  <a:avLst/>
                  <a:gdLst>
                    <a:gd name="T0" fmla="*/ 885 w 1159"/>
                    <a:gd name="T1" fmla="*/ 0 h 1159"/>
                    <a:gd name="T2" fmla="*/ 274 w 1159"/>
                    <a:gd name="T3" fmla="*/ 0 h 1159"/>
                    <a:gd name="T4" fmla="*/ 0 w 1159"/>
                    <a:gd name="T5" fmla="*/ 274 h 1159"/>
                    <a:gd name="T6" fmla="*/ 0 w 1159"/>
                    <a:gd name="T7" fmla="*/ 885 h 1159"/>
                    <a:gd name="T8" fmla="*/ 274 w 1159"/>
                    <a:gd name="T9" fmla="*/ 1159 h 1159"/>
                    <a:gd name="T10" fmla="*/ 885 w 1159"/>
                    <a:gd name="T11" fmla="*/ 1159 h 1159"/>
                    <a:gd name="T12" fmla="*/ 1159 w 1159"/>
                    <a:gd name="T13" fmla="*/ 885 h 1159"/>
                    <a:gd name="T14" fmla="*/ 1159 w 1159"/>
                    <a:gd name="T15" fmla="*/ 274 h 1159"/>
                    <a:gd name="T16" fmla="*/ 885 w 1159"/>
                    <a:gd name="T17" fmla="*/ 0 h 1159"/>
                    <a:gd name="T18" fmla="*/ 867 w 1159"/>
                    <a:gd name="T19" fmla="*/ 708 h 1159"/>
                    <a:gd name="T20" fmla="*/ 708 w 1159"/>
                    <a:gd name="T21" fmla="*/ 867 h 1159"/>
                    <a:gd name="T22" fmla="*/ 451 w 1159"/>
                    <a:gd name="T23" fmla="*/ 867 h 1159"/>
                    <a:gd name="T24" fmla="*/ 292 w 1159"/>
                    <a:gd name="T25" fmla="*/ 708 h 1159"/>
                    <a:gd name="T26" fmla="*/ 292 w 1159"/>
                    <a:gd name="T27" fmla="*/ 451 h 1159"/>
                    <a:gd name="T28" fmla="*/ 451 w 1159"/>
                    <a:gd name="T29" fmla="*/ 292 h 1159"/>
                    <a:gd name="T30" fmla="*/ 708 w 1159"/>
                    <a:gd name="T31" fmla="*/ 292 h 1159"/>
                    <a:gd name="T32" fmla="*/ 867 w 1159"/>
                    <a:gd name="T33" fmla="*/ 451 h 1159"/>
                    <a:gd name="T34" fmla="*/ 867 w 1159"/>
                    <a:gd name="T35" fmla="*/ 708 h 11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159" h="1159">
                      <a:moveTo>
                        <a:pt x="885" y="0"/>
                      </a:moveTo>
                      <a:cubicBezTo>
                        <a:pt x="274" y="0"/>
                        <a:pt x="274" y="0"/>
                        <a:pt x="274" y="0"/>
                      </a:cubicBezTo>
                      <a:cubicBezTo>
                        <a:pt x="123" y="0"/>
                        <a:pt x="0" y="123"/>
                        <a:pt x="0" y="274"/>
                      </a:cubicBezTo>
                      <a:cubicBezTo>
                        <a:pt x="0" y="885"/>
                        <a:pt x="0" y="885"/>
                        <a:pt x="0" y="885"/>
                      </a:cubicBezTo>
                      <a:cubicBezTo>
                        <a:pt x="0" y="1036"/>
                        <a:pt x="123" y="1159"/>
                        <a:pt x="274" y="1159"/>
                      </a:cubicBezTo>
                      <a:cubicBezTo>
                        <a:pt x="885" y="1159"/>
                        <a:pt x="885" y="1159"/>
                        <a:pt x="885" y="1159"/>
                      </a:cubicBezTo>
                      <a:cubicBezTo>
                        <a:pt x="1036" y="1159"/>
                        <a:pt x="1159" y="1036"/>
                        <a:pt x="1159" y="885"/>
                      </a:cubicBezTo>
                      <a:cubicBezTo>
                        <a:pt x="1159" y="274"/>
                        <a:pt x="1159" y="274"/>
                        <a:pt x="1159" y="274"/>
                      </a:cubicBezTo>
                      <a:cubicBezTo>
                        <a:pt x="1159" y="123"/>
                        <a:pt x="1036" y="0"/>
                        <a:pt x="885" y="0"/>
                      </a:cubicBezTo>
                      <a:close/>
                      <a:moveTo>
                        <a:pt x="867" y="708"/>
                      </a:moveTo>
                      <a:cubicBezTo>
                        <a:pt x="867" y="796"/>
                        <a:pt x="796" y="867"/>
                        <a:pt x="708" y="867"/>
                      </a:cubicBezTo>
                      <a:cubicBezTo>
                        <a:pt x="451" y="867"/>
                        <a:pt x="451" y="867"/>
                        <a:pt x="451" y="867"/>
                      </a:cubicBezTo>
                      <a:cubicBezTo>
                        <a:pt x="363" y="867"/>
                        <a:pt x="292" y="796"/>
                        <a:pt x="292" y="708"/>
                      </a:cubicBezTo>
                      <a:cubicBezTo>
                        <a:pt x="292" y="451"/>
                        <a:pt x="292" y="451"/>
                        <a:pt x="292" y="451"/>
                      </a:cubicBezTo>
                      <a:cubicBezTo>
                        <a:pt x="292" y="363"/>
                        <a:pt x="363" y="292"/>
                        <a:pt x="451" y="292"/>
                      </a:cubicBezTo>
                      <a:cubicBezTo>
                        <a:pt x="708" y="292"/>
                        <a:pt x="708" y="292"/>
                        <a:pt x="708" y="292"/>
                      </a:cubicBezTo>
                      <a:cubicBezTo>
                        <a:pt x="796" y="292"/>
                        <a:pt x="867" y="363"/>
                        <a:pt x="867" y="451"/>
                      </a:cubicBezTo>
                      <a:lnTo>
                        <a:pt x="867" y="70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</p:grpSp>
          <p:sp>
            <p:nvSpPr>
              <p:cNvPr id="14" name="TextBox 13"/>
              <p:cNvSpPr txBox="1"/>
              <p:nvPr/>
            </p:nvSpPr>
            <p:spPr>
              <a:xfrm>
                <a:off x="1158491" y="2196980"/>
                <a:ext cx="1209979" cy="4514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dirty="0">
                    <a:solidFill>
                      <a:srgbClr val="676767"/>
                    </a:solidFill>
                    <a:ea typeface="ＭＳ Ｐゴシック" charset="0"/>
                    <a:cs typeface="Arial Narrow"/>
                  </a:rPr>
                  <a:t>Autonomous Access Point</a:t>
                </a:r>
              </a:p>
            </p:txBody>
          </p:sp>
        </p:grpSp>
        <p:cxnSp>
          <p:nvCxnSpPr>
            <p:cNvPr id="11" name="Straight Connector 10"/>
            <p:cNvCxnSpPr>
              <a:stCxn id="12" idx="4"/>
            </p:cNvCxnSpPr>
            <p:nvPr/>
          </p:nvCxnSpPr>
          <p:spPr>
            <a:xfrm>
              <a:off x="2274039" y="4041019"/>
              <a:ext cx="36" cy="158511"/>
            </a:xfrm>
            <a:prstGeom prst="line">
              <a:avLst/>
            </a:prstGeom>
            <a:ln w="9525" cmpd="sng">
              <a:solidFill>
                <a:srgbClr val="2968AF"/>
              </a:solidFill>
              <a:tailEnd type="oval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/>
          <p:cNvGrpSpPr/>
          <p:nvPr/>
        </p:nvGrpSpPr>
        <p:grpSpPr>
          <a:xfrm>
            <a:off x="1991560" y="1922292"/>
            <a:ext cx="907721" cy="1227366"/>
            <a:chOff x="2955126" y="2563045"/>
            <a:chExt cx="1209979" cy="1636485"/>
          </a:xfrm>
        </p:grpSpPr>
        <p:grpSp>
          <p:nvGrpSpPr>
            <p:cNvPr id="18" name="Group 17"/>
            <p:cNvGrpSpPr/>
            <p:nvPr/>
          </p:nvGrpSpPr>
          <p:grpSpPr>
            <a:xfrm>
              <a:off x="2955126" y="2563045"/>
              <a:ext cx="1209979" cy="1306354"/>
              <a:chOff x="2469371" y="1926464"/>
              <a:chExt cx="1209979" cy="1306354"/>
            </a:xfrm>
          </p:grpSpPr>
          <p:sp>
            <p:nvSpPr>
              <p:cNvPr id="20" name="Oval 19"/>
              <p:cNvSpPr/>
              <p:nvPr/>
            </p:nvSpPr>
            <p:spPr bwMode="auto">
              <a:xfrm flipH="1">
                <a:off x="2817765" y="2728234"/>
                <a:ext cx="504584" cy="504584"/>
              </a:xfrm>
              <a:prstGeom prst="ellipse">
                <a:avLst/>
              </a:prstGeom>
              <a:gradFill rotWithShape="0">
                <a:gsLst>
                  <a:gs pos="0">
                    <a:srgbClr val="5C6A76"/>
                  </a:gs>
                  <a:gs pos="100000">
                    <a:srgbClr val="121517"/>
                  </a:gs>
                </a:gsLst>
                <a:lin ang="5400000" scaled="1"/>
              </a:gradFill>
              <a:ln w="19050" cap="flat">
                <a:gradFill>
                  <a:gsLst>
                    <a:gs pos="0">
                      <a:srgbClr val="0183B7">
                        <a:lumMod val="20000"/>
                        <a:lumOff val="80000"/>
                      </a:srgbClr>
                    </a:gs>
                    <a:gs pos="100000">
                      <a:srgbClr val="0183B7">
                        <a:lumMod val="20000"/>
                        <a:lumOff val="80000"/>
                        <a:alpha val="39000"/>
                      </a:srgbClr>
                    </a:gs>
                  </a:gsLst>
                  <a:lin ang="5400000" scaled="0"/>
                </a:gradFill>
                <a:round/>
                <a:headEnd type="none" w="med" len="med"/>
                <a:tailEnd type="none" w="med" len="med"/>
              </a:ln>
              <a:effectLst>
                <a:outerShdw blurRad="241300" algn="ctr" rotWithShape="0">
                  <a:sysClr val="windowText" lastClr="000000">
                    <a:alpha val="73000"/>
                  </a:sysClr>
                </a:outerShdw>
              </a:effectLst>
            </p:spPr>
            <p:txBody>
              <a:bodyPr lIns="0" tIns="0" rIns="0" bIns="0"/>
              <a:lstStyle/>
              <a:p>
                <a:pPr>
                  <a:lnSpc>
                    <a:spcPct val="90000"/>
                  </a:lnSpc>
                </a:pPr>
                <a:endParaRPr lang="en-US" sz="1200" dirty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pic>
            <p:nvPicPr>
              <p:cNvPr id="21" name="Picture 20" descr="whiteparts.ai"/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2859685" y="2849222"/>
                <a:ext cx="419965" cy="254834"/>
              </a:xfrm>
              <a:prstGeom prst="rect">
                <a:avLst/>
              </a:prstGeom>
            </p:spPr>
          </p:pic>
          <p:sp>
            <p:nvSpPr>
              <p:cNvPr id="22" name="TextBox 21"/>
              <p:cNvSpPr txBox="1"/>
              <p:nvPr/>
            </p:nvSpPr>
            <p:spPr>
              <a:xfrm>
                <a:off x="2469371" y="1926464"/>
                <a:ext cx="1209979" cy="7796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dirty="0">
                    <a:solidFill>
                      <a:srgbClr val="676767"/>
                    </a:solidFill>
                    <a:ea typeface="ＭＳ Ｐゴシック" charset="0"/>
                    <a:cs typeface="Arial Narrow"/>
                  </a:rPr>
                  <a:t>Controller  Coordinated Access Points with RRM</a:t>
                </a:r>
              </a:p>
            </p:txBody>
          </p:sp>
        </p:grpSp>
        <p:cxnSp>
          <p:nvCxnSpPr>
            <p:cNvPr id="19" name="Straight Connector 18"/>
            <p:cNvCxnSpPr>
              <a:stCxn id="20" idx="4"/>
            </p:cNvCxnSpPr>
            <p:nvPr/>
          </p:nvCxnSpPr>
          <p:spPr>
            <a:xfrm flipH="1">
              <a:off x="3552705" y="3869399"/>
              <a:ext cx="3107" cy="330131"/>
            </a:xfrm>
            <a:prstGeom prst="line">
              <a:avLst/>
            </a:prstGeom>
            <a:ln w="9525" cmpd="sng">
              <a:solidFill>
                <a:srgbClr val="2968AF"/>
              </a:solidFill>
              <a:tailEnd type="oval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oup 22"/>
          <p:cNvGrpSpPr/>
          <p:nvPr/>
        </p:nvGrpSpPr>
        <p:grpSpPr>
          <a:xfrm>
            <a:off x="2953139" y="1882187"/>
            <a:ext cx="1026588" cy="1267443"/>
            <a:chOff x="4236901" y="2509600"/>
            <a:chExt cx="1368428" cy="1689930"/>
          </a:xfrm>
        </p:grpSpPr>
        <p:grpSp>
          <p:nvGrpSpPr>
            <p:cNvPr id="24" name="Group 23"/>
            <p:cNvGrpSpPr/>
            <p:nvPr/>
          </p:nvGrpSpPr>
          <p:grpSpPr>
            <a:xfrm>
              <a:off x="4236901" y="2509600"/>
              <a:ext cx="1368428" cy="1188179"/>
              <a:chOff x="3599212" y="2042589"/>
              <a:chExt cx="1368428" cy="1188179"/>
            </a:xfrm>
          </p:grpSpPr>
          <p:sp>
            <p:nvSpPr>
              <p:cNvPr id="26" name="Oval 25"/>
              <p:cNvSpPr/>
              <p:nvPr/>
            </p:nvSpPr>
            <p:spPr bwMode="auto">
              <a:xfrm flipH="1">
                <a:off x="3991350" y="2726184"/>
                <a:ext cx="504584" cy="504584"/>
              </a:xfrm>
              <a:prstGeom prst="ellipse">
                <a:avLst/>
              </a:prstGeom>
              <a:gradFill rotWithShape="0">
                <a:gsLst>
                  <a:gs pos="0">
                    <a:srgbClr val="5C6A76"/>
                  </a:gs>
                  <a:gs pos="100000">
                    <a:srgbClr val="121517"/>
                  </a:gs>
                </a:gsLst>
                <a:lin ang="5400000" scaled="1"/>
              </a:gradFill>
              <a:ln w="19050" cap="flat">
                <a:gradFill>
                  <a:gsLst>
                    <a:gs pos="0">
                      <a:srgbClr val="0183B7">
                        <a:lumMod val="20000"/>
                        <a:lumOff val="80000"/>
                      </a:srgbClr>
                    </a:gs>
                    <a:gs pos="100000">
                      <a:srgbClr val="0183B7">
                        <a:lumMod val="20000"/>
                        <a:lumOff val="80000"/>
                        <a:alpha val="39000"/>
                      </a:srgbClr>
                    </a:gs>
                  </a:gsLst>
                  <a:lin ang="5400000" scaled="0"/>
                </a:gradFill>
                <a:round/>
                <a:headEnd type="none" w="med" len="med"/>
                <a:tailEnd type="none" w="med" len="med"/>
              </a:ln>
              <a:effectLst>
                <a:outerShdw blurRad="241300" algn="ctr" rotWithShape="0">
                  <a:sysClr val="windowText" lastClr="000000">
                    <a:alpha val="73000"/>
                  </a:sysClr>
                </a:outerShdw>
              </a:effectLst>
            </p:spPr>
            <p:txBody>
              <a:bodyPr lIns="0" tIns="0" rIns="0" bIns="0"/>
              <a:lstStyle/>
              <a:p>
                <a:pPr>
                  <a:lnSpc>
                    <a:spcPct val="90000"/>
                  </a:lnSpc>
                </a:pPr>
                <a:endParaRPr lang="en-US" sz="1200" dirty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grpSp>
            <p:nvGrpSpPr>
              <p:cNvPr id="27" name="Group 26"/>
              <p:cNvGrpSpPr/>
              <p:nvPr/>
            </p:nvGrpSpPr>
            <p:grpSpPr>
              <a:xfrm>
                <a:off x="4008234" y="2765246"/>
                <a:ext cx="469136" cy="448056"/>
                <a:chOff x="6119081" y="2449936"/>
                <a:chExt cx="469136" cy="448056"/>
              </a:xfrm>
            </p:grpSpPr>
            <p:sp>
              <p:nvSpPr>
                <p:cNvPr id="29" name="Oval 28"/>
                <p:cNvSpPr/>
                <p:nvPr/>
              </p:nvSpPr>
              <p:spPr>
                <a:xfrm>
                  <a:off x="6323041" y="2631061"/>
                  <a:ext cx="82296" cy="85806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ffectLst>
                  <a:outerShdw blurRad="76200" dist="50800" dir="5400000" algn="ctr" rotWithShape="0">
                    <a:srgbClr val="000000">
                      <a:alpha val="27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0" name="Oval 29"/>
                <p:cNvSpPr>
                  <a:spLocks/>
                </p:cNvSpPr>
                <p:nvPr/>
              </p:nvSpPr>
              <p:spPr>
                <a:xfrm>
                  <a:off x="6277321" y="2587096"/>
                  <a:ext cx="173736" cy="173736"/>
                </a:xfrm>
                <a:prstGeom prst="ellipse">
                  <a:avLst/>
                </a:prstGeom>
                <a:noFill/>
                <a:ln w="6350" cmpd="sng">
                  <a:solidFill>
                    <a:srgbClr val="FFFFFF"/>
                  </a:solidFill>
                </a:ln>
                <a:effectLst>
                  <a:outerShdw blurRad="76200" dist="50800" dir="5400000" algn="ctr" rotWithShape="0">
                    <a:srgbClr val="000000">
                      <a:alpha val="27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1" name="Oval 30"/>
                <p:cNvSpPr>
                  <a:spLocks noChangeAspect="1"/>
                </p:cNvSpPr>
                <p:nvPr/>
              </p:nvSpPr>
              <p:spPr>
                <a:xfrm>
                  <a:off x="6231601" y="2541376"/>
                  <a:ext cx="265176" cy="265176"/>
                </a:xfrm>
                <a:prstGeom prst="ellipse">
                  <a:avLst/>
                </a:prstGeom>
                <a:noFill/>
                <a:ln w="6350" cmpd="sng">
                  <a:solidFill>
                    <a:srgbClr val="FFFFFF"/>
                  </a:solidFill>
                </a:ln>
                <a:effectLst>
                  <a:outerShdw blurRad="76200" dist="50800" dir="5400000" algn="ctr" rotWithShape="0">
                    <a:srgbClr val="000000">
                      <a:alpha val="27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2" name="Oval 31"/>
                <p:cNvSpPr>
                  <a:spLocks noChangeAspect="1"/>
                </p:cNvSpPr>
                <p:nvPr/>
              </p:nvSpPr>
              <p:spPr>
                <a:xfrm>
                  <a:off x="6185881" y="2495656"/>
                  <a:ext cx="356616" cy="356616"/>
                </a:xfrm>
                <a:prstGeom prst="ellipse">
                  <a:avLst/>
                </a:prstGeom>
                <a:noFill/>
                <a:ln w="6350" cmpd="sng">
                  <a:solidFill>
                    <a:srgbClr val="FFFFFF"/>
                  </a:solidFill>
                </a:ln>
                <a:effectLst>
                  <a:outerShdw blurRad="76200" dist="50800" dir="5400000" algn="ctr" rotWithShape="0">
                    <a:srgbClr val="000000">
                      <a:alpha val="27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33" name="Oval 32"/>
                <p:cNvSpPr>
                  <a:spLocks noChangeAspect="1"/>
                </p:cNvSpPr>
                <p:nvPr/>
              </p:nvSpPr>
              <p:spPr>
                <a:xfrm>
                  <a:off x="6140161" y="2449936"/>
                  <a:ext cx="448056" cy="448056"/>
                </a:xfrm>
                <a:prstGeom prst="ellipse">
                  <a:avLst/>
                </a:prstGeom>
                <a:noFill/>
                <a:ln w="6350" cmpd="sng">
                  <a:solidFill>
                    <a:srgbClr val="FFFFFF"/>
                  </a:solidFill>
                </a:ln>
                <a:effectLst>
                  <a:outerShdw blurRad="76200" dist="50800" dir="5400000" algn="ctr" rotWithShape="0">
                    <a:srgbClr val="000000">
                      <a:alpha val="27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solidFill>
                      <a:srgbClr val="FFFFFF"/>
                    </a:solidFill>
                  </a:endParaRPr>
                </a:p>
              </p:txBody>
            </p:sp>
            <p:cxnSp>
              <p:nvCxnSpPr>
                <p:cNvPr id="34" name="Straight Connector 33"/>
                <p:cNvCxnSpPr/>
                <p:nvPr/>
              </p:nvCxnSpPr>
              <p:spPr>
                <a:xfrm flipV="1">
                  <a:off x="6201060" y="2668549"/>
                  <a:ext cx="174930" cy="166370"/>
                </a:xfrm>
                <a:prstGeom prst="line">
                  <a:avLst/>
                </a:prstGeom>
                <a:ln w="6350" cmpd="sng">
                  <a:solidFill>
                    <a:srgbClr val="FFFFFF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5" name="Right Triangle 17"/>
                <p:cNvSpPr/>
                <p:nvPr/>
              </p:nvSpPr>
              <p:spPr>
                <a:xfrm rot="19133833">
                  <a:off x="6119081" y="2602712"/>
                  <a:ext cx="249933" cy="168174"/>
                </a:xfrm>
                <a:custGeom>
                  <a:avLst/>
                  <a:gdLst>
                    <a:gd name="connsiteX0" fmla="*/ 0 w 249933"/>
                    <a:gd name="connsiteY0" fmla="*/ 130763 h 130763"/>
                    <a:gd name="connsiteX1" fmla="*/ 0 w 249933"/>
                    <a:gd name="connsiteY1" fmla="*/ 0 h 130763"/>
                    <a:gd name="connsiteX2" fmla="*/ 249933 w 249933"/>
                    <a:gd name="connsiteY2" fmla="*/ 130763 h 130763"/>
                    <a:gd name="connsiteX3" fmla="*/ 0 w 249933"/>
                    <a:gd name="connsiteY3" fmla="*/ 130763 h 130763"/>
                    <a:gd name="connsiteX0" fmla="*/ 0 w 249933"/>
                    <a:gd name="connsiteY0" fmla="*/ 125722 h 125722"/>
                    <a:gd name="connsiteX1" fmla="*/ 25097 w 249933"/>
                    <a:gd name="connsiteY1" fmla="*/ 0 h 125722"/>
                    <a:gd name="connsiteX2" fmla="*/ 249933 w 249933"/>
                    <a:gd name="connsiteY2" fmla="*/ 125722 h 125722"/>
                    <a:gd name="connsiteX3" fmla="*/ 0 w 249933"/>
                    <a:gd name="connsiteY3" fmla="*/ 125722 h 125722"/>
                    <a:gd name="connsiteX0" fmla="*/ 0 w 249933"/>
                    <a:gd name="connsiteY0" fmla="*/ 112385 h 112385"/>
                    <a:gd name="connsiteX1" fmla="*/ 62462 w 249933"/>
                    <a:gd name="connsiteY1" fmla="*/ 0 h 112385"/>
                    <a:gd name="connsiteX2" fmla="*/ 249933 w 249933"/>
                    <a:gd name="connsiteY2" fmla="*/ 112385 h 112385"/>
                    <a:gd name="connsiteX3" fmla="*/ 0 w 249933"/>
                    <a:gd name="connsiteY3" fmla="*/ 112385 h 112385"/>
                    <a:gd name="connsiteX0" fmla="*/ 0 w 249933"/>
                    <a:gd name="connsiteY0" fmla="*/ 112385 h 112385"/>
                    <a:gd name="connsiteX1" fmla="*/ 62462 w 249933"/>
                    <a:gd name="connsiteY1" fmla="*/ 0 h 112385"/>
                    <a:gd name="connsiteX2" fmla="*/ 249933 w 249933"/>
                    <a:gd name="connsiteY2" fmla="*/ 112385 h 112385"/>
                    <a:gd name="connsiteX3" fmla="*/ 0 w 249933"/>
                    <a:gd name="connsiteY3" fmla="*/ 112385 h 112385"/>
                    <a:gd name="connsiteX0" fmla="*/ 0 w 249933"/>
                    <a:gd name="connsiteY0" fmla="*/ 112385 h 112385"/>
                    <a:gd name="connsiteX1" fmla="*/ 62462 w 249933"/>
                    <a:gd name="connsiteY1" fmla="*/ 0 h 112385"/>
                    <a:gd name="connsiteX2" fmla="*/ 249933 w 249933"/>
                    <a:gd name="connsiteY2" fmla="*/ 112385 h 112385"/>
                    <a:gd name="connsiteX3" fmla="*/ 0 w 249933"/>
                    <a:gd name="connsiteY3" fmla="*/ 112385 h 1123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9933" h="112385">
                      <a:moveTo>
                        <a:pt x="0" y="112385"/>
                      </a:moveTo>
                      <a:cubicBezTo>
                        <a:pt x="20821" y="74923"/>
                        <a:pt x="-10333" y="35317"/>
                        <a:pt x="62462" y="0"/>
                      </a:cubicBezTo>
                      <a:lnTo>
                        <a:pt x="249933" y="112385"/>
                      </a:lnTo>
                      <a:lnTo>
                        <a:pt x="0" y="112385"/>
                      </a:lnTo>
                      <a:close/>
                    </a:path>
                  </a:pathLst>
                </a:custGeom>
                <a:gradFill flip="none" rotWithShape="1">
                  <a:gsLst>
                    <a:gs pos="0">
                      <a:srgbClr val="0096D6">
                        <a:alpha val="0"/>
                      </a:srgbClr>
                    </a:gs>
                    <a:gs pos="100000">
                      <a:srgbClr val="FFFFFF"/>
                    </a:gs>
                    <a:gs pos="50000">
                      <a:schemeClr val="bg1">
                        <a:alpha val="50000"/>
                      </a:schemeClr>
                    </a:gs>
                    <a:gs pos="75000">
                      <a:schemeClr val="bg1">
                        <a:alpha val="50000"/>
                      </a:schemeClr>
                    </a:gs>
                  </a:gsLst>
                  <a:lin ang="4140000" scaled="0"/>
                  <a:tileRect/>
                </a:gradFill>
                <a:ln>
                  <a:noFill/>
                </a:ln>
                <a:effectLst>
                  <a:outerShdw blurRad="76200" dist="50800" dir="5400000" algn="ctr" rotWithShape="0">
                    <a:srgbClr val="000000">
                      <a:alpha val="27000"/>
                    </a:srgb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8" name="TextBox 27"/>
              <p:cNvSpPr txBox="1"/>
              <p:nvPr/>
            </p:nvSpPr>
            <p:spPr>
              <a:xfrm>
                <a:off x="3599212" y="2042589"/>
                <a:ext cx="1368428" cy="61555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800" dirty="0">
                    <a:solidFill>
                      <a:srgbClr val="676767"/>
                    </a:solidFill>
                    <a:ea typeface="ＭＳ Ｐゴシック" charset="0"/>
                    <a:cs typeface="Arial Narrow"/>
                  </a:rPr>
                  <a:t>1,2, and 3 Spatial Stream 802.11n with CleanAir</a:t>
                </a:r>
              </a:p>
            </p:txBody>
          </p:sp>
        </p:grpSp>
        <p:cxnSp>
          <p:nvCxnSpPr>
            <p:cNvPr id="25" name="Straight Connector 24"/>
            <p:cNvCxnSpPr>
              <a:stCxn id="26" idx="4"/>
            </p:cNvCxnSpPr>
            <p:nvPr/>
          </p:nvCxnSpPr>
          <p:spPr>
            <a:xfrm flipH="1">
              <a:off x="4874243" y="3697779"/>
              <a:ext cx="7088" cy="501751"/>
            </a:xfrm>
            <a:prstGeom prst="line">
              <a:avLst/>
            </a:prstGeom>
            <a:ln w="9525" cmpd="sng">
              <a:solidFill>
                <a:srgbClr val="2968AF"/>
              </a:solidFill>
              <a:tailEnd type="oval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oup 35"/>
          <p:cNvGrpSpPr/>
          <p:nvPr/>
        </p:nvGrpSpPr>
        <p:grpSpPr>
          <a:xfrm>
            <a:off x="3979730" y="1720789"/>
            <a:ext cx="907721" cy="1428863"/>
            <a:chOff x="5605329" y="2294380"/>
            <a:chExt cx="1209979" cy="1905150"/>
          </a:xfrm>
        </p:grpSpPr>
        <p:grpSp>
          <p:nvGrpSpPr>
            <p:cNvPr id="37" name="Group 36"/>
            <p:cNvGrpSpPr/>
            <p:nvPr/>
          </p:nvGrpSpPr>
          <p:grpSpPr>
            <a:xfrm>
              <a:off x="5605329" y="2294380"/>
              <a:ext cx="1209979" cy="1231779"/>
              <a:chOff x="5020281" y="2007570"/>
              <a:chExt cx="1209979" cy="1231779"/>
            </a:xfrm>
          </p:grpSpPr>
          <p:sp>
            <p:nvSpPr>
              <p:cNvPr id="39" name="Oval 38"/>
              <p:cNvSpPr/>
              <p:nvPr/>
            </p:nvSpPr>
            <p:spPr bwMode="auto">
              <a:xfrm flipH="1">
                <a:off x="5368675" y="2734765"/>
                <a:ext cx="504584" cy="504584"/>
              </a:xfrm>
              <a:prstGeom prst="ellipse">
                <a:avLst/>
              </a:prstGeom>
              <a:gradFill rotWithShape="0">
                <a:gsLst>
                  <a:gs pos="0">
                    <a:srgbClr val="5C6A76"/>
                  </a:gs>
                  <a:gs pos="100000">
                    <a:srgbClr val="121517"/>
                  </a:gs>
                </a:gsLst>
                <a:lin ang="5400000" scaled="1"/>
              </a:gradFill>
              <a:ln w="19050" cap="flat">
                <a:gradFill>
                  <a:gsLst>
                    <a:gs pos="0">
                      <a:srgbClr val="0183B7">
                        <a:lumMod val="20000"/>
                        <a:lumOff val="80000"/>
                      </a:srgbClr>
                    </a:gs>
                    <a:gs pos="100000">
                      <a:srgbClr val="0183B7">
                        <a:lumMod val="20000"/>
                        <a:lumOff val="80000"/>
                        <a:alpha val="39000"/>
                      </a:srgbClr>
                    </a:gs>
                  </a:gsLst>
                  <a:lin ang="5400000" scaled="0"/>
                </a:gradFill>
                <a:round/>
                <a:headEnd type="none" w="med" len="med"/>
                <a:tailEnd type="none" w="med" len="med"/>
              </a:ln>
              <a:effectLst>
                <a:outerShdw blurRad="241300" algn="ctr" rotWithShape="0">
                  <a:sysClr val="windowText" lastClr="000000">
                    <a:alpha val="73000"/>
                  </a:sysClr>
                </a:outerShdw>
              </a:effectLst>
            </p:spPr>
            <p:txBody>
              <a:bodyPr lIns="0" tIns="0" rIns="0" bIns="0"/>
              <a:lstStyle/>
              <a:p>
                <a:pPr>
                  <a:lnSpc>
                    <a:spcPct val="90000"/>
                  </a:lnSpc>
                </a:pPr>
                <a:endParaRPr lang="en-US" sz="1200" dirty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40" name="TextBox 39"/>
              <p:cNvSpPr txBox="1"/>
              <p:nvPr/>
            </p:nvSpPr>
            <p:spPr>
              <a:xfrm>
                <a:off x="5020281" y="2007570"/>
                <a:ext cx="1209979" cy="615553"/>
              </a:xfrm>
              <a:prstGeom prst="rect">
                <a:avLst/>
              </a:prstGeom>
              <a:noFill/>
            </p:spPr>
            <p:txBody>
              <a:bodyPr wrap="square" rtlCol="0" anchor="b" anchorCtr="0">
                <a:spAutoFit/>
              </a:bodyPr>
              <a:lstStyle/>
              <a:p>
                <a:pPr algn="ctr"/>
                <a:r>
                  <a:rPr lang="en-US" sz="800" dirty="0">
                    <a:solidFill>
                      <a:srgbClr val="676767"/>
                    </a:solidFill>
                    <a:ea typeface="ＭＳ Ｐゴシック" charset="0"/>
                    <a:cs typeface="Arial Narrow"/>
                  </a:rPr>
                  <a:t>Unified Policy and Network Management</a:t>
                </a:r>
              </a:p>
            </p:txBody>
          </p:sp>
          <p:grpSp>
            <p:nvGrpSpPr>
              <p:cNvPr id="41" name="Group 17"/>
              <p:cNvGrpSpPr/>
              <p:nvPr/>
            </p:nvGrpSpPr>
            <p:grpSpPr>
              <a:xfrm>
                <a:off x="5625235" y="2948827"/>
                <a:ext cx="216120" cy="208813"/>
                <a:chOff x="9746748" y="2875293"/>
                <a:chExt cx="308531" cy="298100"/>
              </a:xfrm>
            </p:grpSpPr>
            <p:sp>
              <p:nvSpPr>
                <p:cNvPr id="67" name="Freeform 18"/>
                <p:cNvSpPr>
                  <a:spLocks noEditPoints="1"/>
                </p:cNvSpPr>
                <p:nvPr/>
              </p:nvSpPr>
              <p:spPr bwMode="auto">
                <a:xfrm>
                  <a:off x="9902918" y="2936338"/>
                  <a:ext cx="90905" cy="87755"/>
                </a:xfrm>
                <a:custGeom>
                  <a:avLst/>
                  <a:gdLst>
                    <a:gd name="T0" fmla="*/ 303 w 303"/>
                    <a:gd name="T1" fmla="*/ 303 h 303"/>
                    <a:gd name="T2" fmla="*/ 0 w 303"/>
                    <a:gd name="T3" fmla="*/ 303 h 303"/>
                    <a:gd name="T4" fmla="*/ 0 w 303"/>
                    <a:gd name="T5" fmla="*/ 0 h 303"/>
                    <a:gd name="T6" fmla="*/ 303 w 303"/>
                    <a:gd name="T7" fmla="*/ 0 h 303"/>
                    <a:gd name="T8" fmla="*/ 303 w 303"/>
                    <a:gd name="T9" fmla="*/ 303 h 303"/>
                    <a:gd name="T10" fmla="*/ 29 w 303"/>
                    <a:gd name="T11" fmla="*/ 274 h 303"/>
                    <a:gd name="T12" fmla="*/ 275 w 303"/>
                    <a:gd name="T13" fmla="*/ 274 h 303"/>
                    <a:gd name="T14" fmla="*/ 275 w 303"/>
                    <a:gd name="T15" fmla="*/ 28 h 303"/>
                    <a:gd name="T16" fmla="*/ 29 w 303"/>
                    <a:gd name="T17" fmla="*/ 28 h 303"/>
                    <a:gd name="T18" fmla="*/ 29 w 303"/>
                    <a:gd name="T19" fmla="*/ 274 h 3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03" h="303">
                      <a:moveTo>
                        <a:pt x="303" y="303"/>
                      </a:moveTo>
                      <a:lnTo>
                        <a:pt x="0" y="303"/>
                      </a:lnTo>
                      <a:lnTo>
                        <a:pt x="0" y="0"/>
                      </a:lnTo>
                      <a:lnTo>
                        <a:pt x="303" y="0"/>
                      </a:lnTo>
                      <a:lnTo>
                        <a:pt x="303" y="303"/>
                      </a:lnTo>
                      <a:close/>
                      <a:moveTo>
                        <a:pt x="29" y="274"/>
                      </a:moveTo>
                      <a:lnTo>
                        <a:pt x="275" y="274"/>
                      </a:lnTo>
                      <a:lnTo>
                        <a:pt x="275" y="28"/>
                      </a:lnTo>
                      <a:lnTo>
                        <a:pt x="29" y="28"/>
                      </a:lnTo>
                      <a:lnTo>
                        <a:pt x="29" y="27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68" name="Freeform 6"/>
                <p:cNvSpPr>
                  <a:spLocks noEditPoints="1"/>
                </p:cNvSpPr>
                <p:nvPr/>
              </p:nvSpPr>
              <p:spPr bwMode="auto">
                <a:xfrm>
                  <a:off x="9746748" y="2875293"/>
                  <a:ext cx="308531" cy="298100"/>
                </a:xfrm>
                <a:custGeom>
                  <a:avLst/>
                  <a:gdLst>
                    <a:gd name="T0" fmla="*/ 319 w 489"/>
                    <a:gd name="T1" fmla="*/ 0 h 489"/>
                    <a:gd name="T2" fmla="*/ 148 w 489"/>
                    <a:gd name="T3" fmla="*/ 170 h 489"/>
                    <a:gd name="T4" fmla="*/ 319 w 489"/>
                    <a:gd name="T5" fmla="*/ 340 h 489"/>
                    <a:gd name="T6" fmla="*/ 489 w 489"/>
                    <a:gd name="T7" fmla="*/ 170 h 489"/>
                    <a:gd name="T8" fmla="*/ 319 w 489"/>
                    <a:gd name="T9" fmla="*/ 0 h 489"/>
                    <a:gd name="T10" fmla="*/ 319 w 489"/>
                    <a:gd name="T11" fmla="*/ 299 h 489"/>
                    <a:gd name="T12" fmla="*/ 190 w 489"/>
                    <a:gd name="T13" fmla="*/ 170 h 489"/>
                    <a:gd name="T14" fmla="*/ 319 w 489"/>
                    <a:gd name="T15" fmla="*/ 41 h 489"/>
                    <a:gd name="T16" fmla="*/ 448 w 489"/>
                    <a:gd name="T17" fmla="*/ 170 h 489"/>
                    <a:gd name="T18" fmla="*/ 319 w 489"/>
                    <a:gd name="T19" fmla="*/ 299 h 489"/>
                    <a:gd name="T20" fmla="*/ 102 w 489"/>
                    <a:gd name="T21" fmla="*/ 322 h 489"/>
                    <a:gd name="T22" fmla="*/ 18 w 489"/>
                    <a:gd name="T23" fmla="*/ 407 h 489"/>
                    <a:gd name="T24" fmla="*/ 18 w 489"/>
                    <a:gd name="T25" fmla="*/ 471 h 489"/>
                    <a:gd name="T26" fmla="*/ 82 w 489"/>
                    <a:gd name="T27" fmla="*/ 471 h 489"/>
                    <a:gd name="T28" fmla="*/ 167 w 489"/>
                    <a:gd name="T29" fmla="*/ 387 h 489"/>
                    <a:gd name="T30" fmla="*/ 167 w 489"/>
                    <a:gd name="T31" fmla="*/ 322 h 489"/>
                    <a:gd name="T32" fmla="*/ 102 w 489"/>
                    <a:gd name="T33" fmla="*/ 322 h 4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89" h="489">
                      <a:moveTo>
                        <a:pt x="319" y="0"/>
                      </a:moveTo>
                      <a:cubicBezTo>
                        <a:pt x="225" y="0"/>
                        <a:pt x="148" y="76"/>
                        <a:pt x="148" y="170"/>
                      </a:cubicBezTo>
                      <a:cubicBezTo>
                        <a:pt x="148" y="264"/>
                        <a:pt x="225" y="340"/>
                        <a:pt x="319" y="340"/>
                      </a:cubicBezTo>
                      <a:cubicBezTo>
                        <a:pt x="413" y="340"/>
                        <a:pt x="489" y="264"/>
                        <a:pt x="489" y="170"/>
                      </a:cubicBezTo>
                      <a:cubicBezTo>
                        <a:pt x="489" y="76"/>
                        <a:pt x="413" y="0"/>
                        <a:pt x="319" y="0"/>
                      </a:cubicBezTo>
                      <a:close/>
                      <a:moveTo>
                        <a:pt x="319" y="299"/>
                      </a:moveTo>
                      <a:cubicBezTo>
                        <a:pt x="248" y="299"/>
                        <a:pt x="190" y="241"/>
                        <a:pt x="190" y="170"/>
                      </a:cubicBezTo>
                      <a:cubicBezTo>
                        <a:pt x="190" y="99"/>
                        <a:pt x="248" y="41"/>
                        <a:pt x="319" y="41"/>
                      </a:cubicBezTo>
                      <a:cubicBezTo>
                        <a:pt x="390" y="41"/>
                        <a:pt x="448" y="99"/>
                        <a:pt x="448" y="170"/>
                      </a:cubicBezTo>
                      <a:cubicBezTo>
                        <a:pt x="448" y="241"/>
                        <a:pt x="390" y="299"/>
                        <a:pt x="319" y="299"/>
                      </a:cubicBezTo>
                      <a:close/>
                      <a:moveTo>
                        <a:pt x="102" y="322"/>
                      </a:moveTo>
                      <a:cubicBezTo>
                        <a:pt x="18" y="407"/>
                        <a:pt x="18" y="407"/>
                        <a:pt x="18" y="407"/>
                      </a:cubicBezTo>
                      <a:cubicBezTo>
                        <a:pt x="0" y="424"/>
                        <a:pt x="0" y="453"/>
                        <a:pt x="18" y="471"/>
                      </a:cubicBezTo>
                      <a:cubicBezTo>
                        <a:pt x="36" y="489"/>
                        <a:pt x="64" y="489"/>
                        <a:pt x="82" y="471"/>
                      </a:cubicBezTo>
                      <a:cubicBezTo>
                        <a:pt x="167" y="387"/>
                        <a:pt x="167" y="387"/>
                        <a:pt x="167" y="387"/>
                      </a:cubicBezTo>
                      <a:cubicBezTo>
                        <a:pt x="184" y="369"/>
                        <a:pt x="184" y="340"/>
                        <a:pt x="167" y="322"/>
                      </a:cubicBezTo>
                      <a:cubicBezTo>
                        <a:pt x="149" y="305"/>
                        <a:pt x="120" y="305"/>
                        <a:pt x="102" y="322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</p:grpSp>
          <p:grpSp>
            <p:nvGrpSpPr>
              <p:cNvPr id="42" name="Group 63"/>
              <p:cNvGrpSpPr/>
              <p:nvPr/>
            </p:nvGrpSpPr>
            <p:grpSpPr>
              <a:xfrm>
                <a:off x="5443691" y="2810490"/>
                <a:ext cx="192543" cy="269926"/>
                <a:chOff x="543004" y="6860135"/>
                <a:chExt cx="382845" cy="548004"/>
              </a:xfrm>
              <a:solidFill>
                <a:srgbClr val="FFFFFF"/>
              </a:solidFill>
              <a:effectLst/>
            </p:grpSpPr>
            <p:sp>
              <p:nvSpPr>
                <p:cNvPr id="43" name="Freeform 75"/>
                <p:cNvSpPr>
                  <a:spLocks/>
                </p:cNvSpPr>
                <p:nvPr/>
              </p:nvSpPr>
              <p:spPr bwMode="auto">
                <a:xfrm>
                  <a:off x="710655" y="6868471"/>
                  <a:ext cx="41705" cy="19184"/>
                </a:xfrm>
                <a:custGeom>
                  <a:avLst/>
                  <a:gdLst>
                    <a:gd name="T0" fmla="*/ 6 w 21"/>
                    <a:gd name="T1" fmla="*/ 0 h 10"/>
                    <a:gd name="T2" fmla="*/ 13 w 21"/>
                    <a:gd name="T3" fmla="*/ 0 h 10"/>
                    <a:gd name="T4" fmla="*/ 0 w 21"/>
                    <a:gd name="T5" fmla="*/ 4 h 10"/>
                    <a:gd name="T6" fmla="*/ 6 w 21"/>
                    <a:gd name="T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" h="10">
                      <a:moveTo>
                        <a:pt x="6" y="0"/>
                      </a:moveTo>
                      <a:cubicBezTo>
                        <a:pt x="8" y="0"/>
                        <a:pt x="10" y="0"/>
                        <a:pt x="13" y="0"/>
                      </a:cubicBezTo>
                      <a:cubicBezTo>
                        <a:pt x="21" y="6"/>
                        <a:pt x="2" y="10"/>
                        <a:pt x="0" y="4"/>
                      </a:cubicBezTo>
                      <a:cubicBezTo>
                        <a:pt x="0" y="1"/>
                        <a:pt x="4" y="2"/>
                        <a:pt x="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>
                  <a:outerShdw blurRad="63500" sx="102000" sy="102000" algn="ctr" rotWithShape="0">
                    <a:srgbClr val="702D89">
                      <a:alpha val="60000"/>
                    </a:srgbClr>
                  </a:outerShdw>
                </a:effectLst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44" name="Freeform 76"/>
                <p:cNvSpPr>
                  <a:spLocks/>
                </p:cNvSpPr>
                <p:nvPr/>
              </p:nvSpPr>
              <p:spPr bwMode="auto">
                <a:xfrm>
                  <a:off x="651436" y="6860135"/>
                  <a:ext cx="196010" cy="75067"/>
                </a:xfrm>
                <a:custGeom>
                  <a:avLst/>
                  <a:gdLst>
                    <a:gd name="T0" fmla="*/ 67 w 99"/>
                    <a:gd name="T1" fmla="*/ 14 h 38"/>
                    <a:gd name="T2" fmla="*/ 55 w 99"/>
                    <a:gd name="T3" fmla="*/ 15 h 38"/>
                    <a:gd name="T4" fmla="*/ 81 w 99"/>
                    <a:gd name="T5" fmla="*/ 23 h 38"/>
                    <a:gd name="T6" fmla="*/ 99 w 99"/>
                    <a:gd name="T7" fmla="*/ 38 h 38"/>
                    <a:gd name="T8" fmla="*/ 77 w 99"/>
                    <a:gd name="T9" fmla="*/ 28 h 38"/>
                    <a:gd name="T10" fmla="*/ 36 w 99"/>
                    <a:gd name="T11" fmla="*/ 23 h 38"/>
                    <a:gd name="T12" fmla="*/ 22 w 99"/>
                    <a:gd name="T13" fmla="*/ 20 h 38"/>
                    <a:gd name="T14" fmla="*/ 0 w 99"/>
                    <a:gd name="T15" fmla="*/ 24 h 38"/>
                    <a:gd name="T16" fmla="*/ 40 w 99"/>
                    <a:gd name="T17" fmla="*/ 13 h 38"/>
                    <a:gd name="T18" fmla="*/ 67 w 99"/>
                    <a:gd name="T19" fmla="*/ 14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9" h="38">
                      <a:moveTo>
                        <a:pt x="67" y="14"/>
                      </a:moveTo>
                      <a:cubicBezTo>
                        <a:pt x="62" y="14"/>
                        <a:pt x="59" y="12"/>
                        <a:pt x="55" y="15"/>
                      </a:cubicBezTo>
                      <a:cubicBezTo>
                        <a:pt x="62" y="19"/>
                        <a:pt x="72" y="19"/>
                        <a:pt x="81" y="23"/>
                      </a:cubicBezTo>
                      <a:cubicBezTo>
                        <a:pt x="88" y="26"/>
                        <a:pt x="98" y="28"/>
                        <a:pt x="99" y="38"/>
                      </a:cubicBezTo>
                      <a:cubicBezTo>
                        <a:pt x="91" y="36"/>
                        <a:pt x="85" y="31"/>
                        <a:pt x="77" y="28"/>
                      </a:cubicBezTo>
                      <a:cubicBezTo>
                        <a:pt x="64" y="24"/>
                        <a:pt x="53" y="25"/>
                        <a:pt x="36" y="23"/>
                      </a:cubicBezTo>
                      <a:cubicBezTo>
                        <a:pt x="31" y="23"/>
                        <a:pt x="27" y="20"/>
                        <a:pt x="22" y="20"/>
                      </a:cubicBezTo>
                      <a:cubicBezTo>
                        <a:pt x="14" y="21"/>
                        <a:pt x="7" y="28"/>
                        <a:pt x="0" y="24"/>
                      </a:cubicBezTo>
                      <a:cubicBezTo>
                        <a:pt x="3" y="9"/>
                        <a:pt x="25" y="15"/>
                        <a:pt x="40" y="13"/>
                      </a:cubicBezTo>
                      <a:cubicBezTo>
                        <a:pt x="49" y="12"/>
                        <a:pt x="64" y="0"/>
                        <a:pt x="67" y="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45" name="Freeform 77"/>
                <p:cNvSpPr>
                  <a:spLocks/>
                </p:cNvSpPr>
                <p:nvPr/>
              </p:nvSpPr>
              <p:spPr bwMode="auto">
                <a:xfrm>
                  <a:off x="794063" y="6877650"/>
                  <a:ext cx="29192" cy="25855"/>
                </a:xfrm>
                <a:custGeom>
                  <a:avLst/>
                  <a:gdLst>
                    <a:gd name="T0" fmla="*/ 14 w 15"/>
                    <a:gd name="T1" fmla="*/ 12 h 13"/>
                    <a:gd name="T2" fmla="*/ 0 w 15"/>
                    <a:gd name="T3" fmla="*/ 7 h 13"/>
                    <a:gd name="T4" fmla="*/ 14 w 15"/>
                    <a:gd name="T5" fmla="*/ 12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5" h="13">
                      <a:moveTo>
                        <a:pt x="14" y="12"/>
                      </a:moveTo>
                      <a:cubicBezTo>
                        <a:pt x="9" y="13"/>
                        <a:pt x="3" y="10"/>
                        <a:pt x="0" y="7"/>
                      </a:cubicBezTo>
                      <a:cubicBezTo>
                        <a:pt x="1" y="0"/>
                        <a:pt x="15" y="5"/>
                        <a:pt x="1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46" name="Freeform 78"/>
                <p:cNvSpPr>
                  <a:spLocks/>
                </p:cNvSpPr>
                <p:nvPr/>
              </p:nvSpPr>
              <p:spPr bwMode="auto">
                <a:xfrm>
                  <a:off x="586377" y="6905174"/>
                  <a:ext cx="321957" cy="154304"/>
                </a:xfrm>
                <a:custGeom>
                  <a:avLst/>
                  <a:gdLst>
                    <a:gd name="T0" fmla="*/ 160 w 163"/>
                    <a:gd name="T1" fmla="*/ 78 h 78"/>
                    <a:gd name="T2" fmla="*/ 149 w 163"/>
                    <a:gd name="T3" fmla="*/ 60 h 78"/>
                    <a:gd name="T4" fmla="*/ 136 w 163"/>
                    <a:gd name="T5" fmla="*/ 45 h 78"/>
                    <a:gd name="T6" fmla="*/ 134 w 163"/>
                    <a:gd name="T7" fmla="*/ 33 h 78"/>
                    <a:gd name="T8" fmla="*/ 88 w 163"/>
                    <a:gd name="T9" fmla="*/ 12 h 78"/>
                    <a:gd name="T10" fmla="*/ 53 w 163"/>
                    <a:gd name="T11" fmla="*/ 8 h 78"/>
                    <a:gd name="T12" fmla="*/ 86 w 163"/>
                    <a:gd name="T13" fmla="*/ 15 h 78"/>
                    <a:gd name="T14" fmla="*/ 130 w 163"/>
                    <a:gd name="T15" fmla="*/ 40 h 78"/>
                    <a:gd name="T16" fmla="*/ 85 w 163"/>
                    <a:gd name="T17" fmla="*/ 22 h 78"/>
                    <a:gd name="T18" fmla="*/ 65 w 163"/>
                    <a:gd name="T19" fmla="*/ 22 h 78"/>
                    <a:gd name="T20" fmla="*/ 49 w 163"/>
                    <a:gd name="T21" fmla="*/ 17 h 78"/>
                    <a:gd name="T22" fmla="*/ 1 w 163"/>
                    <a:gd name="T23" fmla="*/ 39 h 78"/>
                    <a:gd name="T24" fmla="*/ 18 w 163"/>
                    <a:gd name="T25" fmla="*/ 24 h 78"/>
                    <a:gd name="T26" fmla="*/ 45 w 163"/>
                    <a:gd name="T27" fmla="*/ 5 h 78"/>
                    <a:gd name="T28" fmla="*/ 69 w 163"/>
                    <a:gd name="T29" fmla="*/ 5 h 78"/>
                    <a:gd name="T30" fmla="*/ 90 w 163"/>
                    <a:gd name="T31" fmla="*/ 5 h 78"/>
                    <a:gd name="T32" fmla="*/ 140 w 163"/>
                    <a:gd name="T33" fmla="*/ 27 h 78"/>
                    <a:gd name="T34" fmla="*/ 144 w 163"/>
                    <a:gd name="T35" fmla="*/ 41 h 78"/>
                    <a:gd name="T36" fmla="*/ 152 w 163"/>
                    <a:gd name="T37" fmla="*/ 50 h 78"/>
                    <a:gd name="T38" fmla="*/ 160 w 163"/>
                    <a:gd name="T39" fmla="*/ 78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63" h="78">
                      <a:moveTo>
                        <a:pt x="160" y="78"/>
                      </a:moveTo>
                      <a:cubicBezTo>
                        <a:pt x="155" y="73"/>
                        <a:pt x="153" y="67"/>
                        <a:pt x="149" y="60"/>
                      </a:cubicBezTo>
                      <a:cubicBezTo>
                        <a:pt x="145" y="55"/>
                        <a:pt x="138" y="50"/>
                        <a:pt x="136" y="45"/>
                      </a:cubicBezTo>
                      <a:cubicBezTo>
                        <a:pt x="135" y="41"/>
                        <a:pt x="136" y="37"/>
                        <a:pt x="134" y="33"/>
                      </a:cubicBezTo>
                      <a:cubicBezTo>
                        <a:pt x="129" y="22"/>
                        <a:pt x="105" y="13"/>
                        <a:pt x="88" y="12"/>
                      </a:cubicBezTo>
                      <a:cubicBezTo>
                        <a:pt x="74" y="11"/>
                        <a:pt x="65" y="11"/>
                        <a:pt x="53" y="8"/>
                      </a:cubicBezTo>
                      <a:cubicBezTo>
                        <a:pt x="58" y="17"/>
                        <a:pt x="73" y="15"/>
                        <a:pt x="86" y="15"/>
                      </a:cubicBezTo>
                      <a:cubicBezTo>
                        <a:pt x="106" y="17"/>
                        <a:pt x="128" y="24"/>
                        <a:pt x="130" y="40"/>
                      </a:cubicBezTo>
                      <a:cubicBezTo>
                        <a:pt x="116" y="33"/>
                        <a:pt x="103" y="23"/>
                        <a:pt x="85" y="22"/>
                      </a:cubicBezTo>
                      <a:cubicBezTo>
                        <a:pt x="78" y="21"/>
                        <a:pt x="72" y="23"/>
                        <a:pt x="65" y="22"/>
                      </a:cubicBezTo>
                      <a:cubicBezTo>
                        <a:pt x="60" y="21"/>
                        <a:pt x="55" y="17"/>
                        <a:pt x="49" y="17"/>
                      </a:cubicBezTo>
                      <a:cubicBezTo>
                        <a:pt x="30" y="15"/>
                        <a:pt x="20" y="39"/>
                        <a:pt x="1" y="39"/>
                      </a:cubicBezTo>
                      <a:cubicBezTo>
                        <a:pt x="0" y="30"/>
                        <a:pt x="12" y="28"/>
                        <a:pt x="18" y="24"/>
                      </a:cubicBezTo>
                      <a:cubicBezTo>
                        <a:pt x="26" y="19"/>
                        <a:pt x="36" y="10"/>
                        <a:pt x="45" y="5"/>
                      </a:cubicBezTo>
                      <a:cubicBezTo>
                        <a:pt x="52" y="0"/>
                        <a:pt x="61" y="3"/>
                        <a:pt x="69" y="5"/>
                      </a:cubicBezTo>
                      <a:cubicBezTo>
                        <a:pt x="76" y="6"/>
                        <a:pt x="83" y="5"/>
                        <a:pt x="90" y="5"/>
                      </a:cubicBezTo>
                      <a:cubicBezTo>
                        <a:pt x="106" y="6"/>
                        <a:pt x="132" y="16"/>
                        <a:pt x="140" y="27"/>
                      </a:cubicBezTo>
                      <a:cubicBezTo>
                        <a:pt x="143" y="31"/>
                        <a:pt x="142" y="36"/>
                        <a:pt x="144" y="41"/>
                      </a:cubicBezTo>
                      <a:cubicBezTo>
                        <a:pt x="145" y="45"/>
                        <a:pt x="149" y="46"/>
                        <a:pt x="152" y="50"/>
                      </a:cubicBezTo>
                      <a:cubicBezTo>
                        <a:pt x="158" y="57"/>
                        <a:pt x="163" y="67"/>
                        <a:pt x="160" y="7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47" name="Freeform 79"/>
                <p:cNvSpPr>
                  <a:spLocks/>
                </p:cNvSpPr>
                <p:nvPr/>
              </p:nvSpPr>
              <p:spPr bwMode="auto">
                <a:xfrm>
                  <a:off x="612232" y="6913515"/>
                  <a:ext cx="37535" cy="29192"/>
                </a:xfrm>
                <a:custGeom>
                  <a:avLst/>
                  <a:gdLst>
                    <a:gd name="T0" fmla="*/ 19 w 19"/>
                    <a:gd name="T1" fmla="*/ 2 h 15"/>
                    <a:gd name="T2" fmla="*/ 0 w 19"/>
                    <a:gd name="T3" fmla="*/ 15 h 15"/>
                    <a:gd name="T4" fmla="*/ 19 w 19"/>
                    <a:gd name="T5" fmla="*/ 2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9" h="15">
                      <a:moveTo>
                        <a:pt x="19" y="2"/>
                      </a:moveTo>
                      <a:cubicBezTo>
                        <a:pt x="16" y="10"/>
                        <a:pt x="7" y="14"/>
                        <a:pt x="0" y="15"/>
                      </a:cubicBezTo>
                      <a:cubicBezTo>
                        <a:pt x="2" y="7"/>
                        <a:pt x="9" y="0"/>
                        <a:pt x="19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>
                  <a:outerShdw blurRad="63500" sx="102000" sy="102000" algn="ctr" rotWithShape="0">
                    <a:srgbClr val="702D89">
                      <a:alpha val="60000"/>
                    </a:srgbClr>
                  </a:outerShdw>
                </a:effectLst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48" name="Freeform 80"/>
                <p:cNvSpPr>
                  <a:spLocks/>
                </p:cNvSpPr>
                <p:nvPr/>
              </p:nvSpPr>
              <p:spPr bwMode="auto">
                <a:xfrm>
                  <a:off x="555515" y="6939372"/>
                  <a:ext cx="137624" cy="127615"/>
                </a:xfrm>
                <a:custGeom>
                  <a:avLst/>
                  <a:gdLst>
                    <a:gd name="T0" fmla="*/ 70 w 70"/>
                    <a:gd name="T1" fmla="*/ 6 h 65"/>
                    <a:gd name="T2" fmla="*/ 40 w 70"/>
                    <a:gd name="T3" fmla="*/ 26 h 65"/>
                    <a:gd name="T4" fmla="*/ 35 w 70"/>
                    <a:gd name="T5" fmla="*/ 36 h 65"/>
                    <a:gd name="T6" fmla="*/ 17 w 70"/>
                    <a:gd name="T7" fmla="*/ 49 h 65"/>
                    <a:gd name="T8" fmla="*/ 2 w 70"/>
                    <a:gd name="T9" fmla="*/ 65 h 65"/>
                    <a:gd name="T10" fmla="*/ 16 w 70"/>
                    <a:gd name="T11" fmla="*/ 41 h 65"/>
                    <a:gd name="T12" fmla="*/ 29 w 70"/>
                    <a:gd name="T13" fmla="*/ 33 h 65"/>
                    <a:gd name="T14" fmla="*/ 37 w 70"/>
                    <a:gd name="T15" fmla="*/ 18 h 65"/>
                    <a:gd name="T16" fmla="*/ 70 w 70"/>
                    <a:gd name="T17" fmla="*/ 6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0" h="65">
                      <a:moveTo>
                        <a:pt x="70" y="6"/>
                      </a:moveTo>
                      <a:cubicBezTo>
                        <a:pt x="59" y="13"/>
                        <a:pt x="47" y="16"/>
                        <a:pt x="40" y="26"/>
                      </a:cubicBezTo>
                      <a:cubicBezTo>
                        <a:pt x="37" y="29"/>
                        <a:pt x="37" y="33"/>
                        <a:pt x="35" y="36"/>
                      </a:cubicBezTo>
                      <a:cubicBezTo>
                        <a:pt x="30" y="41"/>
                        <a:pt x="23" y="44"/>
                        <a:pt x="17" y="49"/>
                      </a:cubicBezTo>
                      <a:cubicBezTo>
                        <a:pt x="12" y="55"/>
                        <a:pt x="9" y="62"/>
                        <a:pt x="2" y="65"/>
                      </a:cubicBezTo>
                      <a:cubicBezTo>
                        <a:pt x="0" y="55"/>
                        <a:pt x="9" y="48"/>
                        <a:pt x="16" y="41"/>
                      </a:cubicBezTo>
                      <a:cubicBezTo>
                        <a:pt x="20" y="38"/>
                        <a:pt x="26" y="36"/>
                        <a:pt x="29" y="33"/>
                      </a:cubicBezTo>
                      <a:cubicBezTo>
                        <a:pt x="32" y="29"/>
                        <a:pt x="34" y="23"/>
                        <a:pt x="37" y="18"/>
                      </a:cubicBezTo>
                      <a:cubicBezTo>
                        <a:pt x="44" y="11"/>
                        <a:pt x="62" y="0"/>
                        <a:pt x="70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49" name="Freeform 81"/>
                <p:cNvSpPr>
                  <a:spLocks/>
                </p:cNvSpPr>
                <p:nvPr/>
              </p:nvSpPr>
              <p:spPr bwMode="auto">
                <a:xfrm>
                  <a:off x="638089" y="6951050"/>
                  <a:ext cx="287760" cy="281919"/>
                </a:xfrm>
                <a:custGeom>
                  <a:avLst/>
                  <a:gdLst>
                    <a:gd name="T0" fmla="*/ 146 w 146"/>
                    <a:gd name="T1" fmla="*/ 107 h 143"/>
                    <a:gd name="T2" fmla="*/ 146 w 146"/>
                    <a:gd name="T3" fmla="*/ 122 h 143"/>
                    <a:gd name="T4" fmla="*/ 137 w 146"/>
                    <a:gd name="T5" fmla="*/ 143 h 143"/>
                    <a:gd name="T6" fmla="*/ 139 w 146"/>
                    <a:gd name="T7" fmla="*/ 105 h 143"/>
                    <a:gd name="T8" fmla="*/ 104 w 146"/>
                    <a:gd name="T9" fmla="*/ 32 h 143"/>
                    <a:gd name="T10" fmla="*/ 18 w 146"/>
                    <a:gd name="T11" fmla="*/ 16 h 143"/>
                    <a:gd name="T12" fmla="*/ 0 w 146"/>
                    <a:gd name="T13" fmla="*/ 27 h 143"/>
                    <a:gd name="T14" fmla="*/ 20 w 146"/>
                    <a:gd name="T15" fmla="*/ 8 h 143"/>
                    <a:gd name="T16" fmla="*/ 66 w 146"/>
                    <a:gd name="T17" fmla="*/ 3 h 143"/>
                    <a:gd name="T18" fmla="*/ 146 w 146"/>
                    <a:gd name="T19" fmla="*/ 107 h 1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46" h="143">
                      <a:moveTo>
                        <a:pt x="146" y="107"/>
                      </a:moveTo>
                      <a:cubicBezTo>
                        <a:pt x="146" y="112"/>
                        <a:pt x="146" y="117"/>
                        <a:pt x="146" y="122"/>
                      </a:cubicBezTo>
                      <a:cubicBezTo>
                        <a:pt x="143" y="129"/>
                        <a:pt x="144" y="140"/>
                        <a:pt x="137" y="143"/>
                      </a:cubicBezTo>
                      <a:cubicBezTo>
                        <a:pt x="136" y="130"/>
                        <a:pt x="140" y="118"/>
                        <a:pt x="139" y="105"/>
                      </a:cubicBezTo>
                      <a:cubicBezTo>
                        <a:pt x="137" y="78"/>
                        <a:pt x="118" y="47"/>
                        <a:pt x="104" y="32"/>
                      </a:cubicBezTo>
                      <a:cubicBezTo>
                        <a:pt x="86" y="14"/>
                        <a:pt x="48" y="0"/>
                        <a:pt x="18" y="16"/>
                      </a:cubicBezTo>
                      <a:cubicBezTo>
                        <a:pt x="12" y="20"/>
                        <a:pt x="9" y="28"/>
                        <a:pt x="0" y="27"/>
                      </a:cubicBezTo>
                      <a:cubicBezTo>
                        <a:pt x="3" y="18"/>
                        <a:pt x="12" y="12"/>
                        <a:pt x="20" y="8"/>
                      </a:cubicBezTo>
                      <a:cubicBezTo>
                        <a:pt x="33" y="3"/>
                        <a:pt x="51" y="0"/>
                        <a:pt x="66" y="3"/>
                      </a:cubicBezTo>
                      <a:cubicBezTo>
                        <a:pt x="111" y="14"/>
                        <a:pt x="140" y="58"/>
                        <a:pt x="146" y="10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50" name="Freeform 82"/>
                <p:cNvSpPr>
                  <a:spLocks/>
                </p:cNvSpPr>
                <p:nvPr/>
              </p:nvSpPr>
              <p:spPr bwMode="auto">
                <a:xfrm>
                  <a:off x="543004" y="6976073"/>
                  <a:ext cx="361159" cy="244385"/>
                </a:xfrm>
                <a:custGeom>
                  <a:avLst/>
                  <a:gdLst>
                    <a:gd name="T0" fmla="*/ 0 w 183"/>
                    <a:gd name="T1" fmla="*/ 84 h 124"/>
                    <a:gd name="T2" fmla="*/ 0 w 183"/>
                    <a:gd name="T3" fmla="*/ 78 h 124"/>
                    <a:gd name="T4" fmla="*/ 40 w 183"/>
                    <a:gd name="T5" fmla="*/ 24 h 124"/>
                    <a:gd name="T6" fmla="*/ 53 w 183"/>
                    <a:gd name="T7" fmla="*/ 19 h 124"/>
                    <a:gd name="T8" fmla="*/ 68 w 183"/>
                    <a:gd name="T9" fmla="*/ 8 h 124"/>
                    <a:gd name="T10" fmla="*/ 105 w 183"/>
                    <a:gd name="T11" fmla="*/ 0 h 124"/>
                    <a:gd name="T12" fmla="*/ 151 w 183"/>
                    <a:gd name="T13" fmla="*/ 26 h 124"/>
                    <a:gd name="T14" fmla="*/ 181 w 183"/>
                    <a:gd name="T15" fmla="*/ 99 h 124"/>
                    <a:gd name="T16" fmla="*/ 175 w 183"/>
                    <a:gd name="T17" fmla="*/ 124 h 124"/>
                    <a:gd name="T18" fmla="*/ 173 w 183"/>
                    <a:gd name="T19" fmla="*/ 97 h 124"/>
                    <a:gd name="T20" fmla="*/ 147 w 183"/>
                    <a:gd name="T21" fmla="*/ 34 h 124"/>
                    <a:gd name="T22" fmla="*/ 74 w 183"/>
                    <a:gd name="T23" fmla="*/ 13 h 124"/>
                    <a:gd name="T24" fmla="*/ 55 w 183"/>
                    <a:gd name="T25" fmla="*/ 27 h 124"/>
                    <a:gd name="T26" fmla="*/ 42 w 183"/>
                    <a:gd name="T27" fmla="*/ 31 h 124"/>
                    <a:gd name="T28" fmla="*/ 12 w 183"/>
                    <a:gd name="T29" fmla="*/ 67 h 124"/>
                    <a:gd name="T30" fmla="*/ 0 w 183"/>
                    <a:gd name="T31" fmla="*/ 84 h 1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83" h="124">
                      <a:moveTo>
                        <a:pt x="0" y="84"/>
                      </a:moveTo>
                      <a:cubicBezTo>
                        <a:pt x="0" y="82"/>
                        <a:pt x="0" y="80"/>
                        <a:pt x="0" y="78"/>
                      </a:cubicBezTo>
                      <a:cubicBezTo>
                        <a:pt x="6" y="57"/>
                        <a:pt x="22" y="32"/>
                        <a:pt x="40" y="24"/>
                      </a:cubicBezTo>
                      <a:cubicBezTo>
                        <a:pt x="44" y="21"/>
                        <a:pt x="49" y="21"/>
                        <a:pt x="53" y="19"/>
                      </a:cubicBezTo>
                      <a:cubicBezTo>
                        <a:pt x="59" y="15"/>
                        <a:pt x="64" y="10"/>
                        <a:pt x="68" y="8"/>
                      </a:cubicBezTo>
                      <a:cubicBezTo>
                        <a:pt x="77" y="2"/>
                        <a:pt x="89" y="0"/>
                        <a:pt x="105" y="0"/>
                      </a:cubicBezTo>
                      <a:cubicBezTo>
                        <a:pt x="124" y="1"/>
                        <a:pt x="141" y="14"/>
                        <a:pt x="151" y="26"/>
                      </a:cubicBezTo>
                      <a:cubicBezTo>
                        <a:pt x="167" y="44"/>
                        <a:pt x="181" y="70"/>
                        <a:pt x="181" y="99"/>
                      </a:cubicBezTo>
                      <a:cubicBezTo>
                        <a:pt x="181" y="108"/>
                        <a:pt x="183" y="118"/>
                        <a:pt x="175" y="124"/>
                      </a:cubicBezTo>
                      <a:cubicBezTo>
                        <a:pt x="171" y="114"/>
                        <a:pt x="174" y="105"/>
                        <a:pt x="173" y="97"/>
                      </a:cubicBezTo>
                      <a:cubicBezTo>
                        <a:pt x="172" y="71"/>
                        <a:pt x="159" y="49"/>
                        <a:pt x="147" y="34"/>
                      </a:cubicBezTo>
                      <a:cubicBezTo>
                        <a:pt x="133" y="16"/>
                        <a:pt x="102" y="0"/>
                        <a:pt x="74" y="13"/>
                      </a:cubicBezTo>
                      <a:cubicBezTo>
                        <a:pt x="67" y="17"/>
                        <a:pt x="62" y="24"/>
                        <a:pt x="55" y="27"/>
                      </a:cubicBezTo>
                      <a:cubicBezTo>
                        <a:pt x="51" y="29"/>
                        <a:pt x="46" y="29"/>
                        <a:pt x="42" y="31"/>
                      </a:cubicBezTo>
                      <a:cubicBezTo>
                        <a:pt x="28" y="37"/>
                        <a:pt x="18" y="54"/>
                        <a:pt x="12" y="67"/>
                      </a:cubicBezTo>
                      <a:cubicBezTo>
                        <a:pt x="9" y="73"/>
                        <a:pt x="6" y="87"/>
                        <a:pt x="0" y="8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51" name="Freeform 83"/>
                <p:cNvSpPr>
                  <a:spLocks/>
                </p:cNvSpPr>
                <p:nvPr/>
              </p:nvSpPr>
              <p:spPr bwMode="auto">
                <a:xfrm>
                  <a:off x="574699" y="6984418"/>
                  <a:ext cx="37535" cy="35031"/>
                </a:xfrm>
                <a:custGeom>
                  <a:avLst/>
                  <a:gdLst>
                    <a:gd name="T0" fmla="*/ 19 w 19"/>
                    <a:gd name="T1" fmla="*/ 0 h 18"/>
                    <a:gd name="T2" fmla="*/ 0 w 19"/>
                    <a:gd name="T3" fmla="*/ 18 h 18"/>
                    <a:gd name="T4" fmla="*/ 19 w 19"/>
                    <a:gd name="T5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9" h="18">
                      <a:moveTo>
                        <a:pt x="19" y="0"/>
                      </a:moveTo>
                      <a:cubicBezTo>
                        <a:pt x="17" y="11"/>
                        <a:pt x="8" y="14"/>
                        <a:pt x="0" y="18"/>
                      </a:cubicBezTo>
                      <a:cubicBezTo>
                        <a:pt x="0" y="8"/>
                        <a:pt x="9" y="2"/>
                        <a:pt x="1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52" name="Freeform 84"/>
                <p:cNvSpPr>
                  <a:spLocks/>
                </p:cNvSpPr>
                <p:nvPr/>
              </p:nvSpPr>
              <p:spPr bwMode="auto">
                <a:xfrm>
                  <a:off x="549677" y="7000264"/>
                  <a:ext cx="293599" cy="374502"/>
                </a:xfrm>
                <a:custGeom>
                  <a:avLst/>
                  <a:gdLst>
                    <a:gd name="T0" fmla="*/ 69 w 149"/>
                    <a:gd name="T1" fmla="*/ 19 h 190"/>
                    <a:gd name="T2" fmla="*/ 84 w 149"/>
                    <a:gd name="T3" fmla="*/ 16 h 190"/>
                    <a:gd name="T4" fmla="*/ 149 w 149"/>
                    <a:gd name="T5" fmla="*/ 72 h 190"/>
                    <a:gd name="T6" fmla="*/ 148 w 149"/>
                    <a:gd name="T7" fmla="*/ 77 h 190"/>
                    <a:gd name="T8" fmla="*/ 124 w 149"/>
                    <a:gd name="T9" fmla="*/ 156 h 190"/>
                    <a:gd name="T10" fmla="*/ 97 w 149"/>
                    <a:gd name="T11" fmla="*/ 169 h 190"/>
                    <a:gd name="T12" fmla="*/ 77 w 149"/>
                    <a:gd name="T13" fmla="*/ 180 h 190"/>
                    <a:gd name="T14" fmla="*/ 54 w 149"/>
                    <a:gd name="T15" fmla="*/ 184 h 190"/>
                    <a:gd name="T16" fmla="*/ 40 w 149"/>
                    <a:gd name="T17" fmla="*/ 188 h 190"/>
                    <a:gd name="T18" fmla="*/ 70 w 149"/>
                    <a:gd name="T19" fmla="*/ 174 h 190"/>
                    <a:gd name="T20" fmla="*/ 123 w 149"/>
                    <a:gd name="T21" fmla="*/ 113 h 190"/>
                    <a:gd name="T22" fmla="*/ 127 w 149"/>
                    <a:gd name="T23" fmla="*/ 94 h 190"/>
                    <a:gd name="T24" fmla="*/ 129 w 149"/>
                    <a:gd name="T25" fmla="*/ 118 h 190"/>
                    <a:gd name="T26" fmla="*/ 111 w 149"/>
                    <a:gd name="T27" fmla="*/ 155 h 190"/>
                    <a:gd name="T28" fmla="*/ 137 w 149"/>
                    <a:gd name="T29" fmla="*/ 95 h 190"/>
                    <a:gd name="T30" fmla="*/ 139 w 149"/>
                    <a:gd name="T31" fmla="*/ 65 h 190"/>
                    <a:gd name="T32" fmla="*/ 93 w 149"/>
                    <a:gd name="T33" fmla="*/ 24 h 190"/>
                    <a:gd name="T34" fmla="*/ 58 w 149"/>
                    <a:gd name="T35" fmla="*/ 37 h 190"/>
                    <a:gd name="T36" fmla="*/ 36 w 149"/>
                    <a:gd name="T37" fmla="*/ 58 h 190"/>
                    <a:gd name="T38" fmla="*/ 20 w 149"/>
                    <a:gd name="T39" fmla="*/ 91 h 190"/>
                    <a:gd name="T40" fmla="*/ 3 w 149"/>
                    <a:gd name="T41" fmla="*/ 116 h 190"/>
                    <a:gd name="T42" fmla="*/ 14 w 149"/>
                    <a:gd name="T43" fmla="*/ 86 h 190"/>
                    <a:gd name="T44" fmla="*/ 27 w 149"/>
                    <a:gd name="T45" fmla="*/ 56 h 190"/>
                    <a:gd name="T46" fmla="*/ 48 w 149"/>
                    <a:gd name="T47" fmla="*/ 34 h 190"/>
                    <a:gd name="T48" fmla="*/ 90 w 149"/>
                    <a:gd name="T49" fmla="*/ 1 h 190"/>
                    <a:gd name="T50" fmla="*/ 102 w 149"/>
                    <a:gd name="T51" fmla="*/ 5 h 190"/>
                    <a:gd name="T52" fmla="*/ 84 w 149"/>
                    <a:gd name="T53" fmla="*/ 11 h 190"/>
                    <a:gd name="T54" fmla="*/ 69 w 149"/>
                    <a:gd name="T55" fmla="*/ 19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149" h="190">
                      <a:moveTo>
                        <a:pt x="69" y="19"/>
                      </a:moveTo>
                      <a:cubicBezTo>
                        <a:pt x="75" y="20"/>
                        <a:pt x="79" y="16"/>
                        <a:pt x="84" y="16"/>
                      </a:cubicBezTo>
                      <a:cubicBezTo>
                        <a:pt x="117" y="12"/>
                        <a:pt x="149" y="43"/>
                        <a:pt x="149" y="72"/>
                      </a:cubicBezTo>
                      <a:cubicBezTo>
                        <a:pt x="149" y="74"/>
                        <a:pt x="148" y="76"/>
                        <a:pt x="148" y="77"/>
                      </a:cubicBezTo>
                      <a:cubicBezTo>
                        <a:pt x="141" y="111"/>
                        <a:pt x="144" y="138"/>
                        <a:pt x="124" y="156"/>
                      </a:cubicBezTo>
                      <a:cubicBezTo>
                        <a:pt x="116" y="164"/>
                        <a:pt x="107" y="165"/>
                        <a:pt x="97" y="169"/>
                      </a:cubicBezTo>
                      <a:cubicBezTo>
                        <a:pt x="90" y="171"/>
                        <a:pt x="85" y="177"/>
                        <a:pt x="77" y="180"/>
                      </a:cubicBezTo>
                      <a:cubicBezTo>
                        <a:pt x="71" y="183"/>
                        <a:pt x="62" y="182"/>
                        <a:pt x="54" y="184"/>
                      </a:cubicBezTo>
                      <a:cubicBezTo>
                        <a:pt x="50" y="185"/>
                        <a:pt x="46" y="190"/>
                        <a:pt x="40" y="188"/>
                      </a:cubicBezTo>
                      <a:cubicBezTo>
                        <a:pt x="39" y="175"/>
                        <a:pt x="59" y="178"/>
                        <a:pt x="70" y="174"/>
                      </a:cubicBezTo>
                      <a:cubicBezTo>
                        <a:pt x="95" y="165"/>
                        <a:pt x="117" y="142"/>
                        <a:pt x="123" y="113"/>
                      </a:cubicBezTo>
                      <a:cubicBezTo>
                        <a:pt x="124" y="107"/>
                        <a:pt x="122" y="100"/>
                        <a:pt x="127" y="94"/>
                      </a:cubicBezTo>
                      <a:cubicBezTo>
                        <a:pt x="136" y="98"/>
                        <a:pt x="131" y="110"/>
                        <a:pt x="129" y="118"/>
                      </a:cubicBezTo>
                      <a:cubicBezTo>
                        <a:pt x="125" y="133"/>
                        <a:pt x="120" y="146"/>
                        <a:pt x="111" y="155"/>
                      </a:cubicBezTo>
                      <a:cubicBezTo>
                        <a:pt x="131" y="148"/>
                        <a:pt x="135" y="122"/>
                        <a:pt x="137" y="95"/>
                      </a:cubicBezTo>
                      <a:cubicBezTo>
                        <a:pt x="138" y="84"/>
                        <a:pt x="141" y="75"/>
                        <a:pt x="139" y="65"/>
                      </a:cubicBezTo>
                      <a:cubicBezTo>
                        <a:pt x="134" y="45"/>
                        <a:pt x="116" y="25"/>
                        <a:pt x="93" y="24"/>
                      </a:cubicBezTo>
                      <a:cubicBezTo>
                        <a:pt x="79" y="24"/>
                        <a:pt x="67" y="30"/>
                        <a:pt x="58" y="37"/>
                      </a:cubicBezTo>
                      <a:cubicBezTo>
                        <a:pt x="51" y="43"/>
                        <a:pt x="42" y="51"/>
                        <a:pt x="36" y="58"/>
                      </a:cubicBezTo>
                      <a:cubicBezTo>
                        <a:pt x="30" y="66"/>
                        <a:pt x="26" y="80"/>
                        <a:pt x="20" y="91"/>
                      </a:cubicBezTo>
                      <a:cubicBezTo>
                        <a:pt x="16" y="100"/>
                        <a:pt x="13" y="112"/>
                        <a:pt x="3" y="116"/>
                      </a:cubicBezTo>
                      <a:cubicBezTo>
                        <a:pt x="0" y="106"/>
                        <a:pt x="9" y="96"/>
                        <a:pt x="14" y="86"/>
                      </a:cubicBezTo>
                      <a:cubicBezTo>
                        <a:pt x="19" y="77"/>
                        <a:pt x="21" y="65"/>
                        <a:pt x="27" y="56"/>
                      </a:cubicBezTo>
                      <a:cubicBezTo>
                        <a:pt x="32" y="48"/>
                        <a:pt x="41" y="41"/>
                        <a:pt x="48" y="34"/>
                      </a:cubicBezTo>
                      <a:cubicBezTo>
                        <a:pt x="61" y="19"/>
                        <a:pt x="66" y="3"/>
                        <a:pt x="90" y="1"/>
                      </a:cubicBezTo>
                      <a:cubicBezTo>
                        <a:pt x="94" y="1"/>
                        <a:pt x="102" y="0"/>
                        <a:pt x="102" y="5"/>
                      </a:cubicBezTo>
                      <a:cubicBezTo>
                        <a:pt x="103" y="11"/>
                        <a:pt x="89" y="9"/>
                        <a:pt x="84" y="11"/>
                      </a:cubicBezTo>
                      <a:cubicBezTo>
                        <a:pt x="78" y="12"/>
                        <a:pt x="72" y="14"/>
                        <a:pt x="69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53" name="Freeform 85"/>
                <p:cNvSpPr>
                  <a:spLocks/>
                </p:cNvSpPr>
                <p:nvPr/>
              </p:nvSpPr>
              <p:spPr bwMode="auto">
                <a:xfrm>
                  <a:off x="758198" y="7001942"/>
                  <a:ext cx="120108" cy="218528"/>
                </a:xfrm>
                <a:custGeom>
                  <a:avLst/>
                  <a:gdLst>
                    <a:gd name="T0" fmla="*/ 54 w 61"/>
                    <a:gd name="T1" fmla="*/ 111 h 111"/>
                    <a:gd name="T2" fmla="*/ 53 w 61"/>
                    <a:gd name="T3" fmla="*/ 84 h 111"/>
                    <a:gd name="T4" fmla="*/ 49 w 61"/>
                    <a:gd name="T5" fmla="*/ 74 h 111"/>
                    <a:gd name="T6" fmla="*/ 41 w 61"/>
                    <a:gd name="T7" fmla="*/ 47 h 111"/>
                    <a:gd name="T8" fmla="*/ 14 w 61"/>
                    <a:gd name="T9" fmla="*/ 17 h 111"/>
                    <a:gd name="T10" fmla="*/ 0 w 61"/>
                    <a:gd name="T11" fmla="*/ 6 h 111"/>
                    <a:gd name="T12" fmla="*/ 35 w 61"/>
                    <a:gd name="T13" fmla="*/ 24 h 111"/>
                    <a:gd name="T14" fmla="*/ 60 w 61"/>
                    <a:gd name="T15" fmla="*/ 81 h 111"/>
                    <a:gd name="T16" fmla="*/ 54 w 61"/>
                    <a:gd name="T17" fmla="*/ 111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1" h="111">
                      <a:moveTo>
                        <a:pt x="54" y="111"/>
                      </a:moveTo>
                      <a:cubicBezTo>
                        <a:pt x="49" y="104"/>
                        <a:pt x="55" y="93"/>
                        <a:pt x="53" y="84"/>
                      </a:cubicBezTo>
                      <a:cubicBezTo>
                        <a:pt x="52" y="80"/>
                        <a:pt x="50" y="77"/>
                        <a:pt x="49" y="74"/>
                      </a:cubicBezTo>
                      <a:cubicBezTo>
                        <a:pt x="47" y="64"/>
                        <a:pt x="45" y="56"/>
                        <a:pt x="41" y="47"/>
                      </a:cubicBezTo>
                      <a:cubicBezTo>
                        <a:pt x="35" y="36"/>
                        <a:pt x="24" y="23"/>
                        <a:pt x="14" y="17"/>
                      </a:cubicBezTo>
                      <a:cubicBezTo>
                        <a:pt x="9" y="14"/>
                        <a:pt x="1" y="14"/>
                        <a:pt x="0" y="6"/>
                      </a:cubicBezTo>
                      <a:cubicBezTo>
                        <a:pt x="8" y="0"/>
                        <a:pt x="28" y="15"/>
                        <a:pt x="35" y="24"/>
                      </a:cubicBezTo>
                      <a:cubicBezTo>
                        <a:pt x="47" y="39"/>
                        <a:pt x="59" y="62"/>
                        <a:pt x="60" y="81"/>
                      </a:cubicBezTo>
                      <a:cubicBezTo>
                        <a:pt x="61" y="92"/>
                        <a:pt x="61" y="106"/>
                        <a:pt x="54" y="1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54" name="Freeform 86"/>
                <p:cNvSpPr>
                  <a:spLocks/>
                </p:cNvSpPr>
                <p:nvPr/>
              </p:nvSpPr>
              <p:spPr bwMode="auto">
                <a:xfrm>
                  <a:off x="549677" y="7039475"/>
                  <a:ext cx="98422" cy="145963"/>
                </a:xfrm>
                <a:custGeom>
                  <a:avLst/>
                  <a:gdLst>
                    <a:gd name="T0" fmla="*/ 49 w 50"/>
                    <a:gd name="T1" fmla="*/ 0 h 74"/>
                    <a:gd name="T2" fmla="*/ 33 w 50"/>
                    <a:gd name="T3" fmla="*/ 20 h 74"/>
                    <a:gd name="T4" fmla="*/ 18 w 50"/>
                    <a:gd name="T5" fmla="*/ 43 h 74"/>
                    <a:gd name="T6" fmla="*/ 1 w 50"/>
                    <a:gd name="T7" fmla="*/ 74 h 74"/>
                    <a:gd name="T8" fmla="*/ 9 w 50"/>
                    <a:gd name="T9" fmla="*/ 47 h 74"/>
                    <a:gd name="T10" fmla="*/ 19 w 50"/>
                    <a:gd name="T11" fmla="*/ 22 h 74"/>
                    <a:gd name="T12" fmla="*/ 48 w 50"/>
                    <a:gd name="T13" fmla="*/ 0 h 74"/>
                    <a:gd name="T14" fmla="*/ 49 w 50"/>
                    <a:gd name="T15" fmla="*/ 0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0" h="74">
                      <a:moveTo>
                        <a:pt x="49" y="0"/>
                      </a:moveTo>
                      <a:cubicBezTo>
                        <a:pt x="50" y="10"/>
                        <a:pt x="39" y="14"/>
                        <a:pt x="33" y="20"/>
                      </a:cubicBezTo>
                      <a:cubicBezTo>
                        <a:pt x="27" y="26"/>
                        <a:pt x="21" y="35"/>
                        <a:pt x="18" y="43"/>
                      </a:cubicBezTo>
                      <a:cubicBezTo>
                        <a:pt x="13" y="54"/>
                        <a:pt x="12" y="67"/>
                        <a:pt x="1" y="74"/>
                      </a:cubicBezTo>
                      <a:cubicBezTo>
                        <a:pt x="0" y="65"/>
                        <a:pt x="5" y="56"/>
                        <a:pt x="9" y="47"/>
                      </a:cubicBezTo>
                      <a:cubicBezTo>
                        <a:pt x="12" y="39"/>
                        <a:pt x="15" y="29"/>
                        <a:pt x="19" y="22"/>
                      </a:cubicBezTo>
                      <a:cubicBezTo>
                        <a:pt x="25" y="14"/>
                        <a:pt x="39" y="4"/>
                        <a:pt x="48" y="0"/>
                      </a:cubicBezTo>
                      <a:cubicBezTo>
                        <a:pt x="48" y="0"/>
                        <a:pt x="49" y="0"/>
                        <a:pt x="4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55" name="Freeform 87"/>
                <p:cNvSpPr>
                  <a:spLocks/>
                </p:cNvSpPr>
                <p:nvPr/>
              </p:nvSpPr>
              <p:spPr bwMode="auto">
                <a:xfrm>
                  <a:off x="578869" y="7049485"/>
                  <a:ext cx="244386" cy="293596"/>
                </a:xfrm>
                <a:custGeom>
                  <a:avLst/>
                  <a:gdLst>
                    <a:gd name="T0" fmla="*/ 113 w 124"/>
                    <a:gd name="T1" fmla="*/ 65 h 149"/>
                    <a:gd name="T2" fmla="*/ 80 w 124"/>
                    <a:gd name="T3" fmla="*/ 15 h 149"/>
                    <a:gd name="T4" fmla="*/ 47 w 124"/>
                    <a:gd name="T5" fmla="*/ 27 h 149"/>
                    <a:gd name="T6" fmla="*/ 42 w 124"/>
                    <a:gd name="T7" fmla="*/ 34 h 149"/>
                    <a:gd name="T8" fmla="*/ 30 w 124"/>
                    <a:gd name="T9" fmla="*/ 48 h 149"/>
                    <a:gd name="T10" fmla="*/ 94 w 124"/>
                    <a:gd name="T11" fmla="*/ 24 h 149"/>
                    <a:gd name="T12" fmla="*/ 98 w 124"/>
                    <a:gd name="T13" fmla="*/ 103 h 149"/>
                    <a:gd name="T14" fmla="*/ 68 w 124"/>
                    <a:gd name="T15" fmla="*/ 137 h 149"/>
                    <a:gd name="T16" fmla="*/ 55 w 124"/>
                    <a:gd name="T17" fmla="*/ 143 h 149"/>
                    <a:gd name="T18" fmla="*/ 43 w 124"/>
                    <a:gd name="T19" fmla="*/ 147 h 149"/>
                    <a:gd name="T20" fmla="*/ 69 w 124"/>
                    <a:gd name="T21" fmla="*/ 126 h 149"/>
                    <a:gd name="T22" fmla="*/ 95 w 124"/>
                    <a:gd name="T23" fmla="*/ 75 h 149"/>
                    <a:gd name="T24" fmla="*/ 93 w 124"/>
                    <a:gd name="T25" fmla="*/ 35 h 149"/>
                    <a:gd name="T26" fmla="*/ 61 w 124"/>
                    <a:gd name="T27" fmla="*/ 30 h 149"/>
                    <a:gd name="T28" fmla="*/ 47 w 124"/>
                    <a:gd name="T29" fmla="*/ 46 h 149"/>
                    <a:gd name="T30" fmla="*/ 36 w 124"/>
                    <a:gd name="T31" fmla="*/ 55 h 149"/>
                    <a:gd name="T32" fmla="*/ 33 w 124"/>
                    <a:gd name="T33" fmla="*/ 78 h 149"/>
                    <a:gd name="T34" fmla="*/ 21 w 124"/>
                    <a:gd name="T35" fmla="*/ 103 h 149"/>
                    <a:gd name="T36" fmla="*/ 0 w 124"/>
                    <a:gd name="T37" fmla="*/ 117 h 149"/>
                    <a:gd name="T38" fmla="*/ 15 w 124"/>
                    <a:gd name="T39" fmla="*/ 95 h 149"/>
                    <a:gd name="T40" fmla="*/ 23 w 124"/>
                    <a:gd name="T41" fmla="*/ 64 h 149"/>
                    <a:gd name="T42" fmla="*/ 23 w 124"/>
                    <a:gd name="T43" fmla="*/ 40 h 149"/>
                    <a:gd name="T44" fmla="*/ 45 w 124"/>
                    <a:gd name="T45" fmla="*/ 19 h 149"/>
                    <a:gd name="T46" fmla="*/ 115 w 124"/>
                    <a:gd name="T47" fmla="*/ 31 h 149"/>
                    <a:gd name="T48" fmla="*/ 113 w 124"/>
                    <a:gd name="T49" fmla="*/ 65 h 1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24" h="149">
                      <a:moveTo>
                        <a:pt x="113" y="65"/>
                      </a:moveTo>
                      <a:cubicBezTo>
                        <a:pt x="113" y="39"/>
                        <a:pt x="104" y="15"/>
                        <a:pt x="80" y="15"/>
                      </a:cubicBezTo>
                      <a:cubicBezTo>
                        <a:pt x="68" y="14"/>
                        <a:pt x="55" y="20"/>
                        <a:pt x="47" y="27"/>
                      </a:cubicBezTo>
                      <a:cubicBezTo>
                        <a:pt x="45" y="29"/>
                        <a:pt x="44" y="32"/>
                        <a:pt x="42" y="34"/>
                      </a:cubicBezTo>
                      <a:cubicBezTo>
                        <a:pt x="38" y="38"/>
                        <a:pt x="29" y="40"/>
                        <a:pt x="30" y="48"/>
                      </a:cubicBezTo>
                      <a:cubicBezTo>
                        <a:pt x="46" y="40"/>
                        <a:pt x="67" y="6"/>
                        <a:pt x="94" y="24"/>
                      </a:cubicBezTo>
                      <a:cubicBezTo>
                        <a:pt x="111" y="35"/>
                        <a:pt x="107" y="83"/>
                        <a:pt x="98" y="103"/>
                      </a:cubicBezTo>
                      <a:cubicBezTo>
                        <a:pt x="91" y="117"/>
                        <a:pt x="79" y="131"/>
                        <a:pt x="68" y="137"/>
                      </a:cubicBezTo>
                      <a:cubicBezTo>
                        <a:pt x="64" y="139"/>
                        <a:pt x="59" y="141"/>
                        <a:pt x="55" y="143"/>
                      </a:cubicBezTo>
                      <a:cubicBezTo>
                        <a:pt x="51" y="145"/>
                        <a:pt x="47" y="149"/>
                        <a:pt x="43" y="147"/>
                      </a:cubicBezTo>
                      <a:cubicBezTo>
                        <a:pt x="47" y="134"/>
                        <a:pt x="60" y="134"/>
                        <a:pt x="69" y="126"/>
                      </a:cubicBezTo>
                      <a:cubicBezTo>
                        <a:pt x="84" y="115"/>
                        <a:pt x="92" y="99"/>
                        <a:pt x="95" y="75"/>
                      </a:cubicBezTo>
                      <a:cubicBezTo>
                        <a:pt x="96" y="61"/>
                        <a:pt x="101" y="45"/>
                        <a:pt x="93" y="35"/>
                      </a:cubicBezTo>
                      <a:cubicBezTo>
                        <a:pt x="87" y="25"/>
                        <a:pt x="71" y="25"/>
                        <a:pt x="61" y="30"/>
                      </a:cubicBezTo>
                      <a:cubicBezTo>
                        <a:pt x="56" y="33"/>
                        <a:pt x="53" y="40"/>
                        <a:pt x="47" y="46"/>
                      </a:cubicBezTo>
                      <a:cubicBezTo>
                        <a:pt x="44" y="49"/>
                        <a:pt x="38" y="51"/>
                        <a:pt x="36" y="55"/>
                      </a:cubicBezTo>
                      <a:cubicBezTo>
                        <a:pt x="32" y="62"/>
                        <a:pt x="35" y="69"/>
                        <a:pt x="33" y="78"/>
                      </a:cubicBezTo>
                      <a:cubicBezTo>
                        <a:pt x="32" y="86"/>
                        <a:pt x="26" y="96"/>
                        <a:pt x="21" y="103"/>
                      </a:cubicBezTo>
                      <a:cubicBezTo>
                        <a:pt x="16" y="109"/>
                        <a:pt x="10" y="117"/>
                        <a:pt x="0" y="117"/>
                      </a:cubicBezTo>
                      <a:cubicBezTo>
                        <a:pt x="1" y="107"/>
                        <a:pt x="11" y="102"/>
                        <a:pt x="15" y="95"/>
                      </a:cubicBezTo>
                      <a:cubicBezTo>
                        <a:pt x="20" y="88"/>
                        <a:pt x="24" y="77"/>
                        <a:pt x="23" y="64"/>
                      </a:cubicBezTo>
                      <a:cubicBezTo>
                        <a:pt x="22" y="56"/>
                        <a:pt x="19" y="48"/>
                        <a:pt x="23" y="40"/>
                      </a:cubicBezTo>
                      <a:cubicBezTo>
                        <a:pt x="26" y="33"/>
                        <a:pt x="37" y="25"/>
                        <a:pt x="45" y="19"/>
                      </a:cubicBezTo>
                      <a:cubicBezTo>
                        <a:pt x="68" y="0"/>
                        <a:pt x="102" y="2"/>
                        <a:pt x="115" y="31"/>
                      </a:cubicBezTo>
                      <a:cubicBezTo>
                        <a:pt x="119" y="39"/>
                        <a:pt x="124" y="62"/>
                        <a:pt x="113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56" name="Freeform 88"/>
                <p:cNvSpPr>
                  <a:spLocks/>
                </p:cNvSpPr>
                <p:nvPr/>
              </p:nvSpPr>
              <p:spPr bwMode="auto">
                <a:xfrm>
                  <a:off x="720664" y="7100363"/>
                  <a:ext cx="45875" cy="33364"/>
                </a:xfrm>
                <a:custGeom>
                  <a:avLst/>
                  <a:gdLst>
                    <a:gd name="T0" fmla="*/ 18 w 23"/>
                    <a:gd name="T1" fmla="*/ 17 h 17"/>
                    <a:gd name="T2" fmla="*/ 3 w 23"/>
                    <a:gd name="T3" fmla="*/ 12 h 17"/>
                    <a:gd name="T4" fmla="*/ 18 w 23"/>
                    <a:gd name="T5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3" h="17">
                      <a:moveTo>
                        <a:pt x="18" y="17"/>
                      </a:moveTo>
                      <a:cubicBezTo>
                        <a:pt x="14" y="15"/>
                        <a:pt x="9" y="13"/>
                        <a:pt x="3" y="12"/>
                      </a:cubicBezTo>
                      <a:cubicBezTo>
                        <a:pt x="0" y="0"/>
                        <a:pt x="23" y="7"/>
                        <a:pt x="18" y="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57" name="Freeform 89"/>
                <p:cNvSpPr>
                  <a:spLocks/>
                </p:cNvSpPr>
                <p:nvPr/>
              </p:nvSpPr>
              <p:spPr bwMode="auto">
                <a:xfrm>
                  <a:off x="643928" y="7102859"/>
                  <a:ext cx="79238" cy="92582"/>
                </a:xfrm>
                <a:custGeom>
                  <a:avLst/>
                  <a:gdLst>
                    <a:gd name="T0" fmla="*/ 40 w 40"/>
                    <a:gd name="T1" fmla="*/ 9 h 47"/>
                    <a:gd name="T2" fmla="*/ 33 w 40"/>
                    <a:gd name="T3" fmla="*/ 14 h 47"/>
                    <a:gd name="T4" fmla="*/ 16 w 40"/>
                    <a:gd name="T5" fmla="*/ 32 h 47"/>
                    <a:gd name="T6" fmla="*/ 6 w 40"/>
                    <a:gd name="T7" fmla="*/ 47 h 47"/>
                    <a:gd name="T8" fmla="*/ 21 w 40"/>
                    <a:gd name="T9" fmla="*/ 17 h 47"/>
                    <a:gd name="T10" fmla="*/ 40 w 40"/>
                    <a:gd name="T11" fmla="*/ 9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0" h="47">
                      <a:moveTo>
                        <a:pt x="40" y="9"/>
                      </a:moveTo>
                      <a:cubicBezTo>
                        <a:pt x="40" y="13"/>
                        <a:pt x="35" y="12"/>
                        <a:pt x="33" y="14"/>
                      </a:cubicBezTo>
                      <a:cubicBezTo>
                        <a:pt x="29" y="22"/>
                        <a:pt x="21" y="26"/>
                        <a:pt x="16" y="32"/>
                      </a:cubicBezTo>
                      <a:cubicBezTo>
                        <a:pt x="12" y="37"/>
                        <a:pt x="12" y="44"/>
                        <a:pt x="6" y="47"/>
                      </a:cubicBezTo>
                      <a:cubicBezTo>
                        <a:pt x="0" y="35"/>
                        <a:pt x="14" y="25"/>
                        <a:pt x="21" y="17"/>
                      </a:cubicBezTo>
                      <a:cubicBezTo>
                        <a:pt x="25" y="12"/>
                        <a:pt x="32" y="0"/>
                        <a:pt x="40" y="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58" name="Freeform 90"/>
                <p:cNvSpPr>
                  <a:spLocks/>
                </p:cNvSpPr>
                <p:nvPr/>
              </p:nvSpPr>
              <p:spPr bwMode="auto">
                <a:xfrm>
                  <a:off x="590547" y="7127885"/>
                  <a:ext cx="171821" cy="222700"/>
                </a:xfrm>
                <a:custGeom>
                  <a:avLst/>
                  <a:gdLst>
                    <a:gd name="T0" fmla="*/ 9 w 87"/>
                    <a:gd name="T1" fmla="*/ 109 h 113"/>
                    <a:gd name="T2" fmla="*/ 22 w 87"/>
                    <a:gd name="T3" fmla="*/ 100 h 113"/>
                    <a:gd name="T4" fmla="*/ 42 w 87"/>
                    <a:gd name="T5" fmla="*/ 81 h 113"/>
                    <a:gd name="T6" fmla="*/ 54 w 87"/>
                    <a:gd name="T7" fmla="*/ 77 h 113"/>
                    <a:gd name="T8" fmla="*/ 78 w 87"/>
                    <a:gd name="T9" fmla="*/ 37 h 113"/>
                    <a:gd name="T10" fmla="*/ 77 w 87"/>
                    <a:gd name="T11" fmla="*/ 29 h 113"/>
                    <a:gd name="T12" fmla="*/ 72 w 87"/>
                    <a:gd name="T13" fmla="*/ 10 h 113"/>
                    <a:gd name="T14" fmla="*/ 60 w 87"/>
                    <a:gd name="T15" fmla="*/ 23 h 113"/>
                    <a:gd name="T16" fmla="*/ 12 w 87"/>
                    <a:gd name="T17" fmla="*/ 87 h 113"/>
                    <a:gd name="T18" fmla="*/ 0 w 87"/>
                    <a:gd name="T19" fmla="*/ 90 h 113"/>
                    <a:gd name="T20" fmla="*/ 14 w 87"/>
                    <a:gd name="T21" fmla="*/ 76 h 113"/>
                    <a:gd name="T22" fmla="*/ 43 w 87"/>
                    <a:gd name="T23" fmla="*/ 26 h 113"/>
                    <a:gd name="T24" fmla="*/ 53 w 87"/>
                    <a:gd name="T25" fmla="*/ 18 h 113"/>
                    <a:gd name="T26" fmla="*/ 61 w 87"/>
                    <a:gd name="T27" fmla="*/ 7 h 113"/>
                    <a:gd name="T28" fmla="*/ 86 w 87"/>
                    <a:gd name="T29" fmla="*/ 16 h 113"/>
                    <a:gd name="T30" fmla="*/ 84 w 87"/>
                    <a:gd name="T31" fmla="*/ 29 h 113"/>
                    <a:gd name="T32" fmla="*/ 84 w 87"/>
                    <a:gd name="T33" fmla="*/ 44 h 113"/>
                    <a:gd name="T34" fmla="*/ 64 w 87"/>
                    <a:gd name="T35" fmla="*/ 80 h 113"/>
                    <a:gd name="T36" fmla="*/ 47 w 87"/>
                    <a:gd name="T37" fmla="*/ 88 h 113"/>
                    <a:gd name="T38" fmla="*/ 9 w 87"/>
                    <a:gd name="T39" fmla="*/ 109 h 1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87" h="113">
                      <a:moveTo>
                        <a:pt x="9" y="109"/>
                      </a:moveTo>
                      <a:cubicBezTo>
                        <a:pt x="11" y="104"/>
                        <a:pt x="16" y="104"/>
                        <a:pt x="22" y="100"/>
                      </a:cubicBezTo>
                      <a:cubicBezTo>
                        <a:pt x="29" y="95"/>
                        <a:pt x="35" y="85"/>
                        <a:pt x="42" y="81"/>
                      </a:cubicBezTo>
                      <a:cubicBezTo>
                        <a:pt x="46" y="79"/>
                        <a:pt x="50" y="79"/>
                        <a:pt x="54" y="77"/>
                      </a:cubicBezTo>
                      <a:cubicBezTo>
                        <a:pt x="66" y="70"/>
                        <a:pt x="77" y="51"/>
                        <a:pt x="78" y="37"/>
                      </a:cubicBezTo>
                      <a:cubicBezTo>
                        <a:pt x="78" y="34"/>
                        <a:pt x="77" y="31"/>
                        <a:pt x="77" y="29"/>
                      </a:cubicBezTo>
                      <a:cubicBezTo>
                        <a:pt x="77" y="21"/>
                        <a:pt x="81" y="11"/>
                        <a:pt x="72" y="10"/>
                      </a:cubicBezTo>
                      <a:cubicBezTo>
                        <a:pt x="64" y="9"/>
                        <a:pt x="62" y="16"/>
                        <a:pt x="60" y="23"/>
                      </a:cubicBezTo>
                      <a:cubicBezTo>
                        <a:pt x="41" y="39"/>
                        <a:pt x="34" y="74"/>
                        <a:pt x="12" y="87"/>
                      </a:cubicBezTo>
                      <a:cubicBezTo>
                        <a:pt x="9" y="89"/>
                        <a:pt x="4" y="91"/>
                        <a:pt x="0" y="90"/>
                      </a:cubicBezTo>
                      <a:cubicBezTo>
                        <a:pt x="0" y="81"/>
                        <a:pt x="8" y="81"/>
                        <a:pt x="14" y="76"/>
                      </a:cubicBezTo>
                      <a:cubicBezTo>
                        <a:pt x="28" y="64"/>
                        <a:pt x="31" y="41"/>
                        <a:pt x="43" y="26"/>
                      </a:cubicBezTo>
                      <a:cubicBezTo>
                        <a:pt x="46" y="23"/>
                        <a:pt x="50" y="21"/>
                        <a:pt x="53" y="18"/>
                      </a:cubicBezTo>
                      <a:cubicBezTo>
                        <a:pt x="56" y="14"/>
                        <a:pt x="58" y="9"/>
                        <a:pt x="61" y="7"/>
                      </a:cubicBezTo>
                      <a:cubicBezTo>
                        <a:pt x="71" y="0"/>
                        <a:pt x="85" y="5"/>
                        <a:pt x="86" y="16"/>
                      </a:cubicBezTo>
                      <a:cubicBezTo>
                        <a:pt x="87" y="20"/>
                        <a:pt x="84" y="25"/>
                        <a:pt x="84" y="29"/>
                      </a:cubicBezTo>
                      <a:cubicBezTo>
                        <a:pt x="84" y="35"/>
                        <a:pt x="85" y="40"/>
                        <a:pt x="84" y="44"/>
                      </a:cubicBezTo>
                      <a:cubicBezTo>
                        <a:pt x="82" y="59"/>
                        <a:pt x="74" y="72"/>
                        <a:pt x="64" y="80"/>
                      </a:cubicBezTo>
                      <a:cubicBezTo>
                        <a:pt x="59" y="84"/>
                        <a:pt x="53" y="85"/>
                        <a:pt x="47" y="88"/>
                      </a:cubicBezTo>
                      <a:cubicBezTo>
                        <a:pt x="36" y="95"/>
                        <a:pt x="27" y="113"/>
                        <a:pt x="9" y="10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59" name="Freeform 91"/>
                <p:cNvSpPr>
                  <a:spLocks noEditPoints="1"/>
                </p:cNvSpPr>
                <p:nvPr/>
              </p:nvSpPr>
              <p:spPr bwMode="auto">
                <a:xfrm>
                  <a:off x="594717" y="7155408"/>
                  <a:ext cx="147633" cy="179327"/>
                </a:xfrm>
                <a:custGeom>
                  <a:avLst/>
                  <a:gdLst>
                    <a:gd name="T0" fmla="*/ 70 w 75"/>
                    <a:gd name="T1" fmla="*/ 0 h 91"/>
                    <a:gd name="T2" fmla="*/ 68 w 75"/>
                    <a:gd name="T3" fmla="*/ 14 h 91"/>
                    <a:gd name="T4" fmla="*/ 56 w 75"/>
                    <a:gd name="T5" fmla="*/ 53 h 91"/>
                    <a:gd name="T6" fmla="*/ 29 w 75"/>
                    <a:gd name="T7" fmla="*/ 70 h 91"/>
                    <a:gd name="T8" fmla="*/ 0 w 75"/>
                    <a:gd name="T9" fmla="*/ 85 h 91"/>
                    <a:gd name="T10" fmla="*/ 14 w 75"/>
                    <a:gd name="T11" fmla="*/ 75 h 91"/>
                    <a:gd name="T12" fmla="*/ 38 w 75"/>
                    <a:gd name="T13" fmla="*/ 49 h 91"/>
                    <a:gd name="T14" fmla="*/ 62 w 75"/>
                    <a:gd name="T15" fmla="*/ 11 h 91"/>
                    <a:gd name="T16" fmla="*/ 68 w 75"/>
                    <a:gd name="T17" fmla="*/ 0 h 91"/>
                    <a:gd name="T18" fmla="*/ 70 w 75"/>
                    <a:gd name="T19" fmla="*/ 0 h 91"/>
                    <a:gd name="T20" fmla="*/ 47 w 75"/>
                    <a:gd name="T21" fmla="*/ 47 h 91"/>
                    <a:gd name="T22" fmla="*/ 62 w 75"/>
                    <a:gd name="T23" fmla="*/ 22 h 91"/>
                    <a:gd name="T24" fmla="*/ 60 w 75"/>
                    <a:gd name="T25" fmla="*/ 21 h 91"/>
                    <a:gd name="T26" fmla="*/ 47 w 75"/>
                    <a:gd name="T27" fmla="*/ 47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75" h="91">
                      <a:moveTo>
                        <a:pt x="70" y="0"/>
                      </a:moveTo>
                      <a:cubicBezTo>
                        <a:pt x="74" y="4"/>
                        <a:pt x="70" y="10"/>
                        <a:pt x="68" y="14"/>
                      </a:cubicBezTo>
                      <a:cubicBezTo>
                        <a:pt x="75" y="22"/>
                        <a:pt x="65" y="49"/>
                        <a:pt x="56" y="53"/>
                      </a:cubicBezTo>
                      <a:cubicBezTo>
                        <a:pt x="44" y="58"/>
                        <a:pt x="37" y="61"/>
                        <a:pt x="29" y="70"/>
                      </a:cubicBezTo>
                      <a:cubicBezTo>
                        <a:pt x="23" y="76"/>
                        <a:pt x="11" y="91"/>
                        <a:pt x="0" y="85"/>
                      </a:cubicBezTo>
                      <a:cubicBezTo>
                        <a:pt x="3" y="79"/>
                        <a:pt x="9" y="78"/>
                        <a:pt x="14" y="75"/>
                      </a:cubicBezTo>
                      <a:cubicBezTo>
                        <a:pt x="19" y="71"/>
                        <a:pt x="35" y="56"/>
                        <a:pt x="38" y="49"/>
                      </a:cubicBezTo>
                      <a:cubicBezTo>
                        <a:pt x="43" y="36"/>
                        <a:pt x="50" y="19"/>
                        <a:pt x="62" y="11"/>
                      </a:cubicBezTo>
                      <a:cubicBezTo>
                        <a:pt x="63" y="6"/>
                        <a:pt x="64" y="1"/>
                        <a:pt x="68" y="0"/>
                      </a:cubicBezTo>
                      <a:cubicBezTo>
                        <a:pt x="69" y="0"/>
                        <a:pt x="69" y="0"/>
                        <a:pt x="70" y="0"/>
                      </a:cubicBezTo>
                      <a:close/>
                      <a:moveTo>
                        <a:pt x="47" y="47"/>
                      </a:moveTo>
                      <a:cubicBezTo>
                        <a:pt x="56" y="46"/>
                        <a:pt x="63" y="33"/>
                        <a:pt x="62" y="22"/>
                      </a:cubicBezTo>
                      <a:cubicBezTo>
                        <a:pt x="61" y="22"/>
                        <a:pt x="61" y="21"/>
                        <a:pt x="60" y="21"/>
                      </a:cubicBezTo>
                      <a:cubicBezTo>
                        <a:pt x="56" y="30"/>
                        <a:pt x="51" y="38"/>
                        <a:pt x="47" y="4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60" name="Freeform 92"/>
                <p:cNvSpPr>
                  <a:spLocks/>
                </p:cNvSpPr>
                <p:nvPr/>
              </p:nvSpPr>
              <p:spPr bwMode="auto">
                <a:xfrm>
                  <a:off x="837436" y="7162076"/>
                  <a:ext cx="23354" cy="52546"/>
                </a:xfrm>
                <a:custGeom>
                  <a:avLst/>
                  <a:gdLst>
                    <a:gd name="T0" fmla="*/ 7 w 12"/>
                    <a:gd name="T1" fmla="*/ 0 h 27"/>
                    <a:gd name="T2" fmla="*/ 3 w 12"/>
                    <a:gd name="T3" fmla="*/ 27 h 27"/>
                    <a:gd name="T4" fmla="*/ 7 w 12"/>
                    <a:gd name="T5" fmla="*/ 0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2" h="27">
                      <a:moveTo>
                        <a:pt x="7" y="0"/>
                      </a:moveTo>
                      <a:cubicBezTo>
                        <a:pt x="12" y="5"/>
                        <a:pt x="10" y="24"/>
                        <a:pt x="3" y="27"/>
                      </a:cubicBezTo>
                      <a:cubicBezTo>
                        <a:pt x="2" y="19"/>
                        <a:pt x="0" y="3"/>
                        <a:pt x="7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61" name="Freeform 93"/>
                <p:cNvSpPr>
                  <a:spLocks/>
                </p:cNvSpPr>
                <p:nvPr/>
              </p:nvSpPr>
              <p:spPr bwMode="auto">
                <a:xfrm>
                  <a:off x="561353" y="7167919"/>
                  <a:ext cx="56718" cy="90080"/>
                </a:xfrm>
                <a:custGeom>
                  <a:avLst/>
                  <a:gdLst>
                    <a:gd name="T0" fmla="*/ 25 w 29"/>
                    <a:gd name="T1" fmla="*/ 1 h 46"/>
                    <a:gd name="T2" fmla="*/ 20 w 29"/>
                    <a:gd name="T3" fmla="*/ 28 h 46"/>
                    <a:gd name="T4" fmla="*/ 3 w 29"/>
                    <a:gd name="T5" fmla="*/ 46 h 46"/>
                    <a:gd name="T6" fmla="*/ 22 w 29"/>
                    <a:gd name="T7" fmla="*/ 2 h 46"/>
                    <a:gd name="T8" fmla="*/ 23 w 29"/>
                    <a:gd name="T9" fmla="*/ 0 h 46"/>
                    <a:gd name="T10" fmla="*/ 25 w 29"/>
                    <a:gd name="T11" fmla="*/ 1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9" h="46">
                      <a:moveTo>
                        <a:pt x="25" y="1"/>
                      </a:moveTo>
                      <a:cubicBezTo>
                        <a:pt x="29" y="11"/>
                        <a:pt x="25" y="21"/>
                        <a:pt x="20" y="28"/>
                      </a:cubicBezTo>
                      <a:cubicBezTo>
                        <a:pt x="16" y="34"/>
                        <a:pt x="10" y="42"/>
                        <a:pt x="3" y="46"/>
                      </a:cubicBezTo>
                      <a:cubicBezTo>
                        <a:pt x="0" y="27"/>
                        <a:pt x="19" y="19"/>
                        <a:pt x="22" y="2"/>
                      </a:cubicBezTo>
                      <a:cubicBezTo>
                        <a:pt x="22" y="1"/>
                        <a:pt x="23" y="1"/>
                        <a:pt x="23" y="0"/>
                      </a:cubicBezTo>
                      <a:cubicBezTo>
                        <a:pt x="24" y="0"/>
                        <a:pt x="24" y="1"/>
                        <a:pt x="25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62" name="Freeform 94"/>
                <p:cNvSpPr>
                  <a:spLocks/>
                </p:cNvSpPr>
                <p:nvPr/>
              </p:nvSpPr>
              <p:spPr bwMode="auto">
                <a:xfrm>
                  <a:off x="673122" y="7227143"/>
                  <a:ext cx="180162" cy="180996"/>
                </a:xfrm>
                <a:custGeom>
                  <a:avLst/>
                  <a:gdLst>
                    <a:gd name="T0" fmla="*/ 88 w 91"/>
                    <a:gd name="T1" fmla="*/ 0 h 92"/>
                    <a:gd name="T2" fmla="*/ 79 w 91"/>
                    <a:gd name="T3" fmla="*/ 34 h 92"/>
                    <a:gd name="T4" fmla="*/ 59 w 91"/>
                    <a:gd name="T5" fmla="*/ 58 h 92"/>
                    <a:gd name="T6" fmla="*/ 29 w 91"/>
                    <a:gd name="T7" fmla="*/ 71 h 92"/>
                    <a:gd name="T8" fmla="*/ 57 w 91"/>
                    <a:gd name="T9" fmla="*/ 64 h 92"/>
                    <a:gd name="T10" fmla="*/ 22 w 91"/>
                    <a:gd name="T11" fmla="*/ 80 h 92"/>
                    <a:gd name="T12" fmla="*/ 0 w 91"/>
                    <a:gd name="T13" fmla="*/ 89 h 92"/>
                    <a:gd name="T14" fmla="*/ 10 w 91"/>
                    <a:gd name="T15" fmla="*/ 80 h 92"/>
                    <a:gd name="T16" fmla="*/ 25 w 91"/>
                    <a:gd name="T17" fmla="*/ 64 h 92"/>
                    <a:gd name="T18" fmla="*/ 59 w 91"/>
                    <a:gd name="T19" fmla="*/ 49 h 92"/>
                    <a:gd name="T20" fmla="*/ 84 w 91"/>
                    <a:gd name="T21" fmla="*/ 3 h 92"/>
                    <a:gd name="T22" fmla="*/ 86 w 91"/>
                    <a:gd name="T23" fmla="*/ 0 h 92"/>
                    <a:gd name="T24" fmla="*/ 88 w 91"/>
                    <a:gd name="T25" fmla="*/ 0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1" h="92">
                      <a:moveTo>
                        <a:pt x="88" y="0"/>
                      </a:moveTo>
                      <a:cubicBezTo>
                        <a:pt x="91" y="12"/>
                        <a:pt x="85" y="24"/>
                        <a:pt x="79" y="34"/>
                      </a:cubicBezTo>
                      <a:cubicBezTo>
                        <a:pt x="74" y="43"/>
                        <a:pt x="68" y="53"/>
                        <a:pt x="59" y="58"/>
                      </a:cubicBezTo>
                      <a:cubicBezTo>
                        <a:pt x="49" y="63"/>
                        <a:pt x="37" y="63"/>
                        <a:pt x="29" y="71"/>
                      </a:cubicBezTo>
                      <a:cubicBezTo>
                        <a:pt x="39" y="73"/>
                        <a:pt x="49" y="65"/>
                        <a:pt x="57" y="64"/>
                      </a:cubicBezTo>
                      <a:cubicBezTo>
                        <a:pt x="56" y="81"/>
                        <a:pt x="35" y="75"/>
                        <a:pt x="22" y="80"/>
                      </a:cubicBezTo>
                      <a:cubicBezTo>
                        <a:pt x="14" y="82"/>
                        <a:pt x="9" y="92"/>
                        <a:pt x="0" y="89"/>
                      </a:cubicBezTo>
                      <a:cubicBezTo>
                        <a:pt x="1" y="82"/>
                        <a:pt x="7" y="82"/>
                        <a:pt x="10" y="80"/>
                      </a:cubicBezTo>
                      <a:cubicBezTo>
                        <a:pt x="16" y="75"/>
                        <a:pt x="19" y="68"/>
                        <a:pt x="25" y="64"/>
                      </a:cubicBezTo>
                      <a:cubicBezTo>
                        <a:pt x="36" y="55"/>
                        <a:pt x="50" y="56"/>
                        <a:pt x="59" y="49"/>
                      </a:cubicBezTo>
                      <a:cubicBezTo>
                        <a:pt x="75" y="37"/>
                        <a:pt x="76" y="22"/>
                        <a:pt x="84" y="3"/>
                      </a:cubicBezTo>
                      <a:cubicBezTo>
                        <a:pt x="85" y="2"/>
                        <a:pt x="85" y="1"/>
                        <a:pt x="86" y="0"/>
                      </a:cubicBezTo>
                      <a:cubicBezTo>
                        <a:pt x="87" y="0"/>
                        <a:pt x="87" y="0"/>
                        <a:pt x="8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63" name="Freeform 95"/>
                <p:cNvSpPr>
                  <a:spLocks/>
                </p:cNvSpPr>
                <p:nvPr/>
              </p:nvSpPr>
              <p:spPr bwMode="auto">
                <a:xfrm>
                  <a:off x="791561" y="7230479"/>
                  <a:ext cx="108432" cy="128449"/>
                </a:xfrm>
                <a:custGeom>
                  <a:avLst/>
                  <a:gdLst>
                    <a:gd name="T0" fmla="*/ 52 w 55"/>
                    <a:gd name="T1" fmla="*/ 0 h 65"/>
                    <a:gd name="T2" fmla="*/ 39 w 55"/>
                    <a:gd name="T3" fmla="*/ 34 h 65"/>
                    <a:gd name="T4" fmla="*/ 27 w 55"/>
                    <a:gd name="T5" fmla="*/ 41 h 65"/>
                    <a:gd name="T6" fmla="*/ 0 w 55"/>
                    <a:gd name="T7" fmla="*/ 61 h 65"/>
                    <a:gd name="T8" fmla="*/ 9 w 55"/>
                    <a:gd name="T9" fmla="*/ 51 h 65"/>
                    <a:gd name="T10" fmla="*/ 31 w 55"/>
                    <a:gd name="T11" fmla="*/ 13 h 65"/>
                    <a:gd name="T12" fmla="*/ 37 w 55"/>
                    <a:gd name="T13" fmla="*/ 0 h 65"/>
                    <a:gd name="T14" fmla="*/ 32 w 55"/>
                    <a:gd name="T15" fmla="*/ 29 h 65"/>
                    <a:gd name="T16" fmla="*/ 49 w 55"/>
                    <a:gd name="T17" fmla="*/ 0 h 65"/>
                    <a:gd name="T18" fmla="*/ 52 w 55"/>
                    <a:gd name="T19" fmla="*/ 0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55" h="65">
                      <a:moveTo>
                        <a:pt x="52" y="0"/>
                      </a:moveTo>
                      <a:cubicBezTo>
                        <a:pt x="55" y="13"/>
                        <a:pt x="47" y="27"/>
                        <a:pt x="39" y="34"/>
                      </a:cubicBezTo>
                      <a:cubicBezTo>
                        <a:pt x="36" y="37"/>
                        <a:pt x="31" y="38"/>
                        <a:pt x="27" y="41"/>
                      </a:cubicBezTo>
                      <a:cubicBezTo>
                        <a:pt x="19" y="49"/>
                        <a:pt x="14" y="65"/>
                        <a:pt x="0" y="61"/>
                      </a:cubicBezTo>
                      <a:cubicBezTo>
                        <a:pt x="0" y="55"/>
                        <a:pt x="5" y="55"/>
                        <a:pt x="9" y="51"/>
                      </a:cubicBezTo>
                      <a:cubicBezTo>
                        <a:pt x="19" y="43"/>
                        <a:pt x="27" y="27"/>
                        <a:pt x="31" y="13"/>
                      </a:cubicBezTo>
                      <a:cubicBezTo>
                        <a:pt x="32" y="9"/>
                        <a:pt x="32" y="2"/>
                        <a:pt x="37" y="0"/>
                      </a:cubicBezTo>
                      <a:cubicBezTo>
                        <a:pt x="44" y="8"/>
                        <a:pt x="33" y="21"/>
                        <a:pt x="32" y="29"/>
                      </a:cubicBezTo>
                      <a:cubicBezTo>
                        <a:pt x="42" y="26"/>
                        <a:pt x="42" y="7"/>
                        <a:pt x="49" y="0"/>
                      </a:cubicBezTo>
                      <a:cubicBezTo>
                        <a:pt x="50" y="0"/>
                        <a:pt x="51" y="0"/>
                        <a:pt x="5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64" name="Freeform 96"/>
                <p:cNvSpPr>
                  <a:spLocks/>
                </p:cNvSpPr>
                <p:nvPr/>
              </p:nvSpPr>
              <p:spPr bwMode="auto">
                <a:xfrm>
                  <a:off x="768208" y="7298044"/>
                  <a:ext cx="118441" cy="90080"/>
                </a:xfrm>
                <a:custGeom>
                  <a:avLst/>
                  <a:gdLst>
                    <a:gd name="T0" fmla="*/ 59 w 60"/>
                    <a:gd name="T1" fmla="*/ 0 h 46"/>
                    <a:gd name="T2" fmla="*/ 45 w 60"/>
                    <a:gd name="T3" fmla="*/ 18 h 46"/>
                    <a:gd name="T4" fmla="*/ 52 w 60"/>
                    <a:gd name="T5" fmla="*/ 16 h 46"/>
                    <a:gd name="T6" fmla="*/ 45 w 60"/>
                    <a:gd name="T7" fmla="*/ 26 h 46"/>
                    <a:gd name="T8" fmla="*/ 0 w 60"/>
                    <a:gd name="T9" fmla="*/ 46 h 46"/>
                    <a:gd name="T10" fmla="*/ 17 w 60"/>
                    <a:gd name="T11" fmla="*/ 33 h 46"/>
                    <a:gd name="T12" fmla="*/ 35 w 60"/>
                    <a:gd name="T13" fmla="*/ 21 h 46"/>
                    <a:gd name="T14" fmla="*/ 57 w 60"/>
                    <a:gd name="T15" fmla="*/ 0 h 46"/>
                    <a:gd name="T16" fmla="*/ 59 w 60"/>
                    <a:gd name="T17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0" h="46">
                      <a:moveTo>
                        <a:pt x="59" y="0"/>
                      </a:moveTo>
                      <a:cubicBezTo>
                        <a:pt x="60" y="9"/>
                        <a:pt x="50" y="12"/>
                        <a:pt x="45" y="18"/>
                      </a:cubicBezTo>
                      <a:cubicBezTo>
                        <a:pt x="47" y="20"/>
                        <a:pt x="48" y="15"/>
                        <a:pt x="52" y="16"/>
                      </a:cubicBezTo>
                      <a:cubicBezTo>
                        <a:pt x="52" y="22"/>
                        <a:pt x="47" y="23"/>
                        <a:pt x="45" y="26"/>
                      </a:cubicBezTo>
                      <a:cubicBezTo>
                        <a:pt x="27" y="29"/>
                        <a:pt x="18" y="45"/>
                        <a:pt x="0" y="46"/>
                      </a:cubicBezTo>
                      <a:cubicBezTo>
                        <a:pt x="3" y="39"/>
                        <a:pt x="11" y="37"/>
                        <a:pt x="17" y="33"/>
                      </a:cubicBezTo>
                      <a:cubicBezTo>
                        <a:pt x="23" y="30"/>
                        <a:pt x="30" y="26"/>
                        <a:pt x="35" y="21"/>
                      </a:cubicBezTo>
                      <a:cubicBezTo>
                        <a:pt x="42" y="15"/>
                        <a:pt x="47" y="4"/>
                        <a:pt x="57" y="0"/>
                      </a:cubicBezTo>
                      <a:cubicBezTo>
                        <a:pt x="57" y="0"/>
                        <a:pt x="58" y="0"/>
                        <a:pt x="59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65" name="Freeform 97"/>
                <p:cNvSpPr>
                  <a:spLocks/>
                </p:cNvSpPr>
                <p:nvPr/>
              </p:nvSpPr>
              <p:spPr bwMode="auto">
                <a:xfrm>
                  <a:off x="643928" y="7366435"/>
                  <a:ext cx="49211" cy="30027"/>
                </a:xfrm>
                <a:custGeom>
                  <a:avLst/>
                  <a:gdLst>
                    <a:gd name="T0" fmla="*/ 25 w 25"/>
                    <a:gd name="T1" fmla="*/ 1 h 15"/>
                    <a:gd name="T2" fmla="*/ 0 w 25"/>
                    <a:gd name="T3" fmla="*/ 9 h 15"/>
                    <a:gd name="T4" fmla="*/ 25 w 25"/>
                    <a:gd name="T5" fmla="*/ 1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5" h="15">
                      <a:moveTo>
                        <a:pt x="25" y="1"/>
                      </a:moveTo>
                      <a:cubicBezTo>
                        <a:pt x="22" y="8"/>
                        <a:pt x="7" y="15"/>
                        <a:pt x="0" y="9"/>
                      </a:cubicBezTo>
                      <a:cubicBezTo>
                        <a:pt x="2" y="1"/>
                        <a:pt x="18" y="0"/>
                        <a:pt x="25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66" name="Freeform 98"/>
                <p:cNvSpPr>
                  <a:spLocks/>
                </p:cNvSpPr>
                <p:nvPr/>
              </p:nvSpPr>
              <p:spPr bwMode="auto">
                <a:xfrm>
                  <a:off x="698977" y="7380620"/>
                  <a:ext cx="49211" cy="23353"/>
                </a:xfrm>
                <a:custGeom>
                  <a:avLst/>
                  <a:gdLst>
                    <a:gd name="T0" fmla="*/ 14 w 25"/>
                    <a:gd name="T1" fmla="*/ 12 h 12"/>
                    <a:gd name="T2" fmla="*/ 6 w 25"/>
                    <a:gd name="T3" fmla="*/ 12 h 12"/>
                    <a:gd name="T4" fmla="*/ 25 w 25"/>
                    <a:gd name="T5" fmla="*/ 5 h 12"/>
                    <a:gd name="T6" fmla="*/ 14 w 25"/>
                    <a:gd name="T7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5" h="12">
                      <a:moveTo>
                        <a:pt x="14" y="12"/>
                      </a:moveTo>
                      <a:cubicBezTo>
                        <a:pt x="11" y="12"/>
                        <a:pt x="9" y="12"/>
                        <a:pt x="6" y="12"/>
                      </a:cubicBezTo>
                      <a:cubicBezTo>
                        <a:pt x="0" y="5"/>
                        <a:pt x="19" y="0"/>
                        <a:pt x="25" y="5"/>
                      </a:cubicBezTo>
                      <a:cubicBezTo>
                        <a:pt x="24" y="10"/>
                        <a:pt x="18" y="10"/>
                        <a:pt x="1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>
                  <a:outerShdw blurRad="63500" sx="102000" sy="102000" algn="ctr" rotWithShape="0">
                    <a:srgbClr val="702D89">
                      <a:alpha val="60000"/>
                    </a:srgbClr>
                  </a:outerShdw>
                </a:effectLst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</p:grpSp>
        </p:grpSp>
        <p:cxnSp>
          <p:nvCxnSpPr>
            <p:cNvPr id="38" name="Straight Connector 37"/>
            <p:cNvCxnSpPr>
              <a:stCxn id="39" idx="4"/>
            </p:cNvCxnSpPr>
            <p:nvPr/>
          </p:nvCxnSpPr>
          <p:spPr>
            <a:xfrm flipH="1">
              <a:off x="6204362" y="3526159"/>
              <a:ext cx="1653" cy="673371"/>
            </a:xfrm>
            <a:prstGeom prst="line">
              <a:avLst/>
            </a:prstGeom>
            <a:ln w="9525" cmpd="sng">
              <a:solidFill>
                <a:srgbClr val="2968AF"/>
              </a:solidFill>
              <a:tailEnd type="oval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2" name="Oval 71"/>
          <p:cNvSpPr/>
          <p:nvPr/>
        </p:nvSpPr>
        <p:spPr bwMode="auto">
          <a:xfrm flipH="1">
            <a:off x="6170692" y="2008752"/>
            <a:ext cx="378536" cy="378438"/>
          </a:xfrm>
          <a:prstGeom prst="ellipse">
            <a:avLst/>
          </a:prstGeom>
          <a:gradFill rotWithShape="0">
            <a:gsLst>
              <a:gs pos="0">
                <a:srgbClr val="5C6A76"/>
              </a:gs>
              <a:gs pos="100000">
                <a:srgbClr val="121517"/>
              </a:gs>
            </a:gsLst>
            <a:lin ang="5400000" scaled="1"/>
          </a:gradFill>
          <a:ln w="19050" cap="flat">
            <a:gradFill>
              <a:gsLst>
                <a:gs pos="0">
                  <a:srgbClr val="0183B7">
                    <a:lumMod val="20000"/>
                    <a:lumOff val="80000"/>
                  </a:srgbClr>
                </a:gs>
                <a:gs pos="100000">
                  <a:srgbClr val="0183B7">
                    <a:lumMod val="20000"/>
                    <a:lumOff val="80000"/>
                    <a:alpha val="39000"/>
                  </a:srgbClr>
                </a:gs>
              </a:gsLst>
              <a:lin ang="5400000" scaled="0"/>
            </a:gradFill>
            <a:round/>
            <a:headEnd type="none" w="med" len="med"/>
            <a:tailEnd type="none" w="med" len="med"/>
          </a:ln>
          <a:effectLst>
            <a:outerShdw blurRad="241300" algn="ctr" rotWithShape="0">
              <a:sysClr val="windowText" lastClr="000000">
                <a:alpha val="73000"/>
              </a:sysClr>
            </a:outerShdw>
          </a:effectLst>
        </p:spPr>
        <p:txBody>
          <a:bodyPr lIns="0" tIns="0" rIns="0" bIns="0"/>
          <a:lstStyle/>
          <a:p>
            <a:pPr>
              <a:lnSpc>
                <a:spcPct val="90000"/>
              </a:lnSpc>
            </a:pPr>
            <a:endParaRPr lang="en-US" sz="1200" dirty="0">
              <a:solidFill>
                <a:srgbClr val="FFFFFF"/>
              </a:solidFill>
              <a:ea typeface="ＭＳ Ｐゴシック" charset="0"/>
              <a:cs typeface="ＭＳ Ｐゴシック" charset="0"/>
            </a:endParaRPr>
          </a:p>
        </p:txBody>
      </p:sp>
      <p:grpSp>
        <p:nvGrpSpPr>
          <p:cNvPr id="73" name="Group 72"/>
          <p:cNvGrpSpPr/>
          <p:nvPr/>
        </p:nvGrpSpPr>
        <p:grpSpPr>
          <a:xfrm>
            <a:off x="5849031" y="1226531"/>
            <a:ext cx="1009001" cy="1115337"/>
            <a:chOff x="8088497" y="2185357"/>
            <a:chExt cx="1344985" cy="1487116"/>
          </a:xfrm>
        </p:grpSpPr>
        <p:sp>
          <p:nvSpPr>
            <p:cNvPr id="74" name="TextBox 73"/>
            <p:cNvSpPr txBox="1"/>
            <p:nvPr/>
          </p:nvSpPr>
          <p:spPr>
            <a:xfrm>
              <a:off x="8088497" y="2185357"/>
              <a:ext cx="1344985" cy="943848"/>
            </a:xfrm>
            <a:prstGeom prst="rect">
              <a:avLst/>
            </a:prstGeom>
            <a:noFill/>
          </p:spPr>
          <p:txBody>
            <a:bodyPr wrap="square" rtlCol="0" anchor="b" anchorCtr="0">
              <a:spAutoFit/>
            </a:bodyPr>
            <a:lstStyle/>
            <a:p>
              <a:pPr algn="ctr"/>
              <a:r>
                <a:rPr lang="en-US" sz="800" dirty="0">
                  <a:solidFill>
                    <a:srgbClr val="676767"/>
                  </a:solidFill>
                  <a:ea typeface="ＭＳ Ｐゴシック" charset="0"/>
                  <a:cs typeface="Arial Narrow"/>
                </a:rPr>
                <a:t>Stateful Switchover &amp;</a:t>
              </a:r>
            </a:p>
            <a:p>
              <a:pPr algn="ctr"/>
              <a:r>
                <a:rPr lang="en-US" sz="800" dirty="0">
                  <a:solidFill>
                    <a:srgbClr val="676767"/>
                  </a:solidFill>
                  <a:ea typeface="ＭＳ Ｐゴシック" charset="0"/>
                  <a:cs typeface="Arial Narrow"/>
                </a:rPr>
                <a:t>Application Visibility and Control</a:t>
              </a:r>
            </a:p>
          </p:txBody>
        </p:sp>
        <p:pic>
          <p:nvPicPr>
            <p:cNvPr id="75" name="Picture 74" descr="app_icon.png"/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555669" y="3252026"/>
              <a:ext cx="429071" cy="420447"/>
            </a:xfrm>
            <a:prstGeom prst="rect">
              <a:avLst/>
            </a:prstGeom>
          </p:spPr>
        </p:pic>
      </p:grpSp>
      <p:cxnSp>
        <p:nvCxnSpPr>
          <p:cNvPr id="71" name="Straight Connector 70"/>
          <p:cNvCxnSpPr>
            <a:stCxn id="72" idx="4"/>
          </p:cNvCxnSpPr>
          <p:nvPr/>
        </p:nvCxnSpPr>
        <p:spPr>
          <a:xfrm>
            <a:off x="6359963" y="2387191"/>
            <a:ext cx="479" cy="762458"/>
          </a:xfrm>
          <a:prstGeom prst="line">
            <a:avLst/>
          </a:prstGeom>
          <a:ln w="9525" cmpd="sng">
            <a:solidFill>
              <a:srgbClr val="2968AF"/>
            </a:solidFill>
            <a:tailEnd type="oval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6" name="Group 75"/>
          <p:cNvGrpSpPr/>
          <p:nvPr/>
        </p:nvGrpSpPr>
        <p:grpSpPr>
          <a:xfrm>
            <a:off x="6767887" y="1359751"/>
            <a:ext cx="1189081" cy="1789898"/>
            <a:chOff x="9459232" y="1812999"/>
            <a:chExt cx="1585029" cy="2386531"/>
          </a:xfrm>
        </p:grpSpPr>
        <p:grpSp>
          <p:nvGrpSpPr>
            <p:cNvPr id="77" name="Group 76"/>
            <p:cNvGrpSpPr/>
            <p:nvPr/>
          </p:nvGrpSpPr>
          <p:grpSpPr>
            <a:xfrm>
              <a:off x="9459232" y="1812999"/>
              <a:ext cx="1585029" cy="1198300"/>
              <a:chOff x="9064504" y="1873528"/>
              <a:chExt cx="1585029" cy="1198300"/>
            </a:xfrm>
          </p:grpSpPr>
          <p:sp>
            <p:nvSpPr>
              <p:cNvPr id="79" name="Oval 78"/>
              <p:cNvSpPr/>
              <p:nvPr/>
            </p:nvSpPr>
            <p:spPr bwMode="auto">
              <a:xfrm flipH="1">
                <a:off x="9610271" y="2563145"/>
                <a:ext cx="504584" cy="504584"/>
              </a:xfrm>
              <a:prstGeom prst="ellipse">
                <a:avLst/>
              </a:prstGeom>
              <a:gradFill rotWithShape="0">
                <a:gsLst>
                  <a:gs pos="0">
                    <a:srgbClr val="5C6A76"/>
                  </a:gs>
                  <a:gs pos="100000">
                    <a:srgbClr val="121517"/>
                  </a:gs>
                </a:gsLst>
                <a:lin ang="5400000" scaled="1"/>
              </a:gradFill>
              <a:ln w="19050" cap="flat">
                <a:gradFill>
                  <a:gsLst>
                    <a:gs pos="0">
                      <a:srgbClr val="0183B7">
                        <a:lumMod val="20000"/>
                        <a:lumOff val="80000"/>
                      </a:srgbClr>
                    </a:gs>
                    <a:gs pos="100000">
                      <a:srgbClr val="0183B7">
                        <a:lumMod val="20000"/>
                        <a:lumOff val="80000"/>
                        <a:alpha val="39000"/>
                      </a:srgbClr>
                    </a:gs>
                  </a:gsLst>
                  <a:lin ang="5400000" scaled="0"/>
                </a:gradFill>
                <a:round/>
                <a:headEnd type="none" w="med" len="med"/>
                <a:tailEnd type="none" w="med" len="med"/>
              </a:ln>
              <a:effectLst>
                <a:outerShdw blurRad="241300" algn="ctr" rotWithShape="0">
                  <a:sysClr val="windowText" lastClr="000000">
                    <a:alpha val="73000"/>
                  </a:sysClr>
                </a:outerShdw>
              </a:effectLst>
            </p:spPr>
            <p:txBody>
              <a:bodyPr lIns="0" tIns="0" rIns="0" bIns="0"/>
              <a:lstStyle/>
              <a:p>
                <a:pPr>
                  <a:lnSpc>
                    <a:spcPct val="90000"/>
                  </a:lnSpc>
                </a:pPr>
                <a:endParaRPr lang="en-US" sz="1200" dirty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80" name="TextBox 79"/>
              <p:cNvSpPr txBox="1"/>
              <p:nvPr/>
            </p:nvSpPr>
            <p:spPr>
              <a:xfrm>
                <a:off x="9064504" y="1873528"/>
                <a:ext cx="1585029" cy="615553"/>
              </a:xfrm>
              <a:prstGeom prst="rect">
                <a:avLst/>
              </a:prstGeom>
              <a:noFill/>
            </p:spPr>
            <p:txBody>
              <a:bodyPr wrap="square" rtlCol="0" anchor="b" anchorCtr="0">
                <a:spAutoFit/>
              </a:bodyPr>
              <a:lstStyle/>
              <a:p>
                <a:pPr algn="ctr"/>
                <a:r>
                  <a:rPr lang="en-US" sz="800" dirty="0">
                    <a:solidFill>
                      <a:srgbClr val="676767"/>
                    </a:solidFill>
                    <a:ea typeface="ＭＳ Ｐゴシック" charset="0"/>
                    <a:cs typeface="Arial Narrow"/>
                  </a:rPr>
                  <a:t>802.11ac Wave 1     &amp; High-Density Experience </a:t>
                </a:r>
              </a:p>
            </p:txBody>
          </p:sp>
          <p:grpSp>
            <p:nvGrpSpPr>
              <p:cNvPr id="81" name="Group 80"/>
              <p:cNvGrpSpPr/>
              <p:nvPr/>
            </p:nvGrpSpPr>
            <p:grpSpPr>
              <a:xfrm>
                <a:off x="9610856" y="2594398"/>
                <a:ext cx="479907" cy="477430"/>
                <a:chOff x="4436264" y="1865059"/>
                <a:chExt cx="619128" cy="615933"/>
              </a:xfrm>
            </p:grpSpPr>
            <p:sp>
              <p:nvSpPr>
                <p:cNvPr id="82" name="Freeform 24"/>
                <p:cNvSpPr>
                  <a:spLocks noEditPoints="1"/>
                </p:cNvSpPr>
                <p:nvPr/>
              </p:nvSpPr>
              <p:spPr bwMode="auto">
                <a:xfrm>
                  <a:off x="4666561" y="2063431"/>
                  <a:ext cx="188008" cy="185713"/>
                </a:xfrm>
                <a:custGeom>
                  <a:avLst/>
                  <a:gdLst/>
                  <a:ahLst/>
                  <a:cxnLst>
                    <a:cxn ang="0">
                      <a:pos x="1329" y="160"/>
                    </a:cxn>
                    <a:cxn ang="0">
                      <a:pos x="1045" y="28"/>
                    </a:cxn>
                    <a:cxn ang="0">
                      <a:pos x="220" y="282"/>
                    </a:cxn>
                    <a:cxn ang="0">
                      <a:pos x="47" y="592"/>
                    </a:cxn>
                    <a:cxn ang="0">
                      <a:pos x="350" y="1503"/>
                    </a:cxn>
                    <a:cxn ang="0">
                      <a:pos x="600" y="1628"/>
                    </a:cxn>
                    <a:cxn ang="0">
                      <a:pos x="1236" y="1564"/>
                    </a:cxn>
                    <a:cxn ang="0">
                      <a:pos x="1647" y="1034"/>
                    </a:cxn>
                    <a:cxn ang="0">
                      <a:pos x="1514" y="463"/>
                    </a:cxn>
                    <a:cxn ang="0">
                      <a:pos x="1456" y="368"/>
                    </a:cxn>
                    <a:cxn ang="0">
                      <a:pos x="1198" y="647"/>
                    </a:cxn>
                    <a:cxn ang="0">
                      <a:pos x="1422" y="844"/>
                    </a:cxn>
                    <a:cxn ang="0">
                      <a:pos x="881" y="266"/>
                    </a:cxn>
                    <a:cxn ang="0">
                      <a:pos x="759" y="476"/>
                    </a:cxn>
                    <a:cxn ang="0">
                      <a:pos x="489" y="721"/>
                    </a:cxn>
                    <a:cxn ang="0">
                      <a:pos x="572" y="354"/>
                    </a:cxn>
                    <a:cxn ang="0">
                      <a:pos x="865" y="622"/>
                    </a:cxn>
                    <a:cxn ang="0">
                      <a:pos x="940" y="645"/>
                    </a:cxn>
                    <a:cxn ang="0">
                      <a:pos x="857" y="918"/>
                    </a:cxn>
                    <a:cxn ang="0">
                      <a:pos x="1196" y="566"/>
                    </a:cxn>
                    <a:cxn ang="0">
                      <a:pos x="1352" y="417"/>
                    </a:cxn>
                    <a:cxn ang="0">
                      <a:pos x="1342" y="451"/>
                    </a:cxn>
                    <a:cxn ang="0">
                      <a:pos x="1302" y="250"/>
                    </a:cxn>
                    <a:cxn ang="0">
                      <a:pos x="1098" y="127"/>
                    </a:cxn>
                    <a:cxn ang="0">
                      <a:pos x="1110" y="581"/>
                    </a:cxn>
                    <a:cxn ang="0">
                      <a:pos x="1022" y="104"/>
                    </a:cxn>
                    <a:cxn ang="0">
                      <a:pos x="791" y="89"/>
                    </a:cxn>
                    <a:cxn ang="0">
                      <a:pos x="793" y="90"/>
                    </a:cxn>
                    <a:cxn ang="0">
                      <a:pos x="641" y="223"/>
                    </a:cxn>
                    <a:cxn ang="0">
                      <a:pos x="760" y="203"/>
                    </a:cxn>
                    <a:cxn ang="0">
                      <a:pos x="632" y="92"/>
                    </a:cxn>
                    <a:cxn ang="0">
                      <a:pos x="609" y="98"/>
                    </a:cxn>
                    <a:cxn ang="0">
                      <a:pos x="362" y="287"/>
                    </a:cxn>
                    <a:cxn ang="0">
                      <a:pos x="509" y="298"/>
                    </a:cxn>
                    <a:cxn ang="0">
                      <a:pos x="122" y="615"/>
                    </a:cxn>
                    <a:cxn ang="0">
                      <a:pos x="255" y="428"/>
                    </a:cxn>
                    <a:cxn ang="0">
                      <a:pos x="286" y="1340"/>
                    </a:cxn>
                    <a:cxn ang="0">
                      <a:pos x="310" y="1209"/>
                    </a:cxn>
                    <a:cxn ang="0">
                      <a:pos x="217" y="1006"/>
                    </a:cxn>
                    <a:cxn ang="0">
                      <a:pos x="295" y="588"/>
                    </a:cxn>
                    <a:cxn ang="0">
                      <a:pos x="348" y="1061"/>
                    </a:cxn>
                    <a:cxn ang="0">
                      <a:pos x="634" y="1382"/>
                    </a:cxn>
                    <a:cxn ang="0">
                      <a:pos x="436" y="1046"/>
                    </a:cxn>
                    <a:cxn ang="0">
                      <a:pos x="399" y="1176"/>
                    </a:cxn>
                    <a:cxn ang="0">
                      <a:pos x="990" y="1444"/>
                    </a:cxn>
                    <a:cxn ang="0">
                      <a:pos x="1108" y="1024"/>
                    </a:cxn>
                    <a:cxn ang="0">
                      <a:pos x="732" y="1329"/>
                    </a:cxn>
                    <a:cxn ang="0">
                      <a:pos x="1263" y="1407"/>
                    </a:cxn>
                    <a:cxn ang="0">
                      <a:pos x="1394" y="1262"/>
                    </a:cxn>
                    <a:cxn ang="0">
                      <a:pos x="1126" y="1296"/>
                    </a:cxn>
                    <a:cxn ang="0">
                      <a:pos x="1395" y="1260"/>
                    </a:cxn>
                    <a:cxn ang="0">
                      <a:pos x="1417" y="475"/>
                    </a:cxn>
                    <a:cxn ang="0">
                      <a:pos x="1515" y="736"/>
                    </a:cxn>
                    <a:cxn ang="0">
                      <a:pos x="1552" y="1078"/>
                    </a:cxn>
                    <a:cxn ang="0">
                      <a:pos x="1497" y="1170"/>
                    </a:cxn>
                    <a:cxn ang="0">
                      <a:pos x="1561" y="1051"/>
                    </a:cxn>
                  </a:cxnLst>
                  <a:rect l="0" t="0" r="r" b="b"/>
                  <a:pathLst>
                    <a:path w="1678" h="1666">
                      <a:moveTo>
                        <a:pt x="1621" y="547"/>
                      </a:moveTo>
                      <a:cubicBezTo>
                        <a:pt x="1570" y="408"/>
                        <a:pt x="1481" y="283"/>
                        <a:pt x="1364" y="187"/>
                      </a:cubicBezTo>
                      <a:cubicBezTo>
                        <a:pt x="1359" y="184"/>
                        <a:pt x="1355" y="180"/>
                        <a:pt x="1350" y="176"/>
                      </a:cubicBezTo>
                      <a:cubicBezTo>
                        <a:pt x="1343" y="171"/>
                        <a:pt x="1336" y="166"/>
                        <a:pt x="1329" y="160"/>
                      </a:cubicBezTo>
                      <a:cubicBezTo>
                        <a:pt x="1267" y="115"/>
                        <a:pt x="1197" y="78"/>
                        <a:pt x="1121" y="51"/>
                      </a:cubicBezTo>
                      <a:cubicBezTo>
                        <a:pt x="1118" y="50"/>
                        <a:pt x="1115" y="49"/>
                        <a:pt x="1112" y="48"/>
                      </a:cubicBezTo>
                      <a:cubicBezTo>
                        <a:pt x="1102" y="44"/>
                        <a:pt x="1092" y="41"/>
                        <a:pt x="1082" y="38"/>
                      </a:cubicBezTo>
                      <a:cubicBezTo>
                        <a:pt x="1070" y="35"/>
                        <a:pt x="1058" y="31"/>
                        <a:pt x="1045" y="28"/>
                      </a:cubicBezTo>
                      <a:cubicBezTo>
                        <a:pt x="967" y="8"/>
                        <a:pt x="888" y="0"/>
                        <a:pt x="811" y="3"/>
                      </a:cubicBezTo>
                      <a:cubicBezTo>
                        <a:pt x="802" y="3"/>
                        <a:pt x="793" y="4"/>
                        <a:pt x="785" y="4"/>
                      </a:cubicBezTo>
                      <a:cubicBezTo>
                        <a:pt x="628" y="15"/>
                        <a:pt x="478" y="70"/>
                        <a:pt x="353" y="161"/>
                      </a:cubicBezTo>
                      <a:cubicBezTo>
                        <a:pt x="305" y="196"/>
                        <a:pt x="260" y="237"/>
                        <a:pt x="220" y="282"/>
                      </a:cubicBezTo>
                      <a:cubicBezTo>
                        <a:pt x="180" y="327"/>
                        <a:pt x="145" y="377"/>
                        <a:pt x="115" y="431"/>
                      </a:cubicBezTo>
                      <a:cubicBezTo>
                        <a:pt x="93" y="470"/>
                        <a:pt x="74" y="512"/>
                        <a:pt x="59" y="556"/>
                      </a:cubicBezTo>
                      <a:cubicBezTo>
                        <a:pt x="58" y="558"/>
                        <a:pt x="57" y="560"/>
                        <a:pt x="56" y="563"/>
                      </a:cubicBezTo>
                      <a:cubicBezTo>
                        <a:pt x="53" y="572"/>
                        <a:pt x="50" y="582"/>
                        <a:pt x="47" y="592"/>
                      </a:cubicBezTo>
                      <a:cubicBezTo>
                        <a:pt x="2" y="738"/>
                        <a:pt x="0" y="888"/>
                        <a:pt x="34" y="1028"/>
                      </a:cubicBezTo>
                      <a:cubicBezTo>
                        <a:pt x="51" y="1096"/>
                        <a:pt x="76" y="1162"/>
                        <a:pt x="109" y="1224"/>
                      </a:cubicBezTo>
                      <a:cubicBezTo>
                        <a:pt x="151" y="1304"/>
                        <a:pt x="208" y="1378"/>
                        <a:pt x="275" y="1441"/>
                      </a:cubicBezTo>
                      <a:cubicBezTo>
                        <a:pt x="299" y="1463"/>
                        <a:pt x="324" y="1484"/>
                        <a:pt x="350" y="1503"/>
                      </a:cubicBezTo>
                      <a:cubicBezTo>
                        <a:pt x="414" y="1549"/>
                        <a:pt x="485" y="1588"/>
                        <a:pt x="563" y="1615"/>
                      </a:cubicBezTo>
                      <a:cubicBezTo>
                        <a:pt x="566" y="1616"/>
                        <a:pt x="568" y="1617"/>
                        <a:pt x="571" y="1618"/>
                      </a:cubicBezTo>
                      <a:cubicBezTo>
                        <a:pt x="580" y="1621"/>
                        <a:pt x="590" y="1625"/>
                        <a:pt x="599" y="1627"/>
                      </a:cubicBezTo>
                      <a:cubicBezTo>
                        <a:pt x="600" y="1628"/>
                        <a:pt x="600" y="1628"/>
                        <a:pt x="600" y="1628"/>
                      </a:cubicBezTo>
                      <a:cubicBezTo>
                        <a:pt x="613" y="1632"/>
                        <a:pt x="626" y="1635"/>
                        <a:pt x="638" y="1638"/>
                      </a:cubicBezTo>
                      <a:cubicBezTo>
                        <a:pt x="719" y="1659"/>
                        <a:pt x="800" y="1666"/>
                        <a:pt x="879" y="1663"/>
                      </a:cubicBezTo>
                      <a:cubicBezTo>
                        <a:pt x="912" y="1661"/>
                        <a:pt x="944" y="1658"/>
                        <a:pt x="976" y="1653"/>
                      </a:cubicBezTo>
                      <a:cubicBezTo>
                        <a:pt x="1067" y="1638"/>
                        <a:pt x="1155" y="1607"/>
                        <a:pt x="1236" y="1564"/>
                      </a:cubicBezTo>
                      <a:cubicBezTo>
                        <a:pt x="1298" y="1531"/>
                        <a:pt x="1355" y="1489"/>
                        <a:pt x="1407" y="1441"/>
                      </a:cubicBezTo>
                      <a:cubicBezTo>
                        <a:pt x="1504" y="1352"/>
                        <a:pt x="1581" y="1237"/>
                        <a:pt x="1627" y="1103"/>
                      </a:cubicBezTo>
                      <a:cubicBezTo>
                        <a:pt x="1630" y="1094"/>
                        <a:pt x="1633" y="1084"/>
                        <a:pt x="1636" y="1074"/>
                      </a:cubicBezTo>
                      <a:cubicBezTo>
                        <a:pt x="1640" y="1061"/>
                        <a:pt x="1644" y="1047"/>
                        <a:pt x="1647" y="1034"/>
                      </a:cubicBezTo>
                      <a:cubicBezTo>
                        <a:pt x="1659" y="985"/>
                        <a:pt x="1667" y="936"/>
                        <a:pt x="1670" y="887"/>
                      </a:cubicBezTo>
                      <a:cubicBezTo>
                        <a:pt x="1678" y="770"/>
                        <a:pt x="1660" y="654"/>
                        <a:pt x="1621" y="547"/>
                      </a:cubicBezTo>
                      <a:close/>
                      <a:moveTo>
                        <a:pt x="1456" y="368"/>
                      </a:moveTo>
                      <a:cubicBezTo>
                        <a:pt x="1480" y="399"/>
                        <a:pt x="1499" y="431"/>
                        <a:pt x="1514" y="463"/>
                      </a:cubicBezTo>
                      <a:cubicBezTo>
                        <a:pt x="1496" y="443"/>
                        <a:pt x="1478" y="423"/>
                        <a:pt x="1459" y="405"/>
                      </a:cubicBezTo>
                      <a:cubicBezTo>
                        <a:pt x="1451" y="393"/>
                        <a:pt x="1442" y="381"/>
                        <a:pt x="1433" y="370"/>
                      </a:cubicBezTo>
                      <a:cubicBezTo>
                        <a:pt x="1432" y="358"/>
                        <a:pt x="1430" y="346"/>
                        <a:pt x="1428" y="334"/>
                      </a:cubicBezTo>
                      <a:cubicBezTo>
                        <a:pt x="1438" y="345"/>
                        <a:pt x="1448" y="356"/>
                        <a:pt x="1456" y="368"/>
                      </a:cubicBezTo>
                      <a:close/>
                      <a:moveTo>
                        <a:pt x="1422" y="844"/>
                      </a:moveTo>
                      <a:cubicBezTo>
                        <a:pt x="1381" y="876"/>
                        <a:pt x="1330" y="901"/>
                        <a:pt x="1271" y="919"/>
                      </a:cubicBezTo>
                      <a:cubicBezTo>
                        <a:pt x="1248" y="926"/>
                        <a:pt x="1223" y="931"/>
                        <a:pt x="1198" y="936"/>
                      </a:cubicBezTo>
                      <a:cubicBezTo>
                        <a:pt x="1207" y="836"/>
                        <a:pt x="1207" y="739"/>
                        <a:pt x="1198" y="647"/>
                      </a:cubicBezTo>
                      <a:cubicBezTo>
                        <a:pt x="1205" y="646"/>
                        <a:pt x="1212" y="644"/>
                        <a:pt x="1218" y="642"/>
                      </a:cubicBezTo>
                      <a:cubicBezTo>
                        <a:pt x="1261" y="629"/>
                        <a:pt x="1300" y="610"/>
                        <a:pt x="1333" y="584"/>
                      </a:cubicBezTo>
                      <a:cubicBezTo>
                        <a:pt x="1343" y="601"/>
                        <a:pt x="1351" y="619"/>
                        <a:pt x="1359" y="637"/>
                      </a:cubicBezTo>
                      <a:cubicBezTo>
                        <a:pt x="1389" y="702"/>
                        <a:pt x="1410" y="772"/>
                        <a:pt x="1422" y="844"/>
                      </a:cubicBezTo>
                      <a:close/>
                      <a:moveTo>
                        <a:pt x="702" y="422"/>
                      </a:moveTo>
                      <a:cubicBezTo>
                        <a:pt x="697" y="416"/>
                        <a:pt x="692" y="410"/>
                        <a:pt x="688" y="405"/>
                      </a:cubicBezTo>
                      <a:cubicBezTo>
                        <a:pt x="667" y="377"/>
                        <a:pt x="652" y="348"/>
                        <a:pt x="644" y="320"/>
                      </a:cubicBezTo>
                      <a:cubicBezTo>
                        <a:pt x="720" y="289"/>
                        <a:pt x="800" y="271"/>
                        <a:pt x="881" y="266"/>
                      </a:cubicBezTo>
                      <a:cubicBezTo>
                        <a:pt x="819" y="308"/>
                        <a:pt x="759" y="360"/>
                        <a:pt x="702" y="422"/>
                      </a:cubicBezTo>
                      <a:close/>
                      <a:moveTo>
                        <a:pt x="960" y="310"/>
                      </a:moveTo>
                      <a:cubicBezTo>
                        <a:pt x="888" y="547"/>
                        <a:pt x="888" y="547"/>
                        <a:pt x="888" y="547"/>
                      </a:cubicBezTo>
                      <a:cubicBezTo>
                        <a:pt x="839" y="528"/>
                        <a:pt x="796" y="504"/>
                        <a:pt x="759" y="476"/>
                      </a:cubicBezTo>
                      <a:cubicBezTo>
                        <a:pt x="784" y="449"/>
                        <a:pt x="809" y="425"/>
                        <a:pt x="834" y="403"/>
                      </a:cubicBezTo>
                      <a:cubicBezTo>
                        <a:pt x="875" y="366"/>
                        <a:pt x="917" y="335"/>
                        <a:pt x="960" y="310"/>
                      </a:cubicBezTo>
                      <a:close/>
                      <a:moveTo>
                        <a:pt x="650" y="481"/>
                      </a:moveTo>
                      <a:cubicBezTo>
                        <a:pt x="591" y="552"/>
                        <a:pt x="538" y="633"/>
                        <a:pt x="489" y="721"/>
                      </a:cubicBezTo>
                      <a:cubicBezTo>
                        <a:pt x="465" y="698"/>
                        <a:pt x="443" y="674"/>
                        <a:pt x="424" y="649"/>
                      </a:cubicBezTo>
                      <a:cubicBezTo>
                        <a:pt x="392" y="607"/>
                        <a:pt x="368" y="564"/>
                        <a:pt x="353" y="520"/>
                      </a:cubicBezTo>
                      <a:cubicBezTo>
                        <a:pt x="411" y="459"/>
                        <a:pt x="477" y="407"/>
                        <a:pt x="548" y="366"/>
                      </a:cubicBezTo>
                      <a:cubicBezTo>
                        <a:pt x="556" y="362"/>
                        <a:pt x="564" y="358"/>
                        <a:pt x="572" y="354"/>
                      </a:cubicBezTo>
                      <a:cubicBezTo>
                        <a:pt x="583" y="388"/>
                        <a:pt x="602" y="422"/>
                        <a:pt x="625" y="453"/>
                      </a:cubicBezTo>
                      <a:cubicBezTo>
                        <a:pt x="633" y="463"/>
                        <a:pt x="641" y="472"/>
                        <a:pt x="650" y="481"/>
                      </a:cubicBezTo>
                      <a:close/>
                      <a:moveTo>
                        <a:pt x="708" y="535"/>
                      </a:moveTo>
                      <a:cubicBezTo>
                        <a:pt x="752" y="570"/>
                        <a:pt x="805" y="600"/>
                        <a:pt x="865" y="622"/>
                      </a:cubicBezTo>
                      <a:cubicBezTo>
                        <a:pt x="782" y="895"/>
                        <a:pt x="782" y="895"/>
                        <a:pt x="782" y="895"/>
                      </a:cubicBezTo>
                      <a:cubicBezTo>
                        <a:pt x="694" y="865"/>
                        <a:pt x="616" y="822"/>
                        <a:pt x="551" y="773"/>
                      </a:cubicBezTo>
                      <a:cubicBezTo>
                        <a:pt x="598" y="685"/>
                        <a:pt x="651" y="605"/>
                        <a:pt x="708" y="535"/>
                      </a:cubicBezTo>
                      <a:close/>
                      <a:moveTo>
                        <a:pt x="940" y="645"/>
                      </a:moveTo>
                      <a:cubicBezTo>
                        <a:pt x="1002" y="660"/>
                        <a:pt x="1063" y="664"/>
                        <a:pt x="1120" y="660"/>
                      </a:cubicBezTo>
                      <a:cubicBezTo>
                        <a:pt x="1121" y="668"/>
                        <a:pt x="1122" y="675"/>
                        <a:pt x="1122" y="683"/>
                      </a:cubicBezTo>
                      <a:cubicBezTo>
                        <a:pt x="1129" y="766"/>
                        <a:pt x="1127" y="854"/>
                        <a:pt x="1118" y="945"/>
                      </a:cubicBezTo>
                      <a:cubicBezTo>
                        <a:pt x="1036" y="950"/>
                        <a:pt x="947" y="941"/>
                        <a:pt x="857" y="918"/>
                      </a:cubicBezTo>
                      <a:lnTo>
                        <a:pt x="940" y="645"/>
                      </a:lnTo>
                      <a:close/>
                      <a:moveTo>
                        <a:pt x="1126" y="341"/>
                      </a:moveTo>
                      <a:cubicBezTo>
                        <a:pt x="1190" y="390"/>
                        <a:pt x="1246" y="449"/>
                        <a:pt x="1292" y="516"/>
                      </a:cubicBezTo>
                      <a:cubicBezTo>
                        <a:pt x="1267" y="538"/>
                        <a:pt x="1234" y="555"/>
                        <a:pt x="1196" y="566"/>
                      </a:cubicBezTo>
                      <a:cubicBezTo>
                        <a:pt x="1193" y="567"/>
                        <a:pt x="1191" y="568"/>
                        <a:pt x="1188" y="568"/>
                      </a:cubicBezTo>
                      <a:cubicBezTo>
                        <a:pt x="1184" y="544"/>
                        <a:pt x="1179" y="519"/>
                        <a:pt x="1174" y="495"/>
                      </a:cubicBezTo>
                      <a:cubicBezTo>
                        <a:pt x="1162" y="441"/>
                        <a:pt x="1145" y="389"/>
                        <a:pt x="1126" y="341"/>
                      </a:cubicBezTo>
                      <a:close/>
                      <a:moveTo>
                        <a:pt x="1352" y="417"/>
                      </a:moveTo>
                      <a:cubicBezTo>
                        <a:pt x="1351" y="423"/>
                        <a:pt x="1350" y="429"/>
                        <a:pt x="1348" y="434"/>
                      </a:cubicBezTo>
                      <a:cubicBezTo>
                        <a:pt x="1348" y="435"/>
                        <a:pt x="1347" y="437"/>
                        <a:pt x="1347" y="438"/>
                      </a:cubicBezTo>
                      <a:cubicBezTo>
                        <a:pt x="1347" y="439"/>
                        <a:pt x="1346" y="441"/>
                        <a:pt x="1345" y="442"/>
                      </a:cubicBezTo>
                      <a:cubicBezTo>
                        <a:pt x="1344" y="445"/>
                        <a:pt x="1343" y="448"/>
                        <a:pt x="1342" y="451"/>
                      </a:cubicBezTo>
                      <a:cubicBezTo>
                        <a:pt x="1318" y="417"/>
                        <a:pt x="1291" y="385"/>
                        <a:pt x="1262" y="356"/>
                      </a:cubicBezTo>
                      <a:cubicBezTo>
                        <a:pt x="1294" y="374"/>
                        <a:pt x="1324" y="394"/>
                        <a:pt x="1352" y="417"/>
                      </a:cubicBezTo>
                      <a:close/>
                      <a:moveTo>
                        <a:pt x="1297" y="243"/>
                      </a:moveTo>
                      <a:cubicBezTo>
                        <a:pt x="1299" y="245"/>
                        <a:pt x="1301" y="247"/>
                        <a:pt x="1302" y="250"/>
                      </a:cubicBezTo>
                      <a:cubicBezTo>
                        <a:pt x="1317" y="269"/>
                        <a:pt x="1329" y="289"/>
                        <a:pt x="1338" y="309"/>
                      </a:cubicBezTo>
                      <a:cubicBezTo>
                        <a:pt x="1291" y="279"/>
                        <a:pt x="1240" y="254"/>
                        <a:pt x="1186" y="234"/>
                      </a:cubicBezTo>
                      <a:cubicBezTo>
                        <a:pt x="1224" y="232"/>
                        <a:pt x="1261" y="235"/>
                        <a:pt x="1297" y="243"/>
                      </a:cubicBezTo>
                      <a:close/>
                      <a:moveTo>
                        <a:pt x="1098" y="127"/>
                      </a:moveTo>
                      <a:cubicBezTo>
                        <a:pt x="1122" y="136"/>
                        <a:pt x="1146" y="146"/>
                        <a:pt x="1169" y="157"/>
                      </a:cubicBezTo>
                      <a:cubicBezTo>
                        <a:pt x="1141" y="159"/>
                        <a:pt x="1112" y="164"/>
                        <a:pt x="1084" y="172"/>
                      </a:cubicBezTo>
                      <a:lnTo>
                        <a:pt x="1098" y="127"/>
                      </a:lnTo>
                      <a:close/>
                      <a:moveTo>
                        <a:pt x="1110" y="581"/>
                      </a:moveTo>
                      <a:cubicBezTo>
                        <a:pt x="1064" y="585"/>
                        <a:pt x="1014" y="581"/>
                        <a:pt x="963" y="570"/>
                      </a:cubicBezTo>
                      <a:cubicBezTo>
                        <a:pt x="1035" y="332"/>
                        <a:pt x="1035" y="332"/>
                        <a:pt x="1035" y="332"/>
                      </a:cubicBezTo>
                      <a:cubicBezTo>
                        <a:pt x="1070" y="404"/>
                        <a:pt x="1095" y="488"/>
                        <a:pt x="1110" y="581"/>
                      </a:cubicBezTo>
                      <a:close/>
                      <a:moveTo>
                        <a:pt x="1022" y="104"/>
                      </a:moveTo>
                      <a:cubicBezTo>
                        <a:pt x="1009" y="148"/>
                        <a:pt x="1009" y="148"/>
                        <a:pt x="1009" y="148"/>
                      </a:cubicBezTo>
                      <a:cubicBezTo>
                        <a:pt x="990" y="127"/>
                        <a:pt x="969" y="107"/>
                        <a:pt x="947" y="89"/>
                      </a:cubicBezTo>
                      <a:cubicBezTo>
                        <a:pt x="972" y="93"/>
                        <a:pt x="997" y="97"/>
                        <a:pt x="1022" y="104"/>
                      </a:cubicBezTo>
                      <a:close/>
                      <a:moveTo>
                        <a:pt x="791" y="89"/>
                      </a:moveTo>
                      <a:cubicBezTo>
                        <a:pt x="792" y="90"/>
                        <a:pt x="792" y="90"/>
                        <a:pt x="793" y="90"/>
                      </a:cubicBezTo>
                      <a:cubicBezTo>
                        <a:pt x="793" y="89"/>
                        <a:pt x="793" y="89"/>
                        <a:pt x="793" y="89"/>
                      </a:cubicBezTo>
                      <a:cubicBezTo>
                        <a:pt x="793" y="89"/>
                        <a:pt x="793" y="89"/>
                        <a:pt x="793" y="89"/>
                      </a:cubicBezTo>
                      <a:cubicBezTo>
                        <a:pt x="793" y="90"/>
                        <a:pt x="793" y="90"/>
                        <a:pt x="793" y="90"/>
                      </a:cubicBezTo>
                      <a:cubicBezTo>
                        <a:pt x="827" y="103"/>
                        <a:pt x="860" y="121"/>
                        <a:pt x="889" y="144"/>
                      </a:cubicBezTo>
                      <a:cubicBezTo>
                        <a:pt x="833" y="130"/>
                        <a:pt x="776" y="123"/>
                        <a:pt x="720" y="122"/>
                      </a:cubicBezTo>
                      <a:cubicBezTo>
                        <a:pt x="741" y="109"/>
                        <a:pt x="764" y="98"/>
                        <a:pt x="791" y="89"/>
                      </a:cubicBezTo>
                      <a:close/>
                      <a:moveTo>
                        <a:pt x="641" y="223"/>
                      </a:moveTo>
                      <a:cubicBezTo>
                        <a:pt x="642" y="222"/>
                        <a:pt x="642" y="221"/>
                        <a:pt x="642" y="220"/>
                      </a:cubicBezTo>
                      <a:cubicBezTo>
                        <a:pt x="643" y="218"/>
                        <a:pt x="644" y="215"/>
                        <a:pt x="645" y="212"/>
                      </a:cubicBezTo>
                      <a:cubicBezTo>
                        <a:pt x="646" y="209"/>
                        <a:pt x="647" y="206"/>
                        <a:pt x="648" y="203"/>
                      </a:cubicBezTo>
                      <a:cubicBezTo>
                        <a:pt x="685" y="200"/>
                        <a:pt x="722" y="200"/>
                        <a:pt x="760" y="203"/>
                      </a:cubicBezTo>
                      <a:cubicBezTo>
                        <a:pt x="718" y="211"/>
                        <a:pt x="678" y="223"/>
                        <a:pt x="638" y="238"/>
                      </a:cubicBezTo>
                      <a:cubicBezTo>
                        <a:pt x="639" y="233"/>
                        <a:pt x="640" y="228"/>
                        <a:pt x="641" y="223"/>
                      </a:cubicBezTo>
                      <a:close/>
                      <a:moveTo>
                        <a:pt x="609" y="98"/>
                      </a:moveTo>
                      <a:cubicBezTo>
                        <a:pt x="616" y="96"/>
                        <a:pt x="624" y="94"/>
                        <a:pt x="632" y="92"/>
                      </a:cubicBezTo>
                      <a:cubicBezTo>
                        <a:pt x="623" y="100"/>
                        <a:pt x="615" y="109"/>
                        <a:pt x="608" y="119"/>
                      </a:cubicBezTo>
                      <a:cubicBezTo>
                        <a:pt x="593" y="124"/>
                        <a:pt x="578" y="129"/>
                        <a:pt x="564" y="135"/>
                      </a:cubicBezTo>
                      <a:cubicBezTo>
                        <a:pt x="538" y="140"/>
                        <a:pt x="512" y="146"/>
                        <a:pt x="487" y="153"/>
                      </a:cubicBezTo>
                      <a:cubicBezTo>
                        <a:pt x="522" y="130"/>
                        <a:pt x="563" y="112"/>
                        <a:pt x="609" y="98"/>
                      </a:cubicBezTo>
                      <a:close/>
                      <a:moveTo>
                        <a:pt x="335" y="377"/>
                      </a:moveTo>
                      <a:cubicBezTo>
                        <a:pt x="337" y="361"/>
                        <a:pt x="341" y="344"/>
                        <a:pt x="345" y="328"/>
                      </a:cubicBezTo>
                      <a:cubicBezTo>
                        <a:pt x="347" y="323"/>
                        <a:pt x="348" y="319"/>
                        <a:pt x="350" y="314"/>
                      </a:cubicBezTo>
                      <a:cubicBezTo>
                        <a:pt x="353" y="305"/>
                        <a:pt x="357" y="296"/>
                        <a:pt x="362" y="287"/>
                      </a:cubicBezTo>
                      <a:cubicBezTo>
                        <a:pt x="425" y="254"/>
                        <a:pt x="493" y="230"/>
                        <a:pt x="562" y="216"/>
                      </a:cubicBezTo>
                      <a:cubicBezTo>
                        <a:pt x="561" y="220"/>
                        <a:pt x="560" y="225"/>
                        <a:pt x="559" y="230"/>
                      </a:cubicBezTo>
                      <a:cubicBezTo>
                        <a:pt x="557" y="244"/>
                        <a:pt x="556" y="258"/>
                        <a:pt x="557" y="273"/>
                      </a:cubicBezTo>
                      <a:cubicBezTo>
                        <a:pt x="541" y="281"/>
                        <a:pt x="525" y="289"/>
                        <a:pt x="509" y="298"/>
                      </a:cubicBezTo>
                      <a:cubicBezTo>
                        <a:pt x="447" y="333"/>
                        <a:pt x="388" y="377"/>
                        <a:pt x="334" y="428"/>
                      </a:cubicBezTo>
                      <a:cubicBezTo>
                        <a:pt x="333" y="411"/>
                        <a:pt x="333" y="394"/>
                        <a:pt x="335" y="377"/>
                      </a:cubicBezTo>
                      <a:close/>
                      <a:moveTo>
                        <a:pt x="122" y="615"/>
                      </a:moveTo>
                      <a:cubicBezTo>
                        <a:pt x="122" y="615"/>
                        <a:pt x="122" y="615"/>
                        <a:pt x="122" y="615"/>
                      </a:cubicBezTo>
                      <a:cubicBezTo>
                        <a:pt x="122" y="615"/>
                        <a:pt x="123" y="614"/>
                        <a:pt x="123" y="614"/>
                      </a:cubicBezTo>
                      <a:cubicBezTo>
                        <a:pt x="125" y="605"/>
                        <a:pt x="128" y="597"/>
                        <a:pt x="131" y="588"/>
                      </a:cubicBezTo>
                      <a:cubicBezTo>
                        <a:pt x="160" y="502"/>
                        <a:pt x="204" y="425"/>
                        <a:pt x="258" y="359"/>
                      </a:cubicBezTo>
                      <a:cubicBezTo>
                        <a:pt x="255" y="382"/>
                        <a:pt x="254" y="405"/>
                        <a:pt x="255" y="428"/>
                      </a:cubicBezTo>
                      <a:cubicBezTo>
                        <a:pt x="256" y="452"/>
                        <a:pt x="260" y="476"/>
                        <a:pt x="265" y="500"/>
                      </a:cubicBezTo>
                      <a:cubicBezTo>
                        <a:pt x="202" y="573"/>
                        <a:pt x="150" y="658"/>
                        <a:pt x="109" y="751"/>
                      </a:cubicBezTo>
                      <a:cubicBezTo>
                        <a:pt x="105" y="705"/>
                        <a:pt x="109" y="659"/>
                        <a:pt x="122" y="615"/>
                      </a:cubicBezTo>
                      <a:close/>
                      <a:moveTo>
                        <a:pt x="286" y="1340"/>
                      </a:moveTo>
                      <a:cubicBezTo>
                        <a:pt x="204" y="1250"/>
                        <a:pt x="145" y="1141"/>
                        <a:pt x="114" y="1023"/>
                      </a:cubicBezTo>
                      <a:cubicBezTo>
                        <a:pt x="115" y="1015"/>
                        <a:pt x="116" y="1008"/>
                        <a:pt x="118" y="1001"/>
                      </a:cubicBezTo>
                      <a:cubicBezTo>
                        <a:pt x="129" y="1019"/>
                        <a:pt x="141" y="1036"/>
                        <a:pt x="155" y="1054"/>
                      </a:cubicBezTo>
                      <a:cubicBezTo>
                        <a:pt x="197" y="1109"/>
                        <a:pt x="250" y="1162"/>
                        <a:pt x="310" y="1209"/>
                      </a:cubicBezTo>
                      <a:cubicBezTo>
                        <a:pt x="300" y="1253"/>
                        <a:pt x="293" y="1297"/>
                        <a:pt x="286" y="1340"/>
                      </a:cubicBezTo>
                      <a:close/>
                      <a:moveTo>
                        <a:pt x="348" y="1061"/>
                      </a:moveTo>
                      <a:cubicBezTo>
                        <a:pt x="342" y="1082"/>
                        <a:pt x="336" y="1103"/>
                        <a:pt x="331" y="1124"/>
                      </a:cubicBezTo>
                      <a:cubicBezTo>
                        <a:pt x="287" y="1087"/>
                        <a:pt x="249" y="1047"/>
                        <a:pt x="217" y="1006"/>
                      </a:cubicBezTo>
                      <a:cubicBezTo>
                        <a:pt x="187" y="966"/>
                        <a:pt x="163" y="925"/>
                        <a:pt x="145" y="884"/>
                      </a:cubicBezTo>
                      <a:cubicBezTo>
                        <a:pt x="145" y="883"/>
                        <a:pt x="145" y="882"/>
                        <a:pt x="146" y="881"/>
                      </a:cubicBezTo>
                      <a:cubicBezTo>
                        <a:pt x="149" y="871"/>
                        <a:pt x="152" y="861"/>
                        <a:pt x="155" y="851"/>
                      </a:cubicBezTo>
                      <a:cubicBezTo>
                        <a:pt x="189" y="753"/>
                        <a:pt x="237" y="665"/>
                        <a:pt x="295" y="588"/>
                      </a:cubicBezTo>
                      <a:cubicBezTo>
                        <a:pt x="312" y="626"/>
                        <a:pt x="335" y="662"/>
                        <a:pt x="361" y="697"/>
                      </a:cubicBezTo>
                      <a:cubicBezTo>
                        <a:pt x="387" y="731"/>
                        <a:pt x="418" y="764"/>
                        <a:pt x="452" y="794"/>
                      </a:cubicBezTo>
                      <a:cubicBezTo>
                        <a:pt x="418" y="866"/>
                        <a:pt x="387" y="942"/>
                        <a:pt x="361" y="1022"/>
                      </a:cubicBezTo>
                      <a:cubicBezTo>
                        <a:pt x="357" y="1035"/>
                        <a:pt x="352" y="1048"/>
                        <a:pt x="348" y="1061"/>
                      </a:cubicBezTo>
                      <a:close/>
                      <a:moveTo>
                        <a:pt x="586" y="1540"/>
                      </a:moveTo>
                      <a:cubicBezTo>
                        <a:pt x="500" y="1509"/>
                        <a:pt x="423" y="1464"/>
                        <a:pt x="357" y="1408"/>
                      </a:cubicBezTo>
                      <a:cubicBezTo>
                        <a:pt x="363" y="1359"/>
                        <a:pt x="370" y="1309"/>
                        <a:pt x="380" y="1259"/>
                      </a:cubicBezTo>
                      <a:cubicBezTo>
                        <a:pt x="456" y="1308"/>
                        <a:pt x="541" y="1350"/>
                        <a:pt x="634" y="1382"/>
                      </a:cubicBezTo>
                      <a:lnTo>
                        <a:pt x="586" y="1540"/>
                      </a:lnTo>
                      <a:close/>
                      <a:moveTo>
                        <a:pt x="399" y="1176"/>
                      </a:moveTo>
                      <a:cubicBezTo>
                        <a:pt x="406" y="1146"/>
                        <a:pt x="414" y="1115"/>
                        <a:pt x="424" y="1084"/>
                      </a:cubicBezTo>
                      <a:cubicBezTo>
                        <a:pt x="428" y="1072"/>
                        <a:pt x="432" y="1059"/>
                        <a:pt x="436" y="1046"/>
                      </a:cubicBezTo>
                      <a:cubicBezTo>
                        <a:pt x="459" y="976"/>
                        <a:pt x="486" y="908"/>
                        <a:pt x="515" y="845"/>
                      </a:cubicBezTo>
                      <a:cubicBezTo>
                        <a:pt x="586" y="896"/>
                        <a:pt x="668" y="939"/>
                        <a:pt x="759" y="971"/>
                      </a:cubicBezTo>
                      <a:cubicBezTo>
                        <a:pt x="657" y="1306"/>
                        <a:pt x="657" y="1306"/>
                        <a:pt x="657" y="1306"/>
                      </a:cubicBezTo>
                      <a:cubicBezTo>
                        <a:pt x="560" y="1273"/>
                        <a:pt x="473" y="1228"/>
                        <a:pt x="399" y="1176"/>
                      </a:cubicBezTo>
                      <a:close/>
                      <a:moveTo>
                        <a:pt x="926" y="1580"/>
                      </a:moveTo>
                      <a:cubicBezTo>
                        <a:pt x="839" y="1590"/>
                        <a:pt x="750" y="1585"/>
                        <a:pt x="661" y="1563"/>
                      </a:cubicBezTo>
                      <a:cubicBezTo>
                        <a:pt x="710" y="1405"/>
                        <a:pt x="710" y="1405"/>
                        <a:pt x="710" y="1405"/>
                      </a:cubicBezTo>
                      <a:cubicBezTo>
                        <a:pt x="805" y="1430"/>
                        <a:pt x="899" y="1443"/>
                        <a:pt x="990" y="1444"/>
                      </a:cubicBezTo>
                      <a:cubicBezTo>
                        <a:pt x="970" y="1491"/>
                        <a:pt x="949" y="1537"/>
                        <a:pt x="926" y="1580"/>
                      </a:cubicBezTo>
                      <a:close/>
                      <a:moveTo>
                        <a:pt x="732" y="1329"/>
                      </a:moveTo>
                      <a:cubicBezTo>
                        <a:pt x="834" y="994"/>
                        <a:pt x="834" y="994"/>
                        <a:pt x="834" y="994"/>
                      </a:cubicBezTo>
                      <a:cubicBezTo>
                        <a:pt x="928" y="1018"/>
                        <a:pt x="1020" y="1028"/>
                        <a:pt x="1108" y="1024"/>
                      </a:cubicBezTo>
                      <a:cubicBezTo>
                        <a:pt x="1095" y="1106"/>
                        <a:pt x="1076" y="1189"/>
                        <a:pt x="1051" y="1273"/>
                      </a:cubicBezTo>
                      <a:cubicBezTo>
                        <a:pt x="1047" y="1286"/>
                        <a:pt x="1043" y="1299"/>
                        <a:pt x="1039" y="1311"/>
                      </a:cubicBezTo>
                      <a:cubicBezTo>
                        <a:pt x="1033" y="1329"/>
                        <a:pt x="1027" y="1347"/>
                        <a:pt x="1020" y="1365"/>
                      </a:cubicBezTo>
                      <a:cubicBezTo>
                        <a:pt x="929" y="1367"/>
                        <a:pt x="831" y="1355"/>
                        <a:pt x="732" y="1329"/>
                      </a:cubicBezTo>
                      <a:close/>
                      <a:moveTo>
                        <a:pt x="1343" y="1393"/>
                      </a:moveTo>
                      <a:cubicBezTo>
                        <a:pt x="1251" y="1475"/>
                        <a:pt x="1141" y="1533"/>
                        <a:pt x="1023" y="1562"/>
                      </a:cubicBezTo>
                      <a:cubicBezTo>
                        <a:pt x="1042" y="1523"/>
                        <a:pt x="1060" y="1483"/>
                        <a:pt x="1076" y="1441"/>
                      </a:cubicBezTo>
                      <a:cubicBezTo>
                        <a:pt x="1142" y="1436"/>
                        <a:pt x="1204" y="1425"/>
                        <a:pt x="1263" y="1407"/>
                      </a:cubicBezTo>
                      <a:cubicBezTo>
                        <a:pt x="1294" y="1398"/>
                        <a:pt x="1323" y="1387"/>
                        <a:pt x="1351" y="1374"/>
                      </a:cubicBezTo>
                      <a:cubicBezTo>
                        <a:pt x="1348" y="1381"/>
                        <a:pt x="1346" y="1387"/>
                        <a:pt x="1343" y="1393"/>
                      </a:cubicBezTo>
                      <a:close/>
                      <a:moveTo>
                        <a:pt x="1395" y="1260"/>
                      </a:moveTo>
                      <a:cubicBezTo>
                        <a:pt x="1394" y="1260"/>
                        <a:pt x="1394" y="1261"/>
                        <a:pt x="1394" y="1262"/>
                      </a:cubicBezTo>
                      <a:cubicBezTo>
                        <a:pt x="1349" y="1291"/>
                        <a:pt x="1298" y="1314"/>
                        <a:pt x="1240" y="1331"/>
                      </a:cubicBezTo>
                      <a:cubicBezTo>
                        <a:pt x="1198" y="1344"/>
                        <a:pt x="1153" y="1353"/>
                        <a:pt x="1106" y="1359"/>
                      </a:cubicBezTo>
                      <a:cubicBezTo>
                        <a:pt x="1109" y="1351"/>
                        <a:pt x="1111" y="1344"/>
                        <a:pt x="1114" y="1336"/>
                      </a:cubicBezTo>
                      <a:cubicBezTo>
                        <a:pt x="1118" y="1323"/>
                        <a:pt x="1122" y="1310"/>
                        <a:pt x="1126" y="1296"/>
                      </a:cubicBezTo>
                      <a:cubicBezTo>
                        <a:pt x="1155" y="1202"/>
                        <a:pt x="1175" y="1109"/>
                        <a:pt x="1188" y="1017"/>
                      </a:cubicBezTo>
                      <a:cubicBezTo>
                        <a:pt x="1225" y="1012"/>
                        <a:pt x="1260" y="1004"/>
                        <a:pt x="1294" y="994"/>
                      </a:cubicBezTo>
                      <a:cubicBezTo>
                        <a:pt x="1344" y="979"/>
                        <a:pt x="1391" y="959"/>
                        <a:pt x="1433" y="933"/>
                      </a:cubicBezTo>
                      <a:cubicBezTo>
                        <a:pt x="1440" y="1039"/>
                        <a:pt x="1428" y="1150"/>
                        <a:pt x="1395" y="1260"/>
                      </a:cubicBezTo>
                      <a:close/>
                      <a:moveTo>
                        <a:pt x="1431" y="604"/>
                      </a:moveTo>
                      <a:cubicBezTo>
                        <a:pt x="1419" y="577"/>
                        <a:pt x="1405" y="551"/>
                        <a:pt x="1390" y="525"/>
                      </a:cubicBezTo>
                      <a:cubicBezTo>
                        <a:pt x="1398" y="514"/>
                        <a:pt x="1405" y="502"/>
                        <a:pt x="1411" y="489"/>
                      </a:cubicBezTo>
                      <a:cubicBezTo>
                        <a:pt x="1414" y="484"/>
                        <a:pt x="1416" y="480"/>
                        <a:pt x="1417" y="475"/>
                      </a:cubicBezTo>
                      <a:cubicBezTo>
                        <a:pt x="1467" y="525"/>
                        <a:pt x="1510" y="582"/>
                        <a:pt x="1544" y="645"/>
                      </a:cubicBezTo>
                      <a:cubicBezTo>
                        <a:pt x="1542" y="660"/>
                        <a:pt x="1539" y="674"/>
                        <a:pt x="1535" y="689"/>
                      </a:cubicBezTo>
                      <a:cubicBezTo>
                        <a:pt x="1533" y="694"/>
                        <a:pt x="1532" y="698"/>
                        <a:pt x="1530" y="703"/>
                      </a:cubicBezTo>
                      <a:cubicBezTo>
                        <a:pt x="1526" y="714"/>
                        <a:pt x="1521" y="725"/>
                        <a:pt x="1515" y="736"/>
                      </a:cubicBezTo>
                      <a:cubicBezTo>
                        <a:pt x="1508" y="751"/>
                        <a:pt x="1499" y="764"/>
                        <a:pt x="1489" y="777"/>
                      </a:cubicBezTo>
                      <a:cubicBezTo>
                        <a:pt x="1476" y="717"/>
                        <a:pt x="1456" y="659"/>
                        <a:pt x="1431" y="604"/>
                      </a:cubicBezTo>
                      <a:close/>
                      <a:moveTo>
                        <a:pt x="1561" y="1051"/>
                      </a:moveTo>
                      <a:cubicBezTo>
                        <a:pt x="1558" y="1060"/>
                        <a:pt x="1555" y="1069"/>
                        <a:pt x="1552" y="1078"/>
                      </a:cubicBezTo>
                      <a:cubicBezTo>
                        <a:pt x="1555" y="1069"/>
                        <a:pt x="1558" y="1061"/>
                        <a:pt x="1560" y="1052"/>
                      </a:cubicBezTo>
                      <a:cubicBezTo>
                        <a:pt x="1560" y="1052"/>
                        <a:pt x="1560" y="1052"/>
                        <a:pt x="1560" y="1052"/>
                      </a:cubicBezTo>
                      <a:cubicBezTo>
                        <a:pt x="1559" y="1058"/>
                        <a:pt x="1557" y="1063"/>
                        <a:pt x="1555" y="1069"/>
                      </a:cubicBezTo>
                      <a:cubicBezTo>
                        <a:pt x="1542" y="1105"/>
                        <a:pt x="1522" y="1139"/>
                        <a:pt x="1497" y="1170"/>
                      </a:cubicBezTo>
                      <a:cubicBezTo>
                        <a:pt x="1515" y="1071"/>
                        <a:pt x="1518" y="972"/>
                        <a:pt x="1507" y="876"/>
                      </a:cubicBezTo>
                      <a:cubicBezTo>
                        <a:pt x="1524" y="860"/>
                        <a:pt x="1540" y="842"/>
                        <a:pt x="1554" y="823"/>
                      </a:cubicBezTo>
                      <a:cubicBezTo>
                        <a:pt x="1568" y="805"/>
                        <a:pt x="1580" y="785"/>
                        <a:pt x="1590" y="764"/>
                      </a:cubicBezTo>
                      <a:cubicBezTo>
                        <a:pt x="1599" y="858"/>
                        <a:pt x="1590" y="955"/>
                        <a:pt x="1561" y="105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>
                  <a:outerShdw blurRad="63500" sx="102000" sy="102000" algn="ctr" rotWithShape="0">
                    <a:srgbClr val="702D89">
                      <a:alpha val="60000"/>
                    </a:srgbClr>
                  </a:outerShdw>
                </a:effectLst>
              </p:spPr>
              <p:txBody>
                <a:bodyPr/>
                <a:lstStyle/>
                <a:p>
                  <a:pPr defTabSz="914217">
                    <a:defRPr/>
                  </a:pPr>
                  <a:endParaRPr lang="en-US" kern="0" dirty="0">
                    <a:solidFill>
                      <a:srgbClr val="FFFFFF"/>
                    </a:solidFill>
                    <a:ea typeface="ＭＳ Ｐゴシック" charset="0"/>
                    <a:cs typeface="Arial" pitchFamily="34" charset="0"/>
                  </a:endParaRPr>
                </a:p>
              </p:txBody>
            </p:sp>
            <p:grpSp>
              <p:nvGrpSpPr>
                <p:cNvPr id="83" name="Group 118"/>
                <p:cNvGrpSpPr>
                  <a:grpSpLocks/>
                </p:cNvGrpSpPr>
                <p:nvPr/>
              </p:nvGrpSpPr>
              <p:grpSpPr bwMode="auto">
                <a:xfrm>
                  <a:off x="4436264" y="1865059"/>
                  <a:ext cx="619128" cy="615933"/>
                  <a:chOff x="4613809" y="-3078925"/>
                  <a:chExt cx="1247172" cy="1247172"/>
                </a:xfrm>
              </p:grpSpPr>
              <p:sp>
                <p:nvSpPr>
                  <p:cNvPr id="92" name="Freeform 60"/>
                  <p:cNvSpPr>
                    <a:spLocks/>
                  </p:cNvSpPr>
                  <p:nvPr/>
                </p:nvSpPr>
                <p:spPr bwMode="auto">
                  <a:xfrm>
                    <a:off x="4613783" y="-3078569"/>
                    <a:ext cx="593333" cy="821599"/>
                  </a:xfrm>
                  <a:custGeom>
                    <a:avLst/>
                    <a:gdLst/>
                    <a:ahLst/>
                    <a:cxnLst>
                      <a:cxn ang="0">
                        <a:pos x="81" y="26"/>
                      </a:cxn>
                      <a:cxn ang="0">
                        <a:pos x="121" y="13"/>
                      </a:cxn>
                      <a:cxn ang="0">
                        <a:pos x="121" y="0"/>
                      </a:cxn>
                      <a:cxn ang="0">
                        <a:pos x="74" y="15"/>
                      </a:cxn>
                      <a:cxn ang="0">
                        <a:pos x="24" y="167"/>
                      </a:cxn>
                      <a:cxn ang="0">
                        <a:pos x="36" y="160"/>
                      </a:cxn>
                      <a:cxn ang="0">
                        <a:pos x="81" y="26"/>
                      </a:cxn>
                    </a:cxnLst>
                    <a:rect l="0" t="0" r="r" b="b"/>
                    <a:pathLst>
                      <a:path w="121" h="167">
                        <a:moveTo>
                          <a:pt x="81" y="26"/>
                        </a:moveTo>
                        <a:cubicBezTo>
                          <a:pt x="94" y="19"/>
                          <a:pt x="107" y="15"/>
                          <a:pt x="121" y="13"/>
                        </a:cubicBezTo>
                        <a:cubicBezTo>
                          <a:pt x="121" y="0"/>
                          <a:pt x="121" y="0"/>
                          <a:pt x="121" y="0"/>
                        </a:cubicBezTo>
                        <a:cubicBezTo>
                          <a:pt x="104" y="1"/>
                          <a:pt x="89" y="6"/>
                          <a:pt x="74" y="15"/>
                        </a:cubicBezTo>
                        <a:cubicBezTo>
                          <a:pt x="21" y="46"/>
                          <a:pt x="0" y="112"/>
                          <a:pt x="24" y="167"/>
                        </a:cubicBezTo>
                        <a:cubicBezTo>
                          <a:pt x="36" y="160"/>
                          <a:pt x="36" y="160"/>
                          <a:pt x="36" y="160"/>
                        </a:cubicBezTo>
                        <a:cubicBezTo>
                          <a:pt x="15" y="111"/>
                          <a:pt x="34" y="54"/>
                          <a:pt x="81" y="26"/>
                        </a:cubicBezTo>
                      </a:path>
                    </a:pathLst>
                  </a:custGeom>
                  <a:solidFill>
                    <a:srgbClr val="FFFFFF">
                      <a:alpha val="23000"/>
                    </a:srgbClr>
                  </a:solidFill>
                  <a:ln>
                    <a:noFill/>
                  </a:ln>
                  <a:effectLst>
                    <a:outerShdw blurRad="63500" sx="102000" sy="102000" algn="ctr" rotWithShape="0">
                      <a:srgbClr val="702D89">
                        <a:alpha val="60000"/>
                      </a:srgbClr>
                    </a:outerShdw>
                  </a:effectLst>
                </p:spPr>
                <p:txBody>
                  <a:bodyPr/>
                  <a:lstStyle/>
                  <a:p>
                    <a:pPr defTabSz="914217">
                      <a:defRPr/>
                    </a:pPr>
                    <a:endParaRPr lang="en-US" kern="0" dirty="0">
                      <a:solidFill>
                        <a:srgbClr val="FFFFFF"/>
                      </a:solidFill>
                      <a:ea typeface="ＭＳ Ｐゴシック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93" name="Freeform 61"/>
                  <p:cNvSpPr>
                    <a:spLocks/>
                  </p:cNvSpPr>
                  <p:nvPr/>
                </p:nvSpPr>
                <p:spPr bwMode="auto">
                  <a:xfrm>
                    <a:off x="4793678" y="-2177971"/>
                    <a:ext cx="953120" cy="347599"/>
                  </a:xfrm>
                  <a:custGeom>
                    <a:avLst/>
                    <a:gdLst/>
                    <a:ahLst/>
                    <a:cxnLst>
                      <a:cxn ang="0">
                        <a:pos x="44" y="28"/>
                      </a:cxn>
                      <a:cxn ang="0">
                        <a:pos x="12" y="0"/>
                      </a:cxn>
                      <a:cxn ang="0">
                        <a:pos x="0" y="7"/>
                      </a:cxn>
                      <a:cxn ang="0">
                        <a:pos x="37" y="40"/>
                      </a:cxn>
                      <a:cxn ang="0">
                        <a:pos x="194" y="7"/>
                      </a:cxn>
                      <a:cxn ang="0">
                        <a:pos x="182" y="0"/>
                      </a:cxn>
                      <a:cxn ang="0">
                        <a:pos x="44" y="28"/>
                      </a:cxn>
                    </a:cxnLst>
                    <a:rect l="0" t="0" r="r" b="b"/>
                    <a:pathLst>
                      <a:path w="194" h="71">
                        <a:moveTo>
                          <a:pt x="44" y="28"/>
                        </a:moveTo>
                        <a:cubicBezTo>
                          <a:pt x="31" y="21"/>
                          <a:pt x="20" y="12"/>
                          <a:pt x="12" y="0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10" y="21"/>
                          <a:pt x="22" y="31"/>
                          <a:pt x="37" y="40"/>
                        </a:cubicBezTo>
                        <a:cubicBezTo>
                          <a:pt x="90" y="71"/>
                          <a:pt x="158" y="56"/>
                          <a:pt x="194" y="7"/>
                        </a:cubicBezTo>
                        <a:cubicBezTo>
                          <a:pt x="182" y="0"/>
                          <a:pt x="182" y="0"/>
                          <a:pt x="182" y="0"/>
                        </a:cubicBezTo>
                        <a:cubicBezTo>
                          <a:pt x="150" y="43"/>
                          <a:pt x="91" y="55"/>
                          <a:pt x="44" y="28"/>
                        </a:cubicBezTo>
                      </a:path>
                    </a:pathLst>
                  </a:custGeom>
                  <a:solidFill>
                    <a:srgbClr val="FFFFFF">
                      <a:alpha val="23000"/>
                    </a:srgbClr>
                  </a:solidFill>
                  <a:ln>
                    <a:noFill/>
                  </a:ln>
                  <a:effectLst>
                    <a:outerShdw blurRad="63500" sx="102000" sy="102000" algn="ctr" rotWithShape="0">
                      <a:srgbClr val="702D89">
                        <a:alpha val="60000"/>
                      </a:srgbClr>
                    </a:outerShdw>
                  </a:effectLst>
                </p:spPr>
                <p:txBody>
                  <a:bodyPr/>
                  <a:lstStyle/>
                  <a:p>
                    <a:pPr defTabSz="914217">
                      <a:defRPr/>
                    </a:pPr>
                    <a:endParaRPr lang="en-US" kern="0" dirty="0">
                      <a:solidFill>
                        <a:srgbClr val="FFFFFF"/>
                      </a:solidFill>
                      <a:ea typeface="ＭＳ Ｐゴシック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94" name="Freeform 62"/>
                  <p:cNvSpPr>
                    <a:spLocks/>
                  </p:cNvSpPr>
                  <p:nvPr/>
                </p:nvSpPr>
                <p:spPr bwMode="auto">
                  <a:xfrm>
                    <a:off x="5333357" y="-3078569"/>
                    <a:ext cx="527057" cy="821599"/>
                  </a:xfrm>
                  <a:custGeom>
                    <a:avLst/>
                    <a:gdLst/>
                    <a:ahLst/>
                    <a:cxnLst>
                      <a:cxn ang="0">
                        <a:pos x="94" y="119"/>
                      </a:cxn>
                      <a:cxn ang="0">
                        <a:pos x="85" y="160"/>
                      </a:cxn>
                      <a:cxn ang="0">
                        <a:pos x="97" y="167"/>
                      </a:cxn>
                      <a:cxn ang="0">
                        <a:pos x="107" y="119"/>
                      </a:cxn>
                      <a:cxn ang="0">
                        <a:pos x="0" y="0"/>
                      </a:cxn>
                      <a:cxn ang="0">
                        <a:pos x="0" y="13"/>
                      </a:cxn>
                      <a:cxn ang="0">
                        <a:pos x="94" y="119"/>
                      </a:cxn>
                    </a:cxnLst>
                    <a:rect l="0" t="0" r="r" b="b"/>
                    <a:pathLst>
                      <a:path w="107" h="167">
                        <a:moveTo>
                          <a:pt x="94" y="119"/>
                        </a:moveTo>
                        <a:cubicBezTo>
                          <a:pt x="94" y="134"/>
                          <a:pt x="91" y="147"/>
                          <a:pt x="85" y="160"/>
                        </a:cubicBezTo>
                        <a:cubicBezTo>
                          <a:pt x="97" y="167"/>
                          <a:pt x="97" y="167"/>
                          <a:pt x="97" y="167"/>
                        </a:cubicBezTo>
                        <a:cubicBezTo>
                          <a:pt x="104" y="152"/>
                          <a:pt x="107" y="136"/>
                          <a:pt x="107" y="119"/>
                        </a:cubicBezTo>
                        <a:cubicBezTo>
                          <a:pt x="107" y="57"/>
                          <a:pt x="60" y="6"/>
                          <a:pt x="0" y="0"/>
                        </a:cubicBez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53" y="20"/>
                          <a:pt x="94" y="64"/>
                          <a:pt x="94" y="119"/>
                        </a:cubicBezTo>
                      </a:path>
                    </a:pathLst>
                  </a:custGeom>
                  <a:solidFill>
                    <a:srgbClr val="FFFFFF">
                      <a:alpha val="23000"/>
                    </a:srgbClr>
                  </a:solidFill>
                  <a:ln>
                    <a:noFill/>
                  </a:ln>
                  <a:effectLst>
                    <a:outerShdw blurRad="63500" sx="102000" sy="102000" algn="ctr" rotWithShape="0">
                      <a:srgbClr val="702D89">
                        <a:alpha val="60000"/>
                      </a:srgbClr>
                    </a:outerShdw>
                  </a:effectLst>
                </p:spPr>
                <p:txBody>
                  <a:bodyPr/>
                  <a:lstStyle/>
                  <a:p>
                    <a:pPr defTabSz="914217">
                      <a:defRPr/>
                    </a:pPr>
                    <a:endParaRPr lang="en-US" kern="0" dirty="0">
                      <a:solidFill>
                        <a:srgbClr val="FFFFFF"/>
                      </a:solidFill>
                      <a:ea typeface="ＭＳ Ｐゴシック" charset="0"/>
                      <a:cs typeface="Arial" pitchFamily="34" charset="0"/>
                    </a:endParaRPr>
                  </a:p>
                </p:txBody>
              </p:sp>
            </p:grpSp>
            <p:grpSp>
              <p:nvGrpSpPr>
                <p:cNvPr id="84" name="Group 119"/>
                <p:cNvGrpSpPr>
                  <a:grpSpLocks/>
                </p:cNvGrpSpPr>
                <p:nvPr/>
              </p:nvGrpSpPr>
              <p:grpSpPr bwMode="auto">
                <a:xfrm>
                  <a:off x="4508258" y="1929138"/>
                  <a:ext cx="480856" cy="477347"/>
                  <a:chOff x="4759312" y="-2950050"/>
                  <a:chExt cx="968637" cy="966556"/>
                </a:xfrm>
              </p:grpSpPr>
              <p:sp>
                <p:nvSpPr>
                  <p:cNvPr id="89" name="Freeform 63"/>
                  <p:cNvSpPr>
                    <a:spLocks/>
                  </p:cNvSpPr>
                  <p:nvPr/>
                </p:nvSpPr>
                <p:spPr bwMode="auto">
                  <a:xfrm>
                    <a:off x="4759437" y="-2949885"/>
                    <a:ext cx="448156" cy="622520"/>
                  </a:xfrm>
                  <a:custGeom>
                    <a:avLst/>
                    <a:gdLst/>
                    <a:ahLst/>
                    <a:cxnLst>
                      <a:cxn ang="0">
                        <a:pos x="64" y="24"/>
                      </a:cxn>
                      <a:cxn ang="0">
                        <a:pos x="91" y="14"/>
                      </a:cxn>
                      <a:cxn ang="0">
                        <a:pos x="91" y="0"/>
                      </a:cxn>
                      <a:cxn ang="0">
                        <a:pos x="57" y="12"/>
                      </a:cxn>
                      <a:cxn ang="0">
                        <a:pos x="17" y="127"/>
                      </a:cxn>
                      <a:cxn ang="0">
                        <a:pos x="29" y="121"/>
                      </a:cxn>
                      <a:cxn ang="0">
                        <a:pos x="64" y="24"/>
                      </a:cxn>
                    </a:cxnLst>
                    <a:rect l="0" t="0" r="r" b="b"/>
                    <a:pathLst>
                      <a:path w="91" h="127">
                        <a:moveTo>
                          <a:pt x="64" y="24"/>
                        </a:moveTo>
                        <a:cubicBezTo>
                          <a:pt x="73" y="19"/>
                          <a:pt x="81" y="16"/>
                          <a:pt x="91" y="14"/>
                        </a:cubicBezTo>
                        <a:cubicBezTo>
                          <a:pt x="91" y="0"/>
                          <a:pt x="91" y="0"/>
                          <a:pt x="91" y="0"/>
                        </a:cubicBezTo>
                        <a:cubicBezTo>
                          <a:pt x="79" y="2"/>
                          <a:pt x="68" y="6"/>
                          <a:pt x="57" y="12"/>
                        </a:cubicBezTo>
                        <a:cubicBezTo>
                          <a:pt x="17" y="36"/>
                          <a:pt x="0" y="85"/>
                          <a:pt x="17" y="127"/>
                        </a:cubicBezTo>
                        <a:cubicBezTo>
                          <a:pt x="29" y="121"/>
                          <a:pt x="29" y="121"/>
                          <a:pt x="29" y="121"/>
                        </a:cubicBezTo>
                        <a:cubicBezTo>
                          <a:pt x="16" y="85"/>
                          <a:pt x="30" y="43"/>
                          <a:pt x="64" y="24"/>
                        </a:cubicBezTo>
                      </a:path>
                    </a:pathLst>
                  </a:custGeom>
                  <a:solidFill>
                    <a:srgbClr val="FFFFFF">
                      <a:alpha val="51000"/>
                    </a:srgbClr>
                  </a:solidFill>
                  <a:ln>
                    <a:noFill/>
                  </a:ln>
                  <a:effectLst>
                    <a:outerShdw blurRad="63500" sx="102000" sy="102000" algn="ctr" rotWithShape="0">
                      <a:srgbClr val="702D89">
                        <a:alpha val="60000"/>
                      </a:srgbClr>
                    </a:outerShdw>
                  </a:effectLst>
                </p:spPr>
                <p:txBody>
                  <a:bodyPr/>
                  <a:lstStyle/>
                  <a:p>
                    <a:pPr defTabSz="914217">
                      <a:defRPr/>
                    </a:pPr>
                    <a:endParaRPr lang="en-US" kern="0" dirty="0">
                      <a:solidFill>
                        <a:srgbClr val="FFFFFF"/>
                      </a:solidFill>
                      <a:ea typeface="ＭＳ Ｐゴシック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90" name="Freeform 64"/>
                  <p:cNvSpPr>
                    <a:spLocks/>
                  </p:cNvSpPr>
                  <p:nvPr/>
                </p:nvSpPr>
                <p:spPr bwMode="auto">
                  <a:xfrm>
                    <a:off x="4914084" y="-2242046"/>
                    <a:ext cx="716417" cy="259119"/>
                  </a:xfrm>
                  <a:custGeom>
                    <a:avLst/>
                    <a:gdLst/>
                    <a:ahLst/>
                    <a:cxnLst>
                      <a:cxn ang="0">
                        <a:pos x="33" y="18"/>
                      </a:cxn>
                      <a:cxn ang="0">
                        <a:pos x="11" y="0"/>
                      </a:cxn>
                      <a:cxn ang="0">
                        <a:pos x="0" y="7"/>
                      </a:cxn>
                      <a:cxn ang="0">
                        <a:pos x="26" y="30"/>
                      </a:cxn>
                      <a:cxn ang="0">
                        <a:pos x="146" y="7"/>
                      </a:cxn>
                      <a:cxn ang="0">
                        <a:pos x="135" y="0"/>
                      </a:cxn>
                      <a:cxn ang="0">
                        <a:pos x="33" y="18"/>
                      </a:cxn>
                    </a:cxnLst>
                    <a:rect l="0" t="0" r="r" b="b"/>
                    <a:pathLst>
                      <a:path w="146" h="53">
                        <a:moveTo>
                          <a:pt x="33" y="18"/>
                        </a:moveTo>
                        <a:cubicBezTo>
                          <a:pt x="24" y="13"/>
                          <a:pt x="17" y="7"/>
                          <a:pt x="11" y="0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7" y="16"/>
                          <a:pt x="16" y="23"/>
                          <a:pt x="26" y="30"/>
                        </a:cubicBezTo>
                        <a:cubicBezTo>
                          <a:pt x="67" y="53"/>
                          <a:pt x="118" y="42"/>
                          <a:pt x="146" y="7"/>
                        </a:cubicBezTo>
                        <a:cubicBezTo>
                          <a:pt x="135" y="0"/>
                          <a:pt x="135" y="0"/>
                          <a:pt x="135" y="0"/>
                        </a:cubicBezTo>
                        <a:cubicBezTo>
                          <a:pt x="110" y="29"/>
                          <a:pt x="67" y="38"/>
                          <a:pt x="33" y="18"/>
                        </a:cubicBezTo>
                      </a:path>
                    </a:pathLst>
                  </a:custGeom>
                  <a:solidFill>
                    <a:srgbClr val="FFFFFF">
                      <a:alpha val="51000"/>
                    </a:srgbClr>
                  </a:solidFill>
                  <a:ln>
                    <a:noFill/>
                  </a:ln>
                  <a:effectLst>
                    <a:outerShdw blurRad="63500" sx="102000" sy="102000" algn="ctr" rotWithShape="0">
                      <a:srgbClr val="702D89">
                        <a:alpha val="60000"/>
                      </a:srgbClr>
                    </a:outerShdw>
                  </a:effectLst>
                </p:spPr>
                <p:txBody>
                  <a:bodyPr/>
                  <a:lstStyle/>
                  <a:p>
                    <a:pPr defTabSz="914217">
                      <a:defRPr/>
                    </a:pPr>
                    <a:endParaRPr lang="en-US" kern="0" dirty="0">
                      <a:solidFill>
                        <a:srgbClr val="FFFFFF"/>
                      </a:solidFill>
                      <a:ea typeface="ＭＳ Ｐゴシック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91" name="Freeform 65"/>
                  <p:cNvSpPr>
                    <a:spLocks/>
                  </p:cNvSpPr>
                  <p:nvPr/>
                </p:nvSpPr>
                <p:spPr bwMode="auto">
                  <a:xfrm>
                    <a:off x="5333834" y="-2946724"/>
                    <a:ext cx="394504" cy="625679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13"/>
                      </a:cxn>
                      <a:cxn ang="0">
                        <a:pos x="67" y="92"/>
                      </a:cxn>
                      <a:cxn ang="0">
                        <a:pos x="62" y="120"/>
                      </a:cxn>
                      <a:cxn ang="0">
                        <a:pos x="74" y="127"/>
                      </a:cxn>
                      <a:cxn ang="0">
                        <a:pos x="80" y="92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80" h="127">
                        <a:moveTo>
                          <a:pt x="0" y="0"/>
                        </a:move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38" y="19"/>
                          <a:pt x="67" y="52"/>
                          <a:pt x="67" y="92"/>
                        </a:cubicBezTo>
                        <a:cubicBezTo>
                          <a:pt x="67" y="102"/>
                          <a:pt x="65" y="111"/>
                          <a:pt x="62" y="120"/>
                        </a:cubicBezTo>
                        <a:cubicBezTo>
                          <a:pt x="74" y="127"/>
                          <a:pt x="74" y="127"/>
                          <a:pt x="74" y="127"/>
                        </a:cubicBezTo>
                        <a:cubicBezTo>
                          <a:pt x="78" y="116"/>
                          <a:pt x="80" y="104"/>
                          <a:pt x="80" y="92"/>
                        </a:cubicBezTo>
                        <a:cubicBezTo>
                          <a:pt x="80" y="45"/>
                          <a:pt x="46" y="6"/>
                          <a:pt x="0" y="0"/>
                        </a:cubicBezTo>
                      </a:path>
                    </a:pathLst>
                  </a:custGeom>
                  <a:solidFill>
                    <a:srgbClr val="FFFFFF">
                      <a:alpha val="51000"/>
                    </a:srgbClr>
                  </a:solidFill>
                  <a:ln>
                    <a:noFill/>
                  </a:ln>
                  <a:effectLst>
                    <a:outerShdw blurRad="63500" sx="102000" sy="102000" algn="ctr" rotWithShape="0">
                      <a:srgbClr val="702D89">
                        <a:alpha val="60000"/>
                      </a:srgbClr>
                    </a:outerShdw>
                  </a:effectLst>
                </p:spPr>
                <p:txBody>
                  <a:bodyPr/>
                  <a:lstStyle/>
                  <a:p>
                    <a:pPr defTabSz="914217">
                      <a:defRPr/>
                    </a:pPr>
                    <a:endParaRPr lang="en-US" kern="0" dirty="0">
                      <a:solidFill>
                        <a:srgbClr val="FFFFFF"/>
                      </a:solidFill>
                      <a:ea typeface="ＭＳ Ｐゴシック" charset="0"/>
                      <a:cs typeface="Arial" pitchFamily="34" charset="0"/>
                    </a:endParaRPr>
                  </a:p>
                </p:txBody>
              </p:sp>
            </p:grpSp>
            <p:grpSp>
              <p:nvGrpSpPr>
                <p:cNvPr id="85" name="Group 120"/>
                <p:cNvGrpSpPr>
                  <a:grpSpLocks/>
                </p:cNvGrpSpPr>
                <p:nvPr/>
              </p:nvGrpSpPr>
              <p:grpSpPr bwMode="auto">
                <a:xfrm>
                  <a:off x="4584144" y="1997086"/>
                  <a:ext cx="340520" cy="336710"/>
                  <a:chOff x="4913130" y="-2812862"/>
                  <a:chExt cx="685945" cy="681787"/>
                </a:xfrm>
              </p:grpSpPr>
              <p:sp>
                <p:nvSpPr>
                  <p:cNvPr id="86" name="Freeform 66"/>
                  <p:cNvSpPr>
                    <a:spLocks/>
                  </p:cNvSpPr>
                  <p:nvPr/>
                </p:nvSpPr>
                <p:spPr bwMode="auto">
                  <a:xfrm>
                    <a:off x="4911880" y="-2814401"/>
                    <a:ext cx="293512" cy="423440"/>
                  </a:xfrm>
                  <a:custGeom>
                    <a:avLst/>
                    <a:gdLst/>
                    <a:ahLst/>
                    <a:cxnLst>
                      <a:cxn ang="0">
                        <a:pos x="46" y="19"/>
                      </a:cxn>
                      <a:cxn ang="0">
                        <a:pos x="60" y="13"/>
                      </a:cxn>
                      <a:cxn ang="0">
                        <a:pos x="60" y="0"/>
                      </a:cxn>
                      <a:cxn ang="0">
                        <a:pos x="40" y="7"/>
                      </a:cxn>
                      <a:cxn ang="0">
                        <a:pos x="10" y="86"/>
                      </a:cxn>
                      <a:cxn ang="0">
                        <a:pos x="22" y="79"/>
                      </a:cxn>
                      <a:cxn ang="0">
                        <a:pos x="46" y="19"/>
                      </a:cxn>
                    </a:cxnLst>
                    <a:rect l="0" t="0" r="r" b="b"/>
                    <a:pathLst>
                      <a:path w="60" h="86">
                        <a:moveTo>
                          <a:pt x="46" y="19"/>
                        </a:moveTo>
                        <a:cubicBezTo>
                          <a:pt x="51" y="16"/>
                          <a:pt x="55" y="14"/>
                          <a:pt x="60" y="13"/>
                        </a:cubicBezTo>
                        <a:cubicBezTo>
                          <a:pt x="60" y="0"/>
                          <a:pt x="60" y="0"/>
                          <a:pt x="60" y="0"/>
                        </a:cubicBezTo>
                        <a:cubicBezTo>
                          <a:pt x="53" y="1"/>
                          <a:pt x="46" y="3"/>
                          <a:pt x="40" y="7"/>
                        </a:cubicBezTo>
                        <a:cubicBezTo>
                          <a:pt x="12" y="23"/>
                          <a:pt x="0" y="57"/>
                          <a:pt x="10" y="86"/>
                        </a:cubicBezTo>
                        <a:cubicBezTo>
                          <a:pt x="22" y="79"/>
                          <a:pt x="22" y="79"/>
                          <a:pt x="22" y="79"/>
                        </a:cubicBezTo>
                        <a:cubicBezTo>
                          <a:pt x="15" y="56"/>
                          <a:pt x="25" y="31"/>
                          <a:pt x="46" y="19"/>
                        </a:cubicBezTo>
                      </a:path>
                    </a:pathLst>
                  </a:custGeom>
                  <a:solidFill>
                    <a:srgbClr val="FFFFFF">
                      <a:alpha val="76000"/>
                    </a:srgbClr>
                  </a:solidFill>
                  <a:ln>
                    <a:noFill/>
                  </a:ln>
                  <a:effectLst>
                    <a:outerShdw blurRad="63500" sx="102000" sy="102000" algn="ctr" rotWithShape="0">
                      <a:srgbClr val="702D89">
                        <a:alpha val="60000"/>
                      </a:srgbClr>
                    </a:outerShdw>
                  </a:effectLst>
                </p:spPr>
                <p:txBody>
                  <a:bodyPr/>
                  <a:lstStyle/>
                  <a:p>
                    <a:pPr defTabSz="914217">
                      <a:defRPr/>
                    </a:pPr>
                    <a:endParaRPr lang="en-US" kern="0" dirty="0">
                      <a:solidFill>
                        <a:srgbClr val="FFFFFF"/>
                      </a:solidFill>
                      <a:ea typeface="ＭＳ Ｐゴシック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87" name="Freeform 67"/>
                  <p:cNvSpPr>
                    <a:spLocks/>
                  </p:cNvSpPr>
                  <p:nvPr/>
                </p:nvSpPr>
                <p:spPr bwMode="auto">
                  <a:xfrm>
                    <a:off x="5025497" y="-2311962"/>
                    <a:ext cx="492341" cy="180121"/>
                  </a:xfrm>
                  <a:custGeom>
                    <a:avLst/>
                    <a:gdLst/>
                    <a:ahLst/>
                    <a:cxnLst>
                      <a:cxn ang="0">
                        <a:pos x="23" y="9"/>
                      </a:cxn>
                      <a:cxn ang="0">
                        <a:pos x="12" y="0"/>
                      </a:cxn>
                      <a:cxn ang="0">
                        <a:pos x="0" y="7"/>
                      </a:cxn>
                      <a:cxn ang="0">
                        <a:pos x="17" y="21"/>
                      </a:cxn>
                      <a:cxn ang="0">
                        <a:pos x="100" y="7"/>
                      </a:cxn>
                      <a:cxn ang="0">
                        <a:pos x="88" y="0"/>
                      </a:cxn>
                      <a:cxn ang="0">
                        <a:pos x="23" y="9"/>
                      </a:cxn>
                    </a:cxnLst>
                    <a:rect l="0" t="0" r="r" b="b"/>
                    <a:pathLst>
                      <a:path w="100" h="37">
                        <a:moveTo>
                          <a:pt x="23" y="9"/>
                        </a:moveTo>
                        <a:cubicBezTo>
                          <a:pt x="19" y="6"/>
                          <a:pt x="15" y="4"/>
                          <a:pt x="12" y="0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5" y="12"/>
                          <a:pt x="10" y="17"/>
                          <a:pt x="17" y="21"/>
                        </a:cubicBezTo>
                        <a:cubicBezTo>
                          <a:pt x="45" y="37"/>
                          <a:pt x="79" y="30"/>
                          <a:pt x="100" y="7"/>
                        </a:cubicBezTo>
                        <a:cubicBezTo>
                          <a:pt x="88" y="0"/>
                          <a:pt x="88" y="0"/>
                          <a:pt x="88" y="0"/>
                        </a:cubicBezTo>
                        <a:cubicBezTo>
                          <a:pt x="71" y="17"/>
                          <a:pt x="45" y="21"/>
                          <a:pt x="23" y="9"/>
                        </a:cubicBezTo>
                      </a:path>
                    </a:pathLst>
                  </a:custGeom>
                  <a:solidFill>
                    <a:srgbClr val="FFFFFF">
                      <a:alpha val="76000"/>
                    </a:srgbClr>
                  </a:solidFill>
                  <a:ln>
                    <a:noFill/>
                  </a:ln>
                  <a:effectLst>
                    <a:outerShdw blurRad="63500" sx="102000" sy="102000" algn="ctr" rotWithShape="0">
                      <a:srgbClr val="702D89">
                        <a:alpha val="60000"/>
                      </a:srgbClr>
                    </a:outerShdw>
                  </a:effectLst>
                </p:spPr>
                <p:txBody>
                  <a:bodyPr/>
                  <a:lstStyle/>
                  <a:p>
                    <a:pPr defTabSz="914217">
                      <a:defRPr/>
                    </a:pPr>
                    <a:endParaRPr lang="en-US" kern="0" dirty="0">
                      <a:solidFill>
                        <a:srgbClr val="FFFFFF"/>
                      </a:solidFill>
                      <a:ea typeface="ＭＳ Ｐゴシック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88" name="Freeform 68"/>
                  <p:cNvSpPr>
                    <a:spLocks/>
                  </p:cNvSpPr>
                  <p:nvPr/>
                </p:nvSpPr>
                <p:spPr bwMode="auto">
                  <a:xfrm>
                    <a:off x="5334788" y="-2814401"/>
                    <a:ext cx="265107" cy="423440"/>
                  </a:xfrm>
                  <a:custGeom>
                    <a:avLst/>
                    <a:gdLst/>
                    <a:ahLst/>
                    <a:cxnLst>
                      <a:cxn ang="0">
                        <a:pos x="40" y="65"/>
                      </a:cxn>
                      <a:cxn ang="0">
                        <a:pos x="38" y="79"/>
                      </a:cxn>
                      <a:cxn ang="0">
                        <a:pos x="50" y="86"/>
                      </a:cxn>
                      <a:cxn ang="0">
                        <a:pos x="54" y="65"/>
                      </a:cxn>
                      <a:cxn ang="0">
                        <a:pos x="0" y="0"/>
                      </a:cxn>
                      <a:cxn ang="0">
                        <a:pos x="0" y="13"/>
                      </a:cxn>
                      <a:cxn ang="0">
                        <a:pos x="40" y="65"/>
                      </a:cxn>
                    </a:cxnLst>
                    <a:rect l="0" t="0" r="r" b="b"/>
                    <a:pathLst>
                      <a:path w="54" h="86">
                        <a:moveTo>
                          <a:pt x="40" y="65"/>
                        </a:moveTo>
                        <a:cubicBezTo>
                          <a:pt x="40" y="70"/>
                          <a:pt x="40" y="75"/>
                          <a:pt x="38" y="79"/>
                        </a:cubicBezTo>
                        <a:cubicBezTo>
                          <a:pt x="50" y="86"/>
                          <a:pt x="50" y="86"/>
                          <a:pt x="50" y="86"/>
                        </a:cubicBezTo>
                        <a:cubicBezTo>
                          <a:pt x="52" y="79"/>
                          <a:pt x="54" y="72"/>
                          <a:pt x="54" y="65"/>
                        </a:cubicBezTo>
                        <a:cubicBezTo>
                          <a:pt x="54" y="33"/>
                          <a:pt x="31" y="6"/>
                          <a:pt x="0" y="0"/>
                        </a:cubicBez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23" y="19"/>
                          <a:pt x="40" y="40"/>
                          <a:pt x="40" y="65"/>
                        </a:cubicBezTo>
                      </a:path>
                    </a:pathLst>
                  </a:custGeom>
                  <a:solidFill>
                    <a:srgbClr val="FFFFFF">
                      <a:alpha val="76000"/>
                    </a:srgbClr>
                  </a:solidFill>
                  <a:ln>
                    <a:noFill/>
                  </a:ln>
                  <a:effectLst>
                    <a:outerShdw blurRad="63500" sx="102000" sy="102000" algn="ctr" rotWithShape="0">
                      <a:srgbClr val="702D89">
                        <a:alpha val="60000"/>
                      </a:srgbClr>
                    </a:outerShdw>
                  </a:effectLst>
                </p:spPr>
                <p:txBody>
                  <a:bodyPr/>
                  <a:lstStyle/>
                  <a:p>
                    <a:pPr defTabSz="914217">
                      <a:defRPr/>
                    </a:pPr>
                    <a:endParaRPr lang="en-US" kern="0" dirty="0">
                      <a:solidFill>
                        <a:srgbClr val="FFFFFF"/>
                      </a:solidFill>
                      <a:ea typeface="ＭＳ Ｐゴシック" charset="0"/>
                      <a:cs typeface="Arial" pitchFamily="34" charset="0"/>
                    </a:endParaRPr>
                  </a:p>
                </p:txBody>
              </p:sp>
            </p:grpSp>
          </p:grpSp>
        </p:grpSp>
        <p:cxnSp>
          <p:nvCxnSpPr>
            <p:cNvPr id="78" name="Straight Connector 77"/>
            <p:cNvCxnSpPr>
              <a:stCxn id="79" idx="4"/>
            </p:cNvCxnSpPr>
            <p:nvPr/>
          </p:nvCxnSpPr>
          <p:spPr>
            <a:xfrm flipH="1">
              <a:off x="10254789" y="3007200"/>
              <a:ext cx="2502" cy="1192330"/>
            </a:xfrm>
            <a:prstGeom prst="line">
              <a:avLst/>
            </a:prstGeom>
            <a:ln w="9525" cmpd="sng">
              <a:solidFill>
                <a:srgbClr val="2968AF"/>
              </a:solidFill>
              <a:tailEnd type="oval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5" name="Freeform 94"/>
          <p:cNvSpPr/>
          <p:nvPr/>
        </p:nvSpPr>
        <p:spPr>
          <a:xfrm>
            <a:off x="283220" y="3156087"/>
            <a:ext cx="5388385" cy="250981"/>
          </a:xfrm>
          <a:custGeom>
            <a:avLst/>
            <a:gdLst>
              <a:gd name="connsiteX0" fmla="*/ 0 w 7551643"/>
              <a:gd name="connsiteY0" fmla="*/ 334641 h 334641"/>
              <a:gd name="connsiteX1" fmla="*/ 7199805 w 7551643"/>
              <a:gd name="connsiteY1" fmla="*/ 334641 h 334641"/>
              <a:gd name="connsiteX2" fmla="*/ 7551643 w 7551643"/>
              <a:gd name="connsiteY2" fmla="*/ 0 h 334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551643" h="334641">
                <a:moveTo>
                  <a:pt x="0" y="334641"/>
                </a:moveTo>
                <a:lnTo>
                  <a:pt x="7199805" y="334641"/>
                </a:lnTo>
                <a:lnTo>
                  <a:pt x="7551643" y="0"/>
                </a:lnTo>
              </a:path>
            </a:pathLst>
          </a:custGeom>
          <a:ln w="9525" cmpd="sng">
            <a:solidFill>
              <a:srgbClr val="2968A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68585" tIns="34295" rIns="68585" bIns="34295" rtlCol="0" anchor="ctr"/>
          <a:lstStyle/>
          <a:p>
            <a:pPr algn="ctr"/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280820" y="3201634"/>
            <a:ext cx="1535503" cy="196208"/>
          </a:xfrm>
          <a:prstGeom prst="rect">
            <a:avLst/>
          </a:prstGeom>
          <a:noFill/>
        </p:spPr>
        <p:txBody>
          <a:bodyPr wrap="square" lIns="68585" tIns="34295" rIns="68585" bIns="34295" rtlCol="0">
            <a:spAutoFit/>
          </a:bodyPr>
          <a:lstStyle/>
          <a:p>
            <a:r>
              <a:rPr lang="en-US" sz="800" dirty="0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t>Cisco LAN</a:t>
            </a:r>
          </a:p>
        </p:txBody>
      </p:sp>
      <p:grpSp>
        <p:nvGrpSpPr>
          <p:cNvPr id="97" name="Group 96"/>
          <p:cNvGrpSpPr/>
          <p:nvPr/>
        </p:nvGrpSpPr>
        <p:grpSpPr>
          <a:xfrm>
            <a:off x="4941309" y="1620255"/>
            <a:ext cx="1986574" cy="1529394"/>
            <a:chOff x="6887104" y="2160338"/>
            <a:chExt cx="2648076" cy="2039192"/>
          </a:xfrm>
        </p:grpSpPr>
        <p:grpSp>
          <p:nvGrpSpPr>
            <p:cNvPr id="98" name="Group 97"/>
            <p:cNvGrpSpPr/>
            <p:nvPr/>
          </p:nvGrpSpPr>
          <p:grpSpPr>
            <a:xfrm>
              <a:off x="6887104" y="2160338"/>
              <a:ext cx="1209979" cy="2039192"/>
              <a:chOff x="6887104" y="2160338"/>
              <a:chExt cx="1209979" cy="2039192"/>
            </a:xfrm>
          </p:grpSpPr>
          <p:grpSp>
            <p:nvGrpSpPr>
              <p:cNvPr id="100" name="Group 99"/>
              <p:cNvGrpSpPr/>
              <p:nvPr/>
            </p:nvGrpSpPr>
            <p:grpSpPr>
              <a:xfrm>
                <a:off x="6887104" y="2160338"/>
                <a:ext cx="1209979" cy="1194201"/>
                <a:chOff x="6296847" y="2043098"/>
                <a:chExt cx="1209979" cy="1194201"/>
              </a:xfrm>
            </p:grpSpPr>
            <p:sp>
              <p:nvSpPr>
                <p:cNvPr id="102" name="Oval 101"/>
                <p:cNvSpPr/>
                <p:nvPr/>
              </p:nvSpPr>
              <p:spPr bwMode="auto">
                <a:xfrm flipH="1">
                  <a:off x="6645241" y="2732715"/>
                  <a:ext cx="504584" cy="504584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5C6A76"/>
                    </a:gs>
                    <a:gs pos="100000">
                      <a:srgbClr val="121517"/>
                    </a:gs>
                  </a:gsLst>
                  <a:lin ang="5400000" scaled="1"/>
                </a:gradFill>
                <a:ln w="19050" cap="flat">
                  <a:gradFill>
                    <a:gsLst>
                      <a:gs pos="0">
                        <a:srgbClr val="0183B7">
                          <a:lumMod val="20000"/>
                          <a:lumOff val="80000"/>
                        </a:srgbClr>
                      </a:gs>
                      <a:gs pos="100000">
                        <a:srgbClr val="0183B7">
                          <a:lumMod val="20000"/>
                          <a:lumOff val="80000"/>
                          <a:alpha val="39000"/>
                        </a:srgbClr>
                      </a:gs>
                    </a:gsLst>
                    <a:lin ang="5400000" scaled="0"/>
                  </a:gradFill>
                  <a:round/>
                  <a:headEnd type="none" w="med" len="med"/>
                  <a:tailEnd type="none" w="med" len="med"/>
                </a:ln>
                <a:effectLst>
                  <a:outerShdw blurRad="241300" algn="ctr" rotWithShape="0">
                    <a:sysClr val="windowText" lastClr="000000">
                      <a:alpha val="73000"/>
                    </a:sysClr>
                  </a:outerShdw>
                </a:effectLst>
              </p:spPr>
              <p:txBody>
                <a:bodyPr lIns="0" tIns="0" rIns="0" bIns="0"/>
                <a:lstStyle/>
                <a:p>
                  <a:pPr>
                    <a:lnSpc>
                      <a:spcPct val="90000"/>
                    </a:lnSpc>
                  </a:pPr>
                  <a:endParaRPr lang="en-US" sz="1200" dirty="0">
                    <a:solidFill>
                      <a:srgbClr val="FFFFFF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103" name="TextBox 102"/>
                <p:cNvSpPr txBox="1"/>
                <p:nvPr/>
              </p:nvSpPr>
              <p:spPr>
                <a:xfrm>
                  <a:off x="6296847" y="2043098"/>
                  <a:ext cx="1209979" cy="615553"/>
                </a:xfrm>
                <a:prstGeom prst="rect">
                  <a:avLst/>
                </a:prstGeom>
                <a:noFill/>
              </p:spPr>
              <p:txBody>
                <a:bodyPr wrap="square" rtlCol="0" anchor="b" anchorCtr="0">
                  <a:spAutoFit/>
                </a:bodyPr>
                <a:lstStyle/>
                <a:p>
                  <a:pPr algn="ctr"/>
                  <a:r>
                    <a:rPr lang="en-US" sz="800" dirty="0">
                      <a:solidFill>
                        <a:srgbClr val="676767"/>
                      </a:solidFill>
                      <a:ea typeface="ＭＳ Ｐゴシック" charset="0"/>
                      <a:cs typeface="Arial Narrow"/>
                    </a:rPr>
                    <a:t>Connected Mobile Experiences</a:t>
                  </a:r>
                </a:p>
              </p:txBody>
            </p:sp>
            <p:grpSp>
              <p:nvGrpSpPr>
                <p:cNvPr id="104" name="Group 104"/>
                <p:cNvGrpSpPr>
                  <a:grpSpLocks/>
                </p:cNvGrpSpPr>
                <p:nvPr/>
              </p:nvGrpSpPr>
              <p:grpSpPr bwMode="auto">
                <a:xfrm>
                  <a:off x="6813049" y="2796301"/>
                  <a:ext cx="178558" cy="378500"/>
                  <a:chOff x="4319103" y="1927813"/>
                  <a:chExt cx="693758" cy="1478228"/>
                </a:xfrm>
                <a:effectLst/>
              </p:grpSpPr>
              <p:sp>
                <p:nvSpPr>
                  <p:cNvPr id="105" name="Freeform 7"/>
                  <p:cNvSpPr>
                    <a:spLocks noEditPoints="1"/>
                  </p:cNvSpPr>
                  <p:nvPr/>
                </p:nvSpPr>
                <p:spPr bwMode="auto">
                  <a:xfrm>
                    <a:off x="4319103" y="1927813"/>
                    <a:ext cx="516047" cy="1023126"/>
                  </a:xfrm>
                  <a:custGeom>
                    <a:avLst/>
                    <a:gdLst/>
                    <a:ahLst/>
                    <a:cxnLst>
                      <a:cxn ang="0">
                        <a:pos x="478" y="0"/>
                      </a:cxn>
                      <a:cxn ang="0">
                        <a:pos x="48" y="0"/>
                      </a:cxn>
                      <a:cxn ang="0">
                        <a:pos x="0" y="48"/>
                      </a:cxn>
                      <a:cxn ang="0">
                        <a:pos x="0" y="992"/>
                      </a:cxn>
                      <a:cxn ang="0">
                        <a:pos x="48" y="1040"/>
                      </a:cxn>
                      <a:cxn ang="0">
                        <a:pos x="478" y="1040"/>
                      </a:cxn>
                      <a:cxn ang="0">
                        <a:pos x="526" y="992"/>
                      </a:cxn>
                      <a:cxn ang="0">
                        <a:pos x="526" y="48"/>
                      </a:cxn>
                      <a:cxn ang="0">
                        <a:pos x="478" y="0"/>
                      </a:cxn>
                      <a:cxn ang="0">
                        <a:pos x="195" y="75"/>
                      </a:cxn>
                      <a:cxn ang="0">
                        <a:pos x="331" y="75"/>
                      </a:cxn>
                      <a:cxn ang="0">
                        <a:pos x="340" y="82"/>
                      </a:cxn>
                      <a:cxn ang="0">
                        <a:pos x="331" y="89"/>
                      </a:cxn>
                      <a:cxn ang="0">
                        <a:pos x="195" y="89"/>
                      </a:cxn>
                      <a:cxn ang="0">
                        <a:pos x="186" y="82"/>
                      </a:cxn>
                      <a:cxn ang="0">
                        <a:pos x="195" y="75"/>
                      </a:cxn>
                      <a:cxn ang="0">
                        <a:pos x="263" y="999"/>
                      </a:cxn>
                      <a:cxn ang="0">
                        <a:pos x="207" y="943"/>
                      </a:cxn>
                      <a:cxn ang="0">
                        <a:pos x="263" y="887"/>
                      </a:cxn>
                      <a:cxn ang="0">
                        <a:pos x="319" y="943"/>
                      </a:cxn>
                      <a:cxn ang="0">
                        <a:pos x="263" y="999"/>
                      </a:cxn>
                      <a:cxn ang="0">
                        <a:pos x="473" y="817"/>
                      </a:cxn>
                      <a:cxn ang="0">
                        <a:pos x="53" y="817"/>
                      </a:cxn>
                      <a:cxn ang="0">
                        <a:pos x="53" y="131"/>
                      </a:cxn>
                      <a:cxn ang="0">
                        <a:pos x="473" y="131"/>
                      </a:cxn>
                      <a:cxn ang="0">
                        <a:pos x="473" y="817"/>
                      </a:cxn>
                      <a:cxn ang="0">
                        <a:pos x="263" y="899"/>
                      </a:cxn>
                      <a:cxn ang="0">
                        <a:pos x="219" y="943"/>
                      </a:cxn>
                      <a:cxn ang="0">
                        <a:pos x="263" y="987"/>
                      </a:cxn>
                      <a:cxn ang="0">
                        <a:pos x="307" y="943"/>
                      </a:cxn>
                      <a:cxn ang="0">
                        <a:pos x="263" y="899"/>
                      </a:cxn>
                    </a:cxnLst>
                    <a:rect l="0" t="0" r="r" b="b"/>
                    <a:pathLst>
                      <a:path w="526" h="1040">
                        <a:moveTo>
                          <a:pt x="478" y="0"/>
                        </a:moveTo>
                        <a:cubicBezTo>
                          <a:pt x="48" y="0"/>
                          <a:pt x="48" y="0"/>
                          <a:pt x="48" y="0"/>
                        </a:cubicBezTo>
                        <a:cubicBezTo>
                          <a:pt x="22" y="0"/>
                          <a:pt x="0" y="21"/>
                          <a:pt x="0" y="48"/>
                        </a:cubicBezTo>
                        <a:cubicBezTo>
                          <a:pt x="0" y="992"/>
                          <a:pt x="0" y="992"/>
                          <a:pt x="0" y="992"/>
                        </a:cubicBezTo>
                        <a:cubicBezTo>
                          <a:pt x="0" y="1019"/>
                          <a:pt x="22" y="1040"/>
                          <a:pt x="48" y="1040"/>
                        </a:cubicBezTo>
                        <a:cubicBezTo>
                          <a:pt x="478" y="1040"/>
                          <a:pt x="478" y="1040"/>
                          <a:pt x="478" y="1040"/>
                        </a:cubicBezTo>
                        <a:cubicBezTo>
                          <a:pt x="504" y="1040"/>
                          <a:pt x="526" y="1019"/>
                          <a:pt x="526" y="992"/>
                        </a:cubicBezTo>
                        <a:cubicBezTo>
                          <a:pt x="526" y="48"/>
                          <a:pt x="526" y="48"/>
                          <a:pt x="526" y="48"/>
                        </a:cubicBezTo>
                        <a:cubicBezTo>
                          <a:pt x="526" y="21"/>
                          <a:pt x="504" y="0"/>
                          <a:pt x="478" y="0"/>
                        </a:cubicBezTo>
                        <a:close/>
                        <a:moveTo>
                          <a:pt x="195" y="75"/>
                        </a:moveTo>
                        <a:cubicBezTo>
                          <a:pt x="331" y="75"/>
                          <a:pt x="331" y="75"/>
                          <a:pt x="331" y="75"/>
                        </a:cubicBezTo>
                        <a:cubicBezTo>
                          <a:pt x="335" y="75"/>
                          <a:pt x="340" y="79"/>
                          <a:pt x="340" y="82"/>
                        </a:cubicBezTo>
                        <a:cubicBezTo>
                          <a:pt x="340" y="87"/>
                          <a:pt x="335" y="89"/>
                          <a:pt x="331" y="89"/>
                        </a:cubicBezTo>
                        <a:cubicBezTo>
                          <a:pt x="195" y="89"/>
                          <a:pt x="195" y="89"/>
                          <a:pt x="195" y="89"/>
                        </a:cubicBezTo>
                        <a:cubicBezTo>
                          <a:pt x="189" y="89"/>
                          <a:pt x="186" y="87"/>
                          <a:pt x="186" y="82"/>
                        </a:cubicBezTo>
                        <a:cubicBezTo>
                          <a:pt x="186" y="79"/>
                          <a:pt x="189" y="75"/>
                          <a:pt x="195" y="75"/>
                        </a:cubicBezTo>
                        <a:close/>
                        <a:moveTo>
                          <a:pt x="263" y="999"/>
                        </a:moveTo>
                        <a:cubicBezTo>
                          <a:pt x="232" y="999"/>
                          <a:pt x="207" y="974"/>
                          <a:pt x="207" y="943"/>
                        </a:cubicBezTo>
                        <a:cubicBezTo>
                          <a:pt x="207" y="912"/>
                          <a:pt x="232" y="887"/>
                          <a:pt x="263" y="887"/>
                        </a:cubicBezTo>
                        <a:cubicBezTo>
                          <a:pt x="294" y="887"/>
                          <a:pt x="319" y="912"/>
                          <a:pt x="319" y="943"/>
                        </a:cubicBezTo>
                        <a:cubicBezTo>
                          <a:pt x="319" y="974"/>
                          <a:pt x="294" y="999"/>
                          <a:pt x="263" y="999"/>
                        </a:cubicBezTo>
                        <a:close/>
                        <a:moveTo>
                          <a:pt x="473" y="817"/>
                        </a:moveTo>
                        <a:cubicBezTo>
                          <a:pt x="53" y="817"/>
                          <a:pt x="53" y="817"/>
                          <a:pt x="53" y="817"/>
                        </a:cubicBezTo>
                        <a:cubicBezTo>
                          <a:pt x="53" y="131"/>
                          <a:pt x="53" y="131"/>
                          <a:pt x="53" y="131"/>
                        </a:cubicBezTo>
                        <a:cubicBezTo>
                          <a:pt x="473" y="131"/>
                          <a:pt x="473" y="131"/>
                          <a:pt x="473" y="131"/>
                        </a:cubicBezTo>
                        <a:lnTo>
                          <a:pt x="473" y="817"/>
                        </a:lnTo>
                        <a:close/>
                        <a:moveTo>
                          <a:pt x="263" y="899"/>
                        </a:moveTo>
                        <a:cubicBezTo>
                          <a:pt x="239" y="899"/>
                          <a:pt x="219" y="918"/>
                          <a:pt x="219" y="943"/>
                        </a:cubicBezTo>
                        <a:cubicBezTo>
                          <a:pt x="219" y="967"/>
                          <a:pt x="239" y="987"/>
                          <a:pt x="263" y="987"/>
                        </a:cubicBezTo>
                        <a:cubicBezTo>
                          <a:pt x="287" y="987"/>
                          <a:pt x="307" y="967"/>
                          <a:pt x="307" y="943"/>
                        </a:cubicBezTo>
                        <a:cubicBezTo>
                          <a:pt x="307" y="918"/>
                          <a:pt x="287" y="899"/>
                          <a:pt x="263" y="899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ffectLst>
                    <a:outerShdw blurRad="63500" sx="102000" sy="102000" algn="ctr" rotWithShape="0">
                      <a:srgbClr val="702D89">
                        <a:alpha val="60000"/>
                      </a:srgbClr>
                    </a:outerShdw>
                  </a:effectLst>
                </p:spPr>
                <p:txBody>
                  <a:bodyPr/>
                  <a:lstStyle/>
                  <a:p>
                    <a:pPr defTabSz="914217">
                      <a:defRPr/>
                    </a:pPr>
                    <a:endParaRPr lang="en-US" kern="0" dirty="0">
                      <a:solidFill>
                        <a:srgbClr val="FFFFFF"/>
                      </a:solidFill>
                      <a:ea typeface="ＭＳ Ｐゴシック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06" name="Freeform 105"/>
                  <p:cNvSpPr>
                    <a:spLocks/>
                  </p:cNvSpPr>
                  <p:nvPr/>
                </p:nvSpPr>
                <p:spPr bwMode="auto">
                  <a:xfrm>
                    <a:off x="4411378" y="2256308"/>
                    <a:ext cx="328082" cy="112921"/>
                  </a:xfrm>
                  <a:custGeom>
                    <a:avLst/>
                    <a:gdLst>
                      <a:gd name="T0" fmla="*/ 0 w 2590"/>
                      <a:gd name="T1" fmla="*/ 542 h 773"/>
                      <a:gd name="T2" fmla="*/ 231 w 2590"/>
                      <a:gd name="T3" fmla="*/ 773 h 773"/>
                      <a:gd name="T4" fmla="*/ 1295 w 2590"/>
                      <a:gd name="T5" fmla="*/ 327 h 773"/>
                      <a:gd name="T6" fmla="*/ 2359 w 2590"/>
                      <a:gd name="T7" fmla="*/ 773 h 773"/>
                      <a:gd name="T8" fmla="*/ 2590 w 2590"/>
                      <a:gd name="T9" fmla="*/ 542 h 773"/>
                      <a:gd name="T10" fmla="*/ 1295 w 2590"/>
                      <a:gd name="T11" fmla="*/ 0 h 773"/>
                      <a:gd name="T12" fmla="*/ 0 w 2590"/>
                      <a:gd name="T13" fmla="*/ 542 h 77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2590" h="773">
                        <a:moveTo>
                          <a:pt x="0" y="542"/>
                        </a:moveTo>
                        <a:cubicBezTo>
                          <a:pt x="231" y="773"/>
                          <a:pt x="231" y="773"/>
                          <a:pt x="231" y="773"/>
                        </a:cubicBezTo>
                        <a:cubicBezTo>
                          <a:pt x="502" y="497"/>
                          <a:pt x="879" y="327"/>
                          <a:pt x="1295" y="327"/>
                        </a:cubicBezTo>
                        <a:cubicBezTo>
                          <a:pt x="1711" y="327"/>
                          <a:pt x="2088" y="497"/>
                          <a:pt x="2359" y="773"/>
                        </a:cubicBezTo>
                        <a:cubicBezTo>
                          <a:pt x="2590" y="542"/>
                          <a:pt x="2590" y="542"/>
                          <a:pt x="2590" y="542"/>
                        </a:cubicBezTo>
                        <a:cubicBezTo>
                          <a:pt x="2260" y="207"/>
                          <a:pt x="1801" y="0"/>
                          <a:pt x="1295" y="0"/>
                        </a:cubicBezTo>
                        <a:cubicBezTo>
                          <a:pt x="789" y="0"/>
                          <a:pt x="330" y="207"/>
                          <a:pt x="0" y="54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ffectLst>
                    <a:outerShdw blurRad="63500" sx="102000" sy="102000" algn="ctr" rotWithShape="0">
                      <a:srgbClr val="702D89">
                        <a:alpha val="60000"/>
                      </a:srgbClr>
                    </a:outerShdw>
                  </a:effectLst>
                  <a:extLst/>
                </p:spPr>
                <p:txBody>
                  <a:bodyPr/>
                  <a:lstStyle/>
                  <a:p>
                    <a:pPr defTabSz="914217">
                      <a:defRPr/>
                    </a:pPr>
                    <a:endParaRPr lang="en-US" kern="0" dirty="0">
                      <a:solidFill>
                        <a:srgbClr val="FFFFFF"/>
                      </a:solidFill>
                      <a:ea typeface="ＭＳ Ｐゴシック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07" name="Freeform 106"/>
                  <p:cNvSpPr>
                    <a:spLocks/>
                  </p:cNvSpPr>
                  <p:nvPr/>
                </p:nvSpPr>
                <p:spPr bwMode="auto">
                  <a:xfrm>
                    <a:off x="4469474" y="2348698"/>
                    <a:ext cx="211886" cy="82124"/>
                  </a:xfrm>
                  <a:custGeom>
                    <a:avLst/>
                    <a:gdLst>
                      <a:gd name="T0" fmla="*/ 0 w 1666"/>
                      <a:gd name="T1" fmla="*/ 350 h 581"/>
                      <a:gd name="T2" fmla="*/ 231 w 1666"/>
                      <a:gd name="T3" fmla="*/ 581 h 581"/>
                      <a:gd name="T4" fmla="*/ 231 w 1666"/>
                      <a:gd name="T5" fmla="*/ 581 h 581"/>
                      <a:gd name="T6" fmla="*/ 790 w 1666"/>
                      <a:gd name="T7" fmla="*/ 328 h 581"/>
                      <a:gd name="T8" fmla="*/ 833 w 1666"/>
                      <a:gd name="T9" fmla="*/ 327 h 581"/>
                      <a:gd name="T10" fmla="*/ 876 w 1666"/>
                      <a:gd name="T11" fmla="*/ 328 h 581"/>
                      <a:gd name="T12" fmla="*/ 1436 w 1666"/>
                      <a:gd name="T13" fmla="*/ 581 h 581"/>
                      <a:gd name="T14" fmla="*/ 1436 w 1666"/>
                      <a:gd name="T15" fmla="*/ 581 h 581"/>
                      <a:gd name="T16" fmla="*/ 1666 w 1666"/>
                      <a:gd name="T17" fmla="*/ 350 h 581"/>
                      <a:gd name="T18" fmla="*/ 833 w 1666"/>
                      <a:gd name="T19" fmla="*/ 0 h 581"/>
                      <a:gd name="T20" fmla="*/ 0 w 1666"/>
                      <a:gd name="T21" fmla="*/ 350 h 58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</a:cxnLst>
                    <a:rect l="0" t="0" r="r" b="b"/>
                    <a:pathLst>
                      <a:path w="1666" h="581">
                        <a:moveTo>
                          <a:pt x="0" y="350"/>
                        </a:moveTo>
                        <a:cubicBezTo>
                          <a:pt x="231" y="581"/>
                          <a:pt x="231" y="581"/>
                          <a:pt x="231" y="581"/>
                        </a:cubicBezTo>
                        <a:cubicBezTo>
                          <a:pt x="231" y="581"/>
                          <a:pt x="231" y="581"/>
                          <a:pt x="231" y="581"/>
                        </a:cubicBezTo>
                        <a:cubicBezTo>
                          <a:pt x="374" y="434"/>
                          <a:pt x="571" y="339"/>
                          <a:pt x="790" y="328"/>
                        </a:cubicBezTo>
                        <a:cubicBezTo>
                          <a:pt x="804" y="327"/>
                          <a:pt x="819" y="327"/>
                          <a:pt x="833" y="327"/>
                        </a:cubicBezTo>
                        <a:cubicBezTo>
                          <a:pt x="848" y="327"/>
                          <a:pt x="862" y="327"/>
                          <a:pt x="876" y="328"/>
                        </a:cubicBezTo>
                        <a:cubicBezTo>
                          <a:pt x="1095" y="339"/>
                          <a:pt x="1292" y="434"/>
                          <a:pt x="1436" y="581"/>
                        </a:cubicBezTo>
                        <a:cubicBezTo>
                          <a:pt x="1436" y="581"/>
                          <a:pt x="1436" y="581"/>
                          <a:pt x="1436" y="581"/>
                        </a:cubicBezTo>
                        <a:cubicBezTo>
                          <a:pt x="1666" y="350"/>
                          <a:pt x="1666" y="350"/>
                          <a:pt x="1666" y="350"/>
                        </a:cubicBezTo>
                        <a:cubicBezTo>
                          <a:pt x="1454" y="135"/>
                          <a:pt x="1159" y="0"/>
                          <a:pt x="833" y="0"/>
                        </a:cubicBezTo>
                        <a:cubicBezTo>
                          <a:pt x="507" y="0"/>
                          <a:pt x="212" y="135"/>
                          <a:pt x="0" y="35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ffectLst>
                    <a:outerShdw blurRad="63500" sx="102000" sy="102000" algn="ctr" rotWithShape="0">
                      <a:srgbClr val="702D89">
                        <a:alpha val="60000"/>
                      </a:srgbClr>
                    </a:outerShdw>
                  </a:effectLst>
                  <a:extLst/>
                </p:spPr>
                <p:txBody>
                  <a:bodyPr/>
                  <a:lstStyle/>
                  <a:p>
                    <a:pPr defTabSz="914217">
                      <a:defRPr/>
                    </a:pPr>
                    <a:endParaRPr lang="en-US" kern="0" dirty="0">
                      <a:solidFill>
                        <a:srgbClr val="FFFFFF"/>
                      </a:solidFill>
                      <a:ea typeface="ＭＳ Ｐゴシック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08" name="Freeform 7"/>
                  <p:cNvSpPr>
                    <a:spLocks/>
                  </p:cNvSpPr>
                  <p:nvPr/>
                </p:nvSpPr>
                <p:spPr bwMode="auto">
                  <a:xfrm>
                    <a:off x="4339608" y="2430822"/>
                    <a:ext cx="673253" cy="975219"/>
                  </a:xfrm>
                  <a:custGeom>
                    <a:avLst/>
                    <a:gdLst>
                      <a:gd name="T0" fmla="*/ 1098 w 2852"/>
                      <a:gd name="T1" fmla="*/ 22 h 4137"/>
                      <a:gd name="T2" fmla="*/ 1176 w 2852"/>
                      <a:gd name="T3" fmla="*/ 96 h 4137"/>
                      <a:gd name="T4" fmla="*/ 1233 w 2852"/>
                      <a:gd name="T5" fmla="*/ 286 h 4137"/>
                      <a:gd name="T6" fmla="*/ 1251 w 2852"/>
                      <a:gd name="T7" fmla="*/ 1948 h 4137"/>
                      <a:gd name="T8" fmla="*/ 1285 w 2852"/>
                      <a:gd name="T9" fmla="*/ 1946 h 4137"/>
                      <a:gd name="T10" fmla="*/ 1305 w 2852"/>
                      <a:gd name="T11" fmla="*/ 1821 h 4137"/>
                      <a:gd name="T12" fmla="*/ 1301 w 2852"/>
                      <a:gd name="T13" fmla="*/ 1111 h 4137"/>
                      <a:gd name="T14" fmla="*/ 1368 w 2852"/>
                      <a:gd name="T15" fmla="*/ 904 h 4137"/>
                      <a:gd name="T16" fmla="*/ 1496 w 2852"/>
                      <a:gd name="T17" fmla="*/ 840 h 4137"/>
                      <a:gd name="T18" fmla="*/ 1688 w 2852"/>
                      <a:gd name="T19" fmla="*/ 891 h 4137"/>
                      <a:gd name="T20" fmla="*/ 1759 w 2852"/>
                      <a:gd name="T21" fmla="*/ 992 h 4137"/>
                      <a:gd name="T22" fmla="*/ 1770 w 2852"/>
                      <a:gd name="T23" fmla="*/ 1234 h 4137"/>
                      <a:gd name="T24" fmla="*/ 1808 w 2852"/>
                      <a:gd name="T25" fmla="*/ 1952 h 4137"/>
                      <a:gd name="T26" fmla="*/ 1851 w 2852"/>
                      <a:gd name="T27" fmla="*/ 1798 h 4137"/>
                      <a:gd name="T28" fmla="*/ 1856 w 2852"/>
                      <a:gd name="T29" fmla="*/ 1089 h 4137"/>
                      <a:gd name="T30" fmla="*/ 1984 w 2852"/>
                      <a:gd name="T31" fmla="*/ 960 h 4137"/>
                      <a:gd name="T32" fmla="*/ 2173 w 2852"/>
                      <a:gd name="T33" fmla="*/ 962 h 4137"/>
                      <a:gd name="T34" fmla="*/ 2305 w 2852"/>
                      <a:gd name="T35" fmla="*/ 1116 h 4137"/>
                      <a:gd name="T36" fmla="*/ 2312 w 2852"/>
                      <a:gd name="T37" fmla="*/ 1936 h 4137"/>
                      <a:gd name="T38" fmla="*/ 2384 w 2852"/>
                      <a:gd name="T39" fmla="*/ 1936 h 4137"/>
                      <a:gd name="T40" fmla="*/ 2408 w 2852"/>
                      <a:gd name="T41" fmla="*/ 1296 h 4137"/>
                      <a:gd name="T42" fmla="*/ 2462 w 2852"/>
                      <a:gd name="T43" fmla="*/ 1236 h 4137"/>
                      <a:gd name="T44" fmla="*/ 2568 w 2852"/>
                      <a:gd name="T45" fmla="*/ 1177 h 4137"/>
                      <a:gd name="T46" fmla="*/ 2792 w 2852"/>
                      <a:gd name="T47" fmla="*/ 1257 h 4137"/>
                      <a:gd name="T48" fmla="*/ 2852 w 2852"/>
                      <a:gd name="T49" fmla="*/ 1538 h 4137"/>
                      <a:gd name="T50" fmla="*/ 2840 w 2852"/>
                      <a:gd name="T51" fmla="*/ 2848 h 4137"/>
                      <a:gd name="T52" fmla="*/ 2801 w 2852"/>
                      <a:gd name="T53" fmla="*/ 3009 h 4137"/>
                      <a:gd name="T54" fmla="*/ 2737 w 2852"/>
                      <a:gd name="T55" fmla="*/ 3161 h 4137"/>
                      <a:gd name="T56" fmla="*/ 2656 w 2852"/>
                      <a:gd name="T57" fmla="*/ 3289 h 4137"/>
                      <a:gd name="T58" fmla="*/ 2498 w 2852"/>
                      <a:gd name="T59" fmla="*/ 3651 h 4137"/>
                      <a:gd name="T60" fmla="*/ 2472 w 2852"/>
                      <a:gd name="T61" fmla="*/ 4137 h 4137"/>
                      <a:gd name="T62" fmla="*/ 1047 w 2852"/>
                      <a:gd name="T63" fmla="*/ 3712 h 4137"/>
                      <a:gd name="T64" fmla="*/ 1000 w 2852"/>
                      <a:gd name="T65" fmla="*/ 3609 h 4137"/>
                      <a:gd name="T66" fmla="*/ 880 w 2852"/>
                      <a:gd name="T67" fmla="*/ 3473 h 4137"/>
                      <a:gd name="T68" fmla="*/ 648 w 2852"/>
                      <a:gd name="T69" fmla="*/ 3240 h 4137"/>
                      <a:gd name="T70" fmla="*/ 584 w 2852"/>
                      <a:gd name="T71" fmla="*/ 3145 h 4137"/>
                      <a:gd name="T72" fmla="*/ 512 w 2852"/>
                      <a:gd name="T73" fmla="*/ 3017 h 4137"/>
                      <a:gd name="T74" fmla="*/ 416 w 2852"/>
                      <a:gd name="T75" fmla="*/ 2672 h 4137"/>
                      <a:gd name="T76" fmla="*/ 388 w 2852"/>
                      <a:gd name="T77" fmla="*/ 2304 h 4137"/>
                      <a:gd name="T78" fmla="*/ 320 w 2852"/>
                      <a:gd name="T79" fmla="*/ 2145 h 4137"/>
                      <a:gd name="T80" fmla="*/ 200 w 2852"/>
                      <a:gd name="T81" fmla="*/ 2048 h 4137"/>
                      <a:gd name="T82" fmla="*/ 55 w 2852"/>
                      <a:gd name="T83" fmla="*/ 1960 h 4137"/>
                      <a:gd name="T84" fmla="*/ 0 w 2852"/>
                      <a:gd name="T85" fmla="*/ 1761 h 4137"/>
                      <a:gd name="T86" fmla="*/ 40 w 2852"/>
                      <a:gd name="T87" fmla="*/ 1673 h 4137"/>
                      <a:gd name="T88" fmla="*/ 204 w 2852"/>
                      <a:gd name="T89" fmla="*/ 1582 h 4137"/>
                      <a:gd name="T90" fmla="*/ 440 w 2852"/>
                      <a:gd name="T91" fmla="*/ 1616 h 4137"/>
                      <a:gd name="T92" fmla="*/ 569 w 2852"/>
                      <a:gd name="T93" fmla="*/ 1695 h 4137"/>
                      <a:gd name="T94" fmla="*/ 656 w 2852"/>
                      <a:gd name="T95" fmla="*/ 1801 h 4137"/>
                      <a:gd name="T96" fmla="*/ 690 w 2852"/>
                      <a:gd name="T97" fmla="*/ 2093 h 4137"/>
                      <a:gd name="T98" fmla="*/ 664 w 2852"/>
                      <a:gd name="T99" fmla="*/ 2376 h 4137"/>
                      <a:gd name="T100" fmla="*/ 624 w 2852"/>
                      <a:gd name="T101" fmla="*/ 2489 h 4137"/>
                      <a:gd name="T102" fmla="*/ 584 w 2852"/>
                      <a:gd name="T103" fmla="*/ 2720 h 4137"/>
                      <a:gd name="T104" fmla="*/ 637 w 2852"/>
                      <a:gd name="T105" fmla="*/ 2723 h 4137"/>
                      <a:gd name="T106" fmla="*/ 668 w 2852"/>
                      <a:gd name="T107" fmla="*/ 2596 h 4137"/>
                      <a:gd name="T108" fmla="*/ 712 w 2852"/>
                      <a:gd name="T109" fmla="*/ 2449 h 4137"/>
                      <a:gd name="T110" fmla="*/ 744 w 2852"/>
                      <a:gd name="T111" fmla="*/ 2328 h 4137"/>
                      <a:gd name="T112" fmla="*/ 760 w 2852"/>
                      <a:gd name="T113" fmla="*/ 2042 h 4137"/>
                      <a:gd name="T114" fmla="*/ 767 w 2852"/>
                      <a:gd name="T115" fmla="*/ 1845 h 4137"/>
                      <a:gd name="T116" fmla="*/ 760 w 2852"/>
                      <a:gd name="T117" fmla="*/ 240 h 4137"/>
                      <a:gd name="T118" fmla="*/ 855 w 2852"/>
                      <a:gd name="T119" fmla="*/ 56 h 4137"/>
                      <a:gd name="T120" fmla="*/ 985 w 2852"/>
                      <a:gd name="T121" fmla="*/ 0 h 41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</a:cxnLst>
                    <a:rect l="0" t="0" r="r" b="b"/>
                    <a:pathLst>
                      <a:path w="2852" h="4137">
                        <a:moveTo>
                          <a:pt x="985" y="0"/>
                        </a:moveTo>
                        <a:lnTo>
                          <a:pt x="997" y="1"/>
                        </a:lnTo>
                        <a:lnTo>
                          <a:pt x="1014" y="3"/>
                        </a:lnTo>
                        <a:lnTo>
                          <a:pt x="1032" y="6"/>
                        </a:lnTo>
                        <a:lnTo>
                          <a:pt x="1051" y="11"/>
                        </a:lnTo>
                        <a:lnTo>
                          <a:pt x="1070" y="15"/>
                        </a:lnTo>
                        <a:lnTo>
                          <a:pt x="1085" y="18"/>
                        </a:lnTo>
                        <a:lnTo>
                          <a:pt x="1098" y="22"/>
                        </a:lnTo>
                        <a:lnTo>
                          <a:pt x="1104" y="23"/>
                        </a:lnTo>
                        <a:lnTo>
                          <a:pt x="1112" y="40"/>
                        </a:lnTo>
                        <a:lnTo>
                          <a:pt x="1128" y="40"/>
                        </a:lnTo>
                        <a:lnTo>
                          <a:pt x="1135" y="56"/>
                        </a:lnTo>
                        <a:lnTo>
                          <a:pt x="1152" y="56"/>
                        </a:lnTo>
                        <a:lnTo>
                          <a:pt x="1152" y="64"/>
                        </a:lnTo>
                        <a:lnTo>
                          <a:pt x="1176" y="80"/>
                        </a:lnTo>
                        <a:lnTo>
                          <a:pt x="1176" y="96"/>
                        </a:lnTo>
                        <a:lnTo>
                          <a:pt x="1192" y="104"/>
                        </a:lnTo>
                        <a:lnTo>
                          <a:pt x="1192" y="120"/>
                        </a:lnTo>
                        <a:lnTo>
                          <a:pt x="1208" y="128"/>
                        </a:lnTo>
                        <a:lnTo>
                          <a:pt x="1217" y="152"/>
                        </a:lnTo>
                        <a:lnTo>
                          <a:pt x="1225" y="180"/>
                        </a:lnTo>
                        <a:lnTo>
                          <a:pt x="1230" y="213"/>
                        </a:lnTo>
                        <a:lnTo>
                          <a:pt x="1232" y="248"/>
                        </a:lnTo>
                        <a:lnTo>
                          <a:pt x="1233" y="286"/>
                        </a:lnTo>
                        <a:lnTo>
                          <a:pt x="1233" y="324"/>
                        </a:lnTo>
                        <a:lnTo>
                          <a:pt x="1233" y="361"/>
                        </a:lnTo>
                        <a:lnTo>
                          <a:pt x="1232" y="398"/>
                        </a:lnTo>
                        <a:lnTo>
                          <a:pt x="1232" y="432"/>
                        </a:lnTo>
                        <a:lnTo>
                          <a:pt x="1232" y="1936"/>
                        </a:lnTo>
                        <a:lnTo>
                          <a:pt x="1241" y="1941"/>
                        </a:lnTo>
                        <a:lnTo>
                          <a:pt x="1246" y="1945"/>
                        </a:lnTo>
                        <a:lnTo>
                          <a:pt x="1251" y="1948"/>
                        </a:lnTo>
                        <a:lnTo>
                          <a:pt x="1257" y="1950"/>
                        </a:lnTo>
                        <a:lnTo>
                          <a:pt x="1266" y="1952"/>
                        </a:lnTo>
                        <a:lnTo>
                          <a:pt x="1280" y="1953"/>
                        </a:lnTo>
                        <a:lnTo>
                          <a:pt x="1282" y="1950"/>
                        </a:lnTo>
                        <a:lnTo>
                          <a:pt x="1284" y="1949"/>
                        </a:lnTo>
                        <a:lnTo>
                          <a:pt x="1285" y="1948"/>
                        </a:lnTo>
                        <a:lnTo>
                          <a:pt x="1285" y="1948"/>
                        </a:lnTo>
                        <a:lnTo>
                          <a:pt x="1285" y="1946"/>
                        </a:lnTo>
                        <a:lnTo>
                          <a:pt x="1286" y="1946"/>
                        </a:lnTo>
                        <a:lnTo>
                          <a:pt x="1287" y="1946"/>
                        </a:lnTo>
                        <a:lnTo>
                          <a:pt x="1289" y="1946"/>
                        </a:lnTo>
                        <a:lnTo>
                          <a:pt x="1292" y="1945"/>
                        </a:lnTo>
                        <a:lnTo>
                          <a:pt x="1296" y="1944"/>
                        </a:lnTo>
                        <a:lnTo>
                          <a:pt x="1301" y="1906"/>
                        </a:lnTo>
                        <a:lnTo>
                          <a:pt x="1304" y="1865"/>
                        </a:lnTo>
                        <a:lnTo>
                          <a:pt x="1305" y="1821"/>
                        </a:lnTo>
                        <a:lnTo>
                          <a:pt x="1305" y="1777"/>
                        </a:lnTo>
                        <a:lnTo>
                          <a:pt x="1304" y="1732"/>
                        </a:lnTo>
                        <a:lnTo>
                          <a:pt x="1304" y="1689"/>
                        </a:lnTo>
                        <a:lnTo>
                          <a:pt x="1304" y="1264"/>
                        </a:lnTo>
                        <a:lnTo>
                          <a:pt x="1304" y="1228"/>
                        </a:lnTo>
                        <a:lnTo>
                          <a:pt x="1302" y="1189"/>
                        </a:lnTo>
                        <a:lnTo>
                          <a:pt x="1301" y="1150"/>
                        </a:lnTo>
                        <a:lnTo>
                          <a:pt x="1301" y="1111"/>
                        </a:lnTo>
                        <a:lnTo>
                          <a:pt x="1301" y="1074"/>
                        </a:lnTo>
                        <a:lnTo>
                          <a:pt x="1305" y="1037"/>
                        </a:lnTo>
                        <a:lnTo>
                          <a:pt x="1311" y="1004"/>
                        </a:lnTo>
                        <a:lnTo>
                          <a:pt x="1320" y="977"/>
                        </a:lnTo>
                        <a:lnTo>
                          <a:pt x="1328" y="977"/>
                        </a:lnTo>
                        <a:lnTo>
                          <a:pt x="1336" y="944"/>
                        </a:lnTo>
                        <a:lnTo>
                          <a:pt x="1360" y="928"/>
                        </a:lnTo>
                        <a:lnTo>
                          <a:pt x="1368" y="904"/>
                        </a:lnTo>
                        <a:lnTo>
                          <a:pt x="1384" y="904"/>
                        </a:lnTo>
                        <a:lnTo>
                          <a:pt x="1400" y="880"/>
                        </a:lnTo>
                        <a:lnTo>
                          <a:pt x="1415" y="880"/>
                        </a:lnTo>
                        <a:lnTo>
                          <a:pt x="1424" y="864"/>
                        </a:lnTo>
                        <a:lnTo>
                          <a:pt x="1440" y="864"/>
                        </a:lnTo>
                        <a:lnTo>
                          <a:pt x="1440" y="856"/>
                        </a:lnTo>
                        <a:lnTo>
                          <a:pt x="1496" y="849"/>
                        </a:lnTo>
                        <a:lnTo>
                          <a:pt x="1496" y="840"/>
                        </a:lnTo>
                        <a:lnTo>
                          <a:pt x="1518" y="836"/>
                        </a:lnTo>
                        <a:lnTo>
                          <a:pt x="1543" y="837"/>
                        </a:lnTo>
                        <a:lnTo>
                          <a:pt x="1570" y="841"/>
                        </a:lnTo>
                        <a:lnTo>
                          <a:pt x="1596" y="849"/>
                        </a:lnTo>
                        <a:lnTo>
                          <a:pt x="1623" y="857"/>
                        </a:lnTo>
                        <a:lnTo>
                          <a:pt x="1646" y="869"/>
                        </a:lnTo>
                        <a:lnTo>
                          <a:pt x="1669" y="880"/>
                        </a:lnTo>
                        <a:lnTo>
                          <a:pt x="1688" y="891"/>
                        </a:lnTo>
                        <a:lnTo>
                          <a:pt x="1703" y="903"/>
                        </a:lnTo>
                        <a:lnTo>
                          <a:pt x="1712" y="913"/>
                        </a:lnTo>
                        <a:lnTo>
                          <a:pt x="1712" y="928"/>
                        </a:lnTo>
                        <a:lnTo>
                          <a:pt x="1736" y="944"/>
                        </a:lnTo>
                        <a:lnTo>
                          <a:pt x="1736" y="960"/>
                        </a:lnTo>
                        <a:lnTo>
                          <a:pt x="1744" y="960"/>
                        </a:lnTo>
                        <a:lnTo>
                          <a:pt x="1752" y="992"/>
                        </a:lnTo>
                        <a:lnTo>
                          <a:pt x="1759" y="992"/>
                        </a:lnTo>
                        <a:lnTo>
                          <a:pt x="1766" y="1012"/>
                        </a:lnTo>
                        <a:lnTo>
                          <a:pt x="1770" y="1037"/>
                        </a:lnTo>
                        <a:lnTo>
                          <a:pt x="1771" y="1066"/>
                        </a:lnTo>
                        <a:lnTo>
                          <a:pt x="1772" y="1099"/>
                        </a:lnTo>
                        <a:lnTo>
                          <a:pt x="1772" y="1133"/>
                        </a:lnTo>
                        <a:lnTo>
                          <a:pt x="1771" y="1168"/>
                        </a:lnTo>
                        <a:lnTo>
                          <a:pt x="1771" y="1202"/>
                        </a:lnTo>
                        <a:lnTo>
                          <a:pt x="1770" y="1234"/>
                        </a:lnTo>
                        <a:lnTo>
                          <a:pt x="1768" y="1263"/>
                        </a:lnTo>
                        <a:lnTo>
                          <a:pt x="1768" y="1288"/>
                        </a:lnTo>
                        <a:lnTo>
                          <a:pt x="1768" y="1929"/>
                        </a:lnTo>
                        <a:lnTo>
                          <a:pt x="1777" y="1935"/>
                        </a:lnTo>
                        <a:lnTo>
                          <a:pt x="1785" y="1940"/>
                        </a:lnTo>
                        <a:lnTo>
                          <a:pt x="1791" y="1944"/>
                        </a:lnTo>
                        <a:lnTo>
                          <a:pt x="1798" y="1948"/>
                        </a:lnTo>
                        <a:lnTo>
                          <a:pt x="1808" y="1952"/>
                        </a:lnTo>
                        <a:lnTo>
                          <a:pt x="1824" y="1953"/>
                        </a:lnTo>
                        <a:lnTo>
                          <a:pt x="1832" y="1936"/>
                        </a:lnTo>
                        <a:lnTo>
                          <a:pt x="1839" y="1925"/>
                        </a:lnTo>
                        <a:lnTo>
                          <a:pt x="1845" y="1906"/>
                        </a:lnTo>
                        <a:lnTo>
                          <a:pt x="1847" y="1884"/>
                        </a:lnTo>
                        <a:lnTo>
                          <a:pt x="1850" y="1857"/>
                        </a:lnTo>
                        <a:lnTo>
                          <a:pt x="1851" y="1828"/>
                        </a:lnTo>
                        <a:lnTo>
                          <a:pt x="1851" y="1798"/>
                        </a:lnTo>
                        <a:lnTo>
                          <a:pt x="1851" y="1767"/>
                        </a:lnTo>
                        <a:lnTo>
                          <a:pt x="1850" y="1737"/>
                        </a:lnTo>
                        <a:lnTo>
                          <a:pt x="1849" y="1709"/>
                        </a:lnTo>
                        <a:lnTo>
                          <a:pt x="1849" y="1685"/>
                        </a:lnTo>
                        <a:lnTo>
                          <a:pt x="1847" y="1664"/>
                        </a:lnTo>
                        <a:lnTo>
                          <a:pt x="1847" y="1112"/>
                        </a:lnTo>
                        <a:lnTo>
                          <a:pt x="1856" y="1112"/>
                        </a:lnTo>
                        <a:lnTo>
                          <a:pt x="1856" y="1089"/>
                        </a:lnTo>
                        <a:lnTo>
                          <a:pt x="1864" y="1089"/>
                        </a:lnTo>
                        <a:lnTo>
                          <a:pt x="1873" y="1056"/>
                        </a:lnTo>
                        <a:lnTo>
                          <a:pt x="1888" y="1048"/>
                        </a:lnTo>
                        <a:lnTo>
                          <a:pt x="1888" y="1032"/>
                        </a:lnTo>
                        <a:lnTo>
                          <a:pt x="1928" y="1001"/>
                        </a:lnTo>
                        <a:lnTo>
                          <a:pt x="1937" y="984"/>
                        </a:lnTo>
                        <a:lnTo>
                          <a:pt x="1984" y="968"/>
                        </a:lnTo>
                        <a:lnTo>
                          <a:pt x="1984" y="960"/>
                        </a:lnTo>
                        <a:lnTo>
                          <a:pt x="2001" y="960"/>
                        </a:lnTo>
                        <a:lnTo>
                          <a:pt x="2001" y="952"/>
                        </a:lnTo>
                        <a:lnTo>
                          <a:pt x="2032" y="952"/>
                        </a:lnTo>
                        <a:lnTo>
                          <a:pt x="2060" y="947"/>
                        </a:lnTo>
                        <a:lnTo>
                          <a:pt x="2089" y="945"/>
                        </a:lnTo>
                        <a:lnTo>
                          <a:pt x="2117" y="948"/>
                        </a:lnTo>
                        <a:lnTo>
                          <a:pt x="2146" y="954"/>
                        </a:lnTo>
                        <a:lnTo>
                          <a:pt x="2173" y="962"/>
                        </a:lnTo>
                        <a:lnTo>
                          <a:pt x="2197" y="973"/>
                        </a:lnTo>
                        <a:lnTo>
                          <a:pt x="2217" y="984"/>
                        </a:lnTo>
                        <a:lnTo>
                          <a:pt x="2241" y="1016"/>
                        </a:lnTo>
                        <a:lnTo>
                          <a:pt x="2272" y="1041"/>
                        </a:lnTo>
                        <a:lnTo>
                          <a:pt x="2272" y="1056"/>
                        </a:lnTo>
                        <a:lnTo>
                          <a:pt x="2288" y="1065"/>
                        </a:lnTo>
                        <a:lnTo>
                          <a:pt x="2298" y="1089"/>
                        </a:lnTo>
                        <a:lnTo>
                          <a:pt x="2305" y="1116"/>
                        </a:lnTo>
                        <a:lnTo>
                          <a:pt x="2310" y="1148"/>
                        </a:lnTo>
                        <a:lnTo>
                          <a:pt x="2312" y="1182"/>
                        </a:lnTo>
                        <a:lnTo>
                          <a:pt x="2313" y="1218"/>
                        </a:lnTo>
                        <a:lnTo>
                          <a:pt x="2313" y="1254"/>
                        </a:lnTo>
                        <a:lnTo>
                          <a:pt x="2313" y="1291"/>
                        </a:lnTo>
                        <a:lnTo>
                          <a:pt x="2312" y="1326"/>
                        </a:lnTo>
                        <a:lnTo>
                          <a:pt x="2312" y="1360"/>
                        </a:lnTo>
                        <a:lnTo>
                          <a:pt x="2312" y="1936"/>
                        </a:lnTo>
                        <a:lnTo>
                          <a:pt x="2336" y="1944"/>
                        </a:lnTo>
                        <a:lnTo>
                          <a:pt x="2338" y="1948"/>
                        </a:lnTo>
                        <a:lnTo>
                          <a:pt x="2341" y="1950"/>
                        </a:lnTo>
                        <a:lnTo>
                          <a:pt x="2345" y="1953"/>
                        </a:lnTo>
                        <a:lnTo>
                          <a:pt x="2351" y="1954"/>
                        </a:lnTo>
                        <a:lnTo>
                          <a:pt x="2360" y="1953"/>
                        </a:lnTo>
                        <a:lnTo>
                          <a:pt x="2360" y="1944"/>
                        </a:lnTo>
                        <a:lnTo>
                          <a:pt x="2384" y="1936"/>
                        </a:lnTo>
                        <a:lnTo>
                          <a:pt x="2384" y="1376"/>
                        </a:lnTo>
                        <a:lnTo>
                          <a:pt x="2390" y="1366"/>
                        </a:lnTo>
                        <a:lnTo>
                          <a:pt x="2394" y="1352"/>
                        </a:lnTo>
                        <a:lnTo>
                          <a:pt x="2395" y="1340"/>
                        </a:lnTo>
                        <a:lnTo>
                          <a:pt x="2396" y="1326"/>
                        </a:lnTo>
                        <a:lnTo>
                          <a:pt x="2400" y="1312"/>
                        </a:lnTo>
                        <a:lnTo>
                          <a:pt x="2408" y="1312"/>
                        </a:lnTo>
                        <a:lnTo>
                          <a:pt x="2408" y="1296"/>
                        </a:lnTo>
                        <a:lnTo>
                          <a:pt x="2424" y="1288"/>
                        </a:lnTo>
                        <a:lnTo>
                          <a:pt x="2424" y="1272"/>
                        </a:lnTo>
                        <a:lnTo>
                          <a:pt x="2433" y="1272"/>
                        </a:lnTo>
                        <a:lnTo>
                          <a:pt x="2438" y="1264"/>
                        </a:lnTo>
                        <a:lnTo>
                          <a:pt x="2441" y="1258"/>
                        </a:lnTo>
                        <a:lnTo>
                          <a:pt x="2445" y="1251"/>
                        </a:lnTo>
                        <a:lnTo>
                          <a:pt x="2448" y="1241"/>
                        </a:lnTo>
                        <a:lnTo>
                          <a:pt x="2462" y="1236"/>
                        </a:lnTo>
                        <a:lnTo>
                          <a:pt x="2470" y="1231"/>
                        </a:lnTo>
                        <a:lnTo>
                          <a:pt x="2479" y="1224"/>
                        </a:lnTo>
                        <a:lnTo>
                          <a:pt x="2488" y="1217"/>
                        </a:lnTo>
                        <a:lnTo>
                          <a:pt x="2488" y="1208"/>
                        </a:lnTo>
                        <a:lnTo>
                          <a:pt x="2536" y="1193"/>
                        </a:lnTo>
                        <a:lnTo>
                          <a:pt x="2536" y="1184"/>
                        </a:lnTo>
                        <a:lnTo>
                          <a:pt x="2568" y="1184"/>
                        </a:lnTo>
                        <a:lnTo>
                          <a:pt x="2568" y="1177"/>
                        </a:lnTo>
                        <a:lnTo>
                          <a:pt x="2696" y="1184"/>
                        </a:lnTo>
                        <a:lnTo>
                          <a:pt x="2696" y="1193"/>
                        </a:lnTo>
                        <a:lnTo>
                          <a:pt x="2728" y="1200"/>
                        </a:lnTo>
                        <a:lnTo>
                          <a:pt x="2728" y="1208"/>
                        </a:lnTo>
                        <a:lnTo>
                          <a:pt x="2744" y="1208"/>
                        </a:lnTo>
                        <a:lnTo>
                          <a:pt x="2752" y="1224"/>
                        </a:lnTo>
                        <a:lnTo>
                          <a:pt x="2768" y="1224"/>
                        </a:lnTo>
                        <a:lnTo>
                          <a:pt x="2792" y="1257"/>
                        </a:lnTo>
                        <a:lnTo>
                          <a:pt x="2801" y="1257"/>
                        </a:lnTo>
                        <a:lnTo>
                          <a:pt x="2817" y="1285"/>
                        </a:lnTo>
                        <a:lnTo>
                          <a:pt x="2830" y="1318"/>
                        </a:lnTo>
                        <a:lnTo>
                          <a:pt x="2838" y="1357"/>
                        </a:lnTo>
                        <a:lnTo>
                          <a:pt x="2846" y="1399"/>
                        </a:lnTo>
                        <a:lnTo>
                          <a:pt x="2850" y="1443"/>
                        </a:lnTo>
                        <a:lnTo>
                          <a:pt x="2852" y="1489"/>
                        </a:lnTo>
                        <a:lnTo>
                          <a:pt x="2852" y="1538"/>
                        </a:lnTo>
                        <a:lnTo>
                          <a:pt x="2852" y="1587"/>
                        </a:lnTo>
                        <a:lnTo>
                          <a:pt x="2851" y="1636"/>
                        </a:lnTo>
                        <a:lnTo>
                          <a:pt x="2850" y="1684"/>
                        </a:lnTo>
                        <a:lnTo>
                          <a:pt x="2848" y="1732"/>
                        </a:lnTo>
                        <a:lnTo>
                          <a:pt x="2848" y="1777"/>
                        </a:lnTo>
                        <a:lnTo>
                          <a:pt x="2848" y="2793"/>
                        </a:lnTo>
                        <a:lnTo>
                          <a:pt x="2840" y="2793"/>
                        </a:lnTo>
                        <a:lnTo>
                          <a:pt x="2840" y="2848"/>
                        </a:lnTo>
                        <a:lnTo>
                          <a:pt x="2832" y="2848"/>
                        </a:lnTo>
                        <a:lnTo>
                          <a:pt x="2832" y="2888"/>
                        </a:lnTo>
                        <a:lnTo>
                          <a:pt x="2824" y="2888"/>
                        </a:lnTo>
                        <a:lnTo>
                          <a:pt x="2824" y="2929"/>
                        </a:lnTo>
                        <a:lnTo>
                          <a:pt x="2816" y="2929"/>
                        </a:lnTo>
                        <a:lnTo>
                          <a:pt x="2808" y="2985"/>
                        </a:lnTo>
                        <a:lnTo>
                          <a:pt x="2801" y="2985"/>
                        </a:lnTo>
                        <a:lnTo>
                          <a:pt x="2801" y="3009"/>
                        </a:lnTo>
                        <a:lnTo>
                          <a:pt x="2792" y="3009"/>
                        </a:lnTo>
                        <a:lnTo>
                          <a:pt x="2792" y="3033"/>
                        </a:lnTo>
                        <a:lnTo>
                          <a:pt x="2784" y="3033"/>
                        </a:lnTo>
                        <a:lnTo>
                          <a:pt x="2784" y="3057"/>
                        </a:lnTo>
                        <a:lnTo>
                          <a:pt x="2776" y="3057"/>
                        </a:lnTo>
                        <a:lnTo>
                          <a:pt x="2768" y="3088"/>
                        </a:lnTo>
                        <a:lnTo>
                          <a:pt x="2760" y="3088"/>
                        </a:lnTo>
                        <a:lnTo>
                          <a:pt x="2737" y="3161"/>
                        </a:lnTo>
                        <a:lnTo>
                          <a:pt x="2720" y="3177"/>
                        </a:lnTo>
                        <a:lnTo>
                          <a:pt x="2720" y="3192"/>
                        </a:lnTo>
                        <a:lnTo>
                          <a:pt x="2704" y="3201"/>
                        </a:lnTo>
                        <a:lnTo>
                          <a:pt x="2696" y="3233"/>
                        </a:lnTo>
                        <a:lnTo>
                          <a:pt x="2680" y="3240"/>
                        </a:lnTo>
                        <a:lnTo>
                          <a:pt x="2680" y="3256"/>
                        </a:lnTo>
                        <a:lnTo>
                          <a:pt x="2656" y="3273"/>
                        </a:lnTo>
                        <a:lnTo>
                          <a:pt x="2656" y="3289"/>
                        </a:lnTo>
                        <a:lnTo>
                          <a:pt x="2640" y="3297"/>
                        </a:lnTo>
                        <a:lnTo>
                          <a:pt x="2632" y="3329"/>
                        </a:lnTo>
                        <a:lnTo>
                          <a:pt x="2616" y="3337"/>
                        </a:lnTo>
                        <a:lnTo>
                          <a:pt x="2608" y="3368"/>
                        </a:lnTo>
                        <a:lnTo>
                          <a:pt x="2592" y="3377"/>
                        </a:lnTo>
                        <a:lnTo>
                          <a:pt x="2512" y="3569"/>
                        </a:lnTo>
                        <a:lnTo>
                          <a:pt x="2512" y="3601"/>
                        </a:lnTo>
                        <a:lnTo>
                          <a:pt x="2498" y="3651"/>
                        </a:lnTo>
                        <a:lnTo>
                          <a:pt x="2487" y="3704"/>
                        </a:lnTo>
                        <a:lnTo>
                          <a:pt x="2479" y="3760"/>
                        </a:lnTo>
                        <a:lnTo>
                          <a:pt x="2475" y="3819"/>
                        </a:lnTo>
                        <a:lnTo>
                          <a:pt x="2473" y="3881"/>
                        </a:lnTo>
                        <a:lnTo>
                          <a:pt x="2472" y="3944"/>
                        </a:lnTo>
                        <a:lnTo>
                          <a:pt x="2472" y="4008"/>
                        </a:lnTo>
                        <a:lnTo>
                          <a:pt x="2473" y="4072"/>
                        </a:lnTo>
                        <a:lnTo>
                          <a:pt x="2472" y="4137"/>
                        </a:lnTo>
                        <a:lnTo>
                          <a:pt x="1080" y="4137"/>
                        </a:lnTo>
                        <a:lnTo>
                          <a:pt x="1080" y="4057"/>
                        </a:lnTo>
                        <a:lnTo>
                          <a:pt x="1073" y="4057"/>
                        </a:lnTo>
                        <a:lnTo>
                          <a:pt x="1073" y="3921"/>
                        </a:lnTo>
                        <a:lnTo>
                          <a:pt x="1064" y="3736"/>
                        </a:lnTo>
                        <a:lnTo>
                          <a:pt x="1056" y="3736"/>
                        </a:lnTo>
                        <a:lnTo>
                          <a:pt x="1056" y="3712"/>
                        </a:lnTo>
                        <a:lnTo>
                          <a:pt x="1047" y="3712"/>
                        </a:lnTo>
                        <a:lnTo>
                          <a:pt x="1047" y="3689"/>
                        </a:lnTo>
                        <a:lnTo>
                          <a:pt x="1040" y="3689"/>
                        </a:lnTo>
                        <a:lnTo>
                          <a:pt x="1040" y="3665"/>
                        </a:lnTo>
                        <a:lnTo>
                          <a:pt x="1032" y="3665"/>
                        </a:lnTo>
                        <a:lnTo>
                          <a:pt x="1032" y="3648"/>
                        </a:lnTo>
                        <a:lnTo>
                          <a:pt x="1024" y="3648"/>
                        </a:lnTo>
                        <a:lnTo>
                          <a:pt x="1016" y="3617"/>
                        </a:lnTo>
                        <a:lnTo>
                          <a:pt x="1000" y="3609"/>
                        </a:lnTo>
                        <a:lnTo>
                          <a:pt x="1000" y="3593"/>
                        </a:lnTo>
                        <a:lnTo>
                          <a:pt x="992" y="3593"/>
                        </a:lnTo>
                        <a:lnTo>
                          <a:pt x="992" y="3577"/>
                        </a:lnTo>
                        <a:lnTo>
                          <a:pt x="968" y="3560"/>
                        </a:lnTo>
                        <a:lnTo>
                          <a:pt x="968" y="3545"/>
                        </a:lnTo>
                        <a:lnTo>
                          <a:pt x="912" y="3496"/>
                        </a:lnTo>
                        <a:lnTo>
                          <a:pt x="896" y="3473"/>
                        </a:lnTo>
                        <a:lnTo>
                          <a:pt x="880" y="3473"/>
                        </a:lnTo>
                        <a:lnTo>
                          <a:pt x="855" y="3441"/>
                        </a:lnTo>
                        <a:lnTo>
                          <a:pt x="840" y="3441"/>
                        </a:lnTo>
                        <a:lnTo>
                          <a:pt x="793" y="3385"/>
                        </a:lnTo>
                        <a:lnTo>
                          <a:pt x="776" y="3385"/>
                        </a:lnTo>
                        <a:lnTo>
                          <a:pt x="728" y="3321"/>
                        </a:lnTo>
                        <a:lnTo>
                          <a:pt x="679" y="3280"/>
                        </a:lnTo>
                        <a:lnTo>
                          <a:pt x="679" y="3265"/>
                        </a:lnTo>
                        <a:lnTo>
                          <a:pt x="648" y="3240"/>
                        </a:lnTo>
                        <a:lnTo>
                          <a:pt x="648" y="3225"/>
                        </a:lnTo>
                        <a:lnTo>
                          <a:pt x="632" y="3216"/>
                        </a:lnTo>
                        <a:lnTo>
                          <a:pt x="632" y="3201"/>
                        </a:lnTo>
                        <a:lnTo>
                          <a:pt x="608" y="3185"/>
                        </a:lnTo>
                        <a:lnTo>
                          <a:pt x="608" y="3169"/>
                        </a:lnTo>
                        <a:lnTo>
                          <a:pt x="592" y="3161"/>
                        </a:lnTo>
                        <a:lnTo>
                          <a:pt x="592" y="3145"/>
                        </a:lnTo>
                        <a:lnTo>
                          <a:pt x="584" y="3145"/>
                        </a:lnTo>
                        <a:lnTo>
                          <a:pt x="584" y="3128"/>
                        </a:lnTo>
                        <a:lnTo>
                          <a:pt x="568" y="3121"/>
                        </a:lnTo>
                        <a:lnTo>
                          <a:pt x="551" y="3073"/>
                        </a:lnTo>
                        <a:lnTo>
                          <a:pt x="536" y="3064"/>
                        </a:lnTo>
                        <a:lnTo>
                          <a:pt x="536" y="3049"/>
                        </a:lnTo>
                        <a:lnTo>
                          <a:pt x="528" y="3049"/>
                        </a:lnTo>
                        <a:lnTo>
                          <a:pt x="520" y="3017"/>
                        </a:lnTo>
                        <a:lnTo>
                          <a:pt x="512" y="3017"/>
                        </a:lnTo>
                        <a:lnTo>
                          <a:pt x="512" y="2993"/>
                        </a:lnTo>
                        <a:lnTo>
                          <a:pt x="504" y="2993"/>
                        </a:lnTo>
                        <a:lnTo>
                          <a:pt x="496" y="2961"/>
                        </a:lnTo>
                        <a:lnTo>
                          <a:pt x="487" y="2961"/>
                        </a:lnTo>
                        <a:lnTo>
                          <a:pt x="480" y="2921"/>
                        </a:lnTo>
                        <a:lnTo>
                          <a:pt x="472" y="2921"/>
                        </a:lnTo>
                        <a:lnTo>
                          <a:pt x="416" y="2720"/>
                        </a:lnTo>
                        <a:lnTo>
                          <a:pt x="416" y="2672"/>
                        </a:lnTo>
                        <a:lnTo>
                          <a:pt x="408" y="2672"/>
                        </a:lnTo>
                        <a:lnTo>
                          <a:pt x="408" y="2608"/>
                        </a:lnTo>
                        <a:lnTo>
                          <a:pt x="399" y="2608"/>
                        </a:lnTo>
                        <a:lnTo>
                          <a:pt x="399" y="2497"/>
                        </a:lnTo>
                        <a:lnTo>
                          <a:pt x="399" y="2443"/>
                        </a:lnTo>
                        <a:lnTo>
                          <a:pt x="398" y="2394"/>
                        </a:lnTo>
                        <a:lnTo>
                          <a:pt x="394" y="2347"/>
                        </a:lnTo>
                        <a:lnTo>
                          <a:pt x="388" y="2304"/>
                        </a:lnTo>
                        <a:lnTo>
                          <a:pt x="376" y="2264"/>
                        </a:lnTo>
                        <a:lnTo>
                          <a:pt x="376" y="2240"/>
                        </a:lnTo>
                        <a:lnTo>
                          <a:pt x="368" y="2240"/>
                        </a:lnTo>
                        <a:lnTo>
                          <a:pt x="352" y="2193"/>
                        </a:lnTo>
                        <a:lnTo>
                          <a:pt x="344" y="2193"/>
                        </a:lnTo>
                        <a:lnTo>
                          <a:pt x="344" y="2176"/>
                        </a:lnTo>
                        <a:lnTo>
                          <a:pt x="320" y="2160"/>
                        </a:lnTo>
                        <a:lnTo>
                          <a:pt x="320" y="2145"/>
                        </a:lnTo>
                        <a:lnTo>
                          <a:pt x="280" y="2112"/>
                        </a:lnTo>
                        <a:lnTo>
                          <a:pt x="264" y="2088"/>
                        </a:lnTo>
                        <a:lnTo>
                          <a:pt x="247" y="2088"/>
                        </a:lnTo>
                        <a:lnTo>
                          <a:pt x="240" y="2072"/>
                        </a:lnTo>
                        <a:lnTo>
                          <a:pt x="224" y="2072"/>
                        </a:lnTo>
                        <a:lnTo>
                          <a:pt x="216" y="2057"/>
                        </a:lnTo>
                        <a:lnTo>
                          <a:pt x="200" y="2057"/>
                        </a:lnTo>
                        <a:lnTo>
                          <a:pt x="200" y="2048"/>
                        </a:lnTo>
                        <a:lnTo>
                          <a:pt x="183" y="2048"/>
                        </a:lnTo>
                        <a:lnTo>
                          <a:pt x="183" y="2041"/>
                        </a:lnTo>
                        <a:lnTo>
                          <a:pt x="160" y="2041"/>
                        </a:lnTo>
                        <a:lnTo>
                          <a:pt x="160" y="2033"/>
                        </a:lnTo>
                        <a:lnTo>
                          <a:pt x="112" y="2017"/>
                        </a:lnTo>
                        <a:lnTo>
                          <a:pt x="112" y="2008"/>
                        </a:lnTo>
                        <a:lnTo>
                          <a:pt x="95" y="2008"/>
                        </a:lnTo>
                        <a:lnTo>
                          <a:pt x="55" y="1960"/>
                        </a:lnTo>
                        <a:lnTo>
                          <a:pt x="40" y="1953"/>
                        </a:lnTo>
                        <a:lnTo>
                          <a:pt x="40" y="1936"/>
                        </a:lnTo>
                        <a:lnTo>
                          <a:pt x="24" y="1929"/>
                        </a:lnTo>
                        <a:lnTo>
                          <a:pt x="24" y="1913"/>
                        </a:lnTo>
                        <a:lnTo>
                          <a:pt x="16" y="1913"/>
                        </a:lnTo>
                        <a:lnTo>
                          <a:pt x="8" y="1865"/>
                        </a:lnTo>
                        <a:lnTo>
                          <a:pt x="0" y="1865"/>
                        </a:lnTo>
                        <a:lnTo>
                          <a:pt x="0" y="1761"/>
                        </a:lnTo>
                        <a:lnTo>
                          <a:pt x="8" y="1761"/>
                        </a:lnTo>
                        <a:lnTo>
                          <a:pt x="8" y="1737"/>
                        </a:lnTo>
                        <a:lnTo>
                          <a:pt x="16" y="1737"/>
                        </a:lnTo>
                        <a:lnTo>
                          <a:pt x="16" y="1713"/>
                        </a:lnTo>
                        <a:lnTo>
                          <a:pt x="24" y="1713"/>
                        </a:lnTo>
                        <a:lnTo>
                          <a:pt x="24" y="1697"/>
                        </a:lnTo>
                        <a:lnTo>
                          <a:pt x="40" y="1689"/>
                        </a:lnTo>
                        <a:lnTo>
                          <a:pt x="40" y="1673"/>
                        </a:lnTo>
                        <a:lnTo>
                          <a:pt x="55" y="1664"/>
                        </a:lnTo>
                        <a:lnTo>
                          <a:pt x="95" y="1616"/>
                        </a:lnTo>
                        <a:lnTo>
                          <a:pt x="128" y="1609"/>
                        </a:lnTo>
                        <a:lnTo>
                          <a:pt x="128" y="1601"/>
                        </a:lnTo>
                        <a:lnTo>
                          <a:pt x="144" y="1601"/>
                        </a:lnTo>
                        <a:lnTo>
                          <a:pt x="144" y="1592"/>
                        </a:lnTo>
                        <a:lnTo>
                          <a:pt x="168" y="1592"/>
                        </a:lnTo>
                        <a:lnTo>
                          <a:pt x="204" y="1582"/>
                        </a:lnTo>
                        <a:lnTo>
                          <a:pt x="241" y="1577"/>
                        </a:lnTo>
                        <a:lnTo>
                          <a:pt x="278" y="1577"/>
                        </a:lnTo>
                        <a:lnTo>
                          <a:pt x="315" y="1581"/>
                        </a:lnTo>
                        <a:lnTo>
                          <a:pt x="350" y="1589"/>
                        </a:lnTo>
                        <a:lnTo>
                          <a:pt x="384" y="1597"/>
                        </a:lnTo>
                        <a:lnTo>
                          <a:pt x="416" y="1609"/>
                        </a:lnTo>
                        <a:lnTo>
                          <a:pt x="440" y="1609"/>
                        </a:lnTo>
                        <a:lnTo>
                          <a:pt x="440" y="1616"/>
                        </a:lnTo>
                        <a:lnTo>
                          <a:pt x="487" y="1632"/>
                        </a:lnTo>
                        <a:lnTo>
                          <a:pt x="487" y="1640"/>
                        </a:lnTo>
                        <a:lnTo>
                          <a:pt x="520" y="1649"/>
                        </a:lnTo>
                        <a:lnTo>
                          <a:pt x="528" y="1664"/>
                        </a:lnTo>
                        <a:lnTo>
                          <a:pt x="544" y="1664"/>
                        </a:lnTo>
                        <a:lnTo>
                          <a:pt x="544" y="1673"/>
                        </a:lnTo>
                        <a:lnTo>
                          <a:pt x="556" y="1684"/>
                        </a:lnTo>
                        <a:lnTo>
                          <a:pt x="569" y="1695"/>
                        </a:lnTo>
                        <a:lnTo>
                          <a:pt x="583" y="1705"/>
                        </a:lnTo>
                        <a:lnTo>
                          <a:pt x="600" y="1713"/>
                        </a:lnTo>
                        <a:lnTo>
                          <a:pt x="600" y="1728"/>
                        </a:lnTo>
                        <a:lnTo>
                          <a:pt x="617" y="1740"/>
                        </a:lnTo>
                        <a:lnTo>
                          <a:pt x="629" y="1753"/>
                        </a:lnTo>
                        <a:lnTo>
                          <a:pt x="637" y="1767"/>
                        </a:lnTo>
                        <a:lnTo>
                          <a:pt x="646" y="1783"/>
                        </a:lnTo>
                        <a:lnTo>
                          <a:pt x="656" y="1801"/>
                        </a:lnTo>
                        <a:lnTo>
                          <a:pt x="672" y="1808"/>
                        </a:lnTo>
                        <a:lnTo>
                          <a:pt x="672" y="1825"/>
                        </a:lnTo>
                        <a:lnTo>
                          <a:pt x="679" y="1825"/>
                        </a:lnTo>
                        <a:lnTo>
                          <a:pt x="679" y="1841"/>
                        </a:lnTo>
                        <a:lnTo>
                          <a:pt x="688" y="1841"/>
                        </a:lnTo>
                        <a:lnTo>
                          <a:pt x="688" y="2001"/>
                        </a:lnTo>
                        <a:lnTo>
                          <a:pt x="688" y="2047"/>
                        </a:lnTo>
                        <a:lnTo>
                          <a:pt x="690" y="2093"/>
                        </a:lnTo>
                        <a:lnTo>
                          <a:pt x="690" y="2142"/>
                        </a:lnTo>
                        <a:lnTo>
                          <a:pt x="688" y="2189"/>
                        </a:lnTo>
                        <a:lnTo>
                          <a:pt x="686" y="2234"/>
                        </a:lnTo>
                        <a:lnTo>
                          <a:pt x="681" y="2276"/>
                        </a:lnTo>
                        <a:lnTo>
                          <a:pt x="672" y="2312"/>
                        </a:lnTo>
                        <a:lnTo>
                          <a:pt x="672" y="2352"/>
                        </a:lnTo>
                        <a:lnTo>
                          <a:pt x="664" y="2352"/>
                        </a:lnTo>
                        <a:lnTo>
                          <a:pt x="664" y="2376"/>
                        </a:lnTo>
                        <a:lnTo>
                          <a:pt x="656" y="2376"/>
                        </a:lnTo>
                        <a:lnTo>
                          <a:pt x="656" y="2409"/>
                        </a:lnTo>
                        <a:lnTo>
                          <a:pt x="648" y="2409"/>
                        </a:lnTo>
                        <a:lnTo>
                          <a:pt x="648" y="2425"/>
                        </a:lnTo>
                        <a:lnTo>
                          <a:pt x="639" y="2425"/>
                        </a:lnTo>
                        <a:lnTo>
                          <a:pt x="632" y="2473"/>
                        </a:lnTo>
                        <a:lnTo>
                          <a:pt x="624" y="2473"/>
                        </a:lnTo>
                        <a:lnTo>
                          <a:pt x="624" y="2489"/>
                        </a:lnTo>
                        <a:lnTo>
                          <a:pt x="615" y="2489"/>
                        </a:lnTo>
                        <a:lnTo>
                          <a:pt x="608" y="2544"/>
                        </a:lnTo>
                        <a:lnTo>
                          <a:pt x="600" y="2544"/>
                        </a:lnTo>
                        <a:lnTo>
                          <a:pt x="600" y="2577"/>
                        </a:lnTo>
                        <a:lnTo>
                          <a:pt x="590" y="2612"/>
                        </a:lnTo>
                        <a:lnTo>
                          <a:pt x="583" y="2647"/>
                        </a:lnTo>
                        <a:lnTo>
                          <a:pt x="582" y="2684"/>
                        </a:lnTo>
                        <a:lnTo>
                          <a:pt x="584" y="2720"/>
                        </a:lnTo>
                        <a:lnTo>
                          <a:pt x="598" y="2725"/>
                        </a:lnTo>
                        <a:lnTo>
                          <a:pt x="613" y="2728"/>
                        </a:lnTo>
                        <a:lnTo>
                          <a:pt x="632" y="2729"/>
                        </a:lnTo>
                        <a:lnTo>
                          <a:pt x="634" y="2726"/>
                        </a:lnTo>
                        <a:lnTo>
                          <a:pt x="636" y="2725"/>
                        </a:lnTo>
                        <a:lnTo>
                          <a:pt x="637" y="2724"/>
                        </a:lnTo>
                        <a:lnTo>
                          <a:pt x="637" y="2723"/>
                        </a:lnTo>
                        <a:lnTo>
                          <a:pt x="637" y="2723"/>
                        </a:lnTo>
                        <a:lnTo>
                          <a:pt x="638" y="2723"/>
                        </a:lnTo>
                        <a:lnTo>
                          <a:pt x="639" y="2723"/>
                        </a:lnTo>
                        <a:lnTo>
                          <a:pt x="641" y="2723"/>
                        </a:lnTo>
                        <a:lnTo>
                          <a:pt x="644" y="2721"/>
                        </a:lnTo>
                        <a:lnTo>
                          <a:pt x="648" y="2720"/>
                        </a:lnTo>
                        <a:lnTo>
                          <a:pt x="652" y="2679"/>
                        </a:lnTo>
                        <a:lnTo>
                          <a:pt x="659" y="2636"/>
                        </a:lnTo>
                        <a:lnTo>
                          <a:pt x="668" y="2596"/>
                        </a:lnTo>
                        <a:lnTo>
                          <a:pt x="679" y="2561"/>
                        </a:lnTo>
                        <a:lnTo>
                          <a:pt x="679" y="2537"/>
                        </a:lnTo>
                        <a:lnTo>
                          <a:pt x="688" y="2537"/>
                        </a:lnTo>
                        <a:lnTo>
                          <a:pt x="688" y="2513"/>
                        </a:lnTo>
                        <a:lnTo>
                          <a:pt x="696" y="2513"/>
                        </a:lnTo>
                        <a:lnTo>
                          <a:pt x="703" y="2465"/>
                        </a:lnTo>
                        <a:lnTo>
                          <a:pt x="712" y="2465"/>
                        </a:lnTo>
                        <a:lnTo>
                          <a:pt x="712" y="2449"/>
                        </a:lnTo>
                        <a:lnTo>
                          <a:pt x="720" y="2449"/>
                        </a:lnTo>
                        <a:lnTo>
                          <a:pt x="720" y="2425"/>
                        </a:lnTo>
                        <a:lnTo>
                          <a:pt x="728" y="2425"/>
                        </a:lnTo>
                        <a:lnTo>
                          <a:pt x="728" y="2392"/>
                        </a:lnTo>
                        <a:lnTo>
                          <a:pt x="736" y="2392"/>
                        </a:lnTo>
                        <a:lnTo>
                          <a:pt x="736" y="2368"/>
                        </a:lnTo>
                        <a:lnTo>
                          <a:pt x="744" y="2368"/>
                        </a:lnTo>
                        <a:lnTo>
                          <a:pt x="744" y="2328"/>
                        </a:lnTo>
                        <a:lnTo>
                          <a:pt x="752" y="2328"/>
                        </a:lnTo>
                        <a:lnTo>
                          <a:pt x="752" y="2281"/>
                        </a:lnTo>
                        <a:lnTo>
                          <a:pt x="760" y="2281"/>
                        </a:lnTo>
                        <a:lnTo>
                          <a:pt x="760" y="2176"/>
                        </a:lnTo>
                        <a:lnTo>
                          <a:pt x="762" y="2149"/>
                        </a:lnTo>
                        <a:lnTo>
                          <a:pt x="764" y="2117"/>
                        </a:lnTo>
                        <a:lnTo>
                          <a:pt x="762" y="2081"/>
                        </a:lnTo>
                        <a:lnTo>
                          <a:pt x="760" y="2042"/>
                        </a:lnTo>
                        <a:lnTo>
                          <a:pt x="757" y="2002"/>
                        </a:lnTo>
                        <a:lnTo>
                          <a:pt x="755" y="1962"/>
                        </a:lnTo>
                        <a:lnTo>
                          <a:pt x="755" y="1921"/>
                        </a:lnTo>
                        <a:lnTo>
                          <a:pt x="756" y="1884"/>
                        </a:lnTo>
                        <a:lnTo>
                          <a:pt x="760" y="1849"/>
                        </a:lnTo>
                        <a:lnTo>
                          <a:pt x="767" y="1849"/>
                        </a:lnTo>
                        <a:lnTo>
                          <a:pt x="769" y="1846"/>
                        </a:lnTo>
                        <a:lnTo>
                          <a:pt x="767" y="1845"/>
                        </a:lnTo>
                        <a:lnTo>
                          <a:pt x="767" y="1843"/>
                        </a:lnTo>
                        <a:lnTo>
                          <a:pt x="766" y="1845"/>
                        </a:lnTo>
                        <a:lnTo>
                          <a:pt x="765" y="1845"/>
                        </a:lnTo>
                        <a:lnTo>
                          <a:pt x="764" y="1845"/>
                        </a:lnTo>
                        <a:lnTo>
                          <a:pt x="762" y="1845"/>
                        </a:lnTo>
                        <a:lnTo>
                          <a:pt x="761" y="1843"/>
                        </a:lnTo>
                        <a:lnTo>
                          <a:pt x="760" y="1841"/>
                        </a:lnTo>
                        <a:lnTo>
                          <a:pt x="760" y="240"/>
                        </a:lnTo>
                        <a:lnTo>
                          <a:pt x="767" y="240"/>
                        </a:lnTo>
                        <a:lnTo>
                          <a:pt x="776" y="152"/>
                        </a:lnTo>
                        <a:lnTo>
                          <a:pt x="784" y="152"/>
                        </a:lnTo>
                        <a:lnTo>
                          <a:pt x="784" y="137"/>
                        </a:lnTo>
                        <a:lnTo>
                          <a:pt x="793" y="137"/>
                        </a:lnTo>
                        <a:lnTo>
                          <a:pt x="793" y="120"/>
                        </a:lnTo>
                        <a:lnTo>
                          <a:pt x="840" y="56"/>
                        </a:lnTo>
                        <a:lnTo>
                          <a:pt x="855" y="56"/>
                        </a:lnTo>
                        <a:lnTo>
                          <a:pt x="864" y="40"/>
                        </a:lnTo>
                        <a:lnTo>
                          <a:pt x="880" y="40"/>
                        </a:lnTo>
                        <a:lnTo>
                          <a:pt x="888" y="23"/>
                        </a:lnTo>
                        <a:lnTo>
                          <a:pt x="936" y="16"/>
                        </a:lnTo>
                        <a:lnTo>
                          <a:pt x="936" y="8"/>
                        </a:lnTo>
                        <a:lnTo>
                          <a:pt x="976" y="8"/>
                        </a:lnTo>
                        <a:lnTo>
                          <a:pt x="976" y="0"/>
                        </a:lnTo>
                        <a:lnTo>
                          <a:pt x="985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9050">
                    <a:noFill/>
                  </a:ln>
                  <a:effectLst>
                    <a:outerShdw blurRad="114300" sx="94000" sy="94000" algn="ctr" rotWithShape="0">
                      <a:srgbClr val="025CE0"/>
                    </a:outerShdw>
                  </a:effectLst>
                </p:spPr>
                <p:txBody>
                  <a:bodyPr/>
                  <a:lstStyle/>
                  <a:p>
                    <a:pPr defTabSz="914217">
                      <a:defRPr/>
                    </a:pPr>
                    <a:endParaRPr lang="en-US" kern="0" dirty="0">
                      <a:solidFill>
                        <a:srgbClr val="FFFFFF"/>
                      </a:solidFill>
                      <a:ea typeface="ＭＳ Ｐゴシック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09" name="Freeform 7"/>
                  <p:cNvSpPr>
                    <a:spLocks/>
                  </p:cNvSpPr>
                  <p:nvPr/>
                </p:nvSpPr>
                <p:spPr bwMode="auto">
                  <a:xfrm>
                    <a:off x="4339608" y="2430822"/>
                    <a:ext cx="673253" cy="975219"/>
                  </a:xfrm>
                  <a:custGeom>
                    <a:avLst/>
                    <a:gdLst>
                      <a:gd name="T0" fmla="*/ 1098 w 2852"/>
                      <a:gd name="T1" fmla="*/ 22 h 4137"/>
                      <a:gd name="T2" fmla="*/ 1176 w 2852"/>
                      <a:gd name="T3" fmla="*/ 96 h 4137"/>
                      <a:gd name="T4" fmla="*/ 1233 w 2852"/>
                      <a:gd name="T5" fmla="*/ 286 h 4137"/>
                      <a:gd name="T6" fmla="*/ 1251 w 2852"/>
                      <a:gd name="T7" fmla="*/ 1948 h 4137"/>
                      <a:gd name="T8" fmla="*/ 1285 w 2852"/>
                      <a:gd name="T9" fmla="*/ 1946 h 4137"/>
                      <a:gd name="T10" fmla="*/ 1305 w 2852"/>
                      <a:gd name="T11" fmla="*/ 1821 h 4137"/>
                      <a:gd name="T12" fmla="*/ 1301 w 2852"/>
                      <a:gd name="T13" fmla="*/ 1111 h 4137"/>
                      <a:gd name="T14" fmla="*/ 1368 w 2852"/>
                      <a:gd name="T15" fmla="*/ 904 h 4137"/>
                      <a:gd name="T16" fmla="*/ 1496 w 2852"/>
                      <a:gd name="T17" fmla="*/ 840 h 4137"/>
                      <a:gd name="T18" fmla="*/ 1688 w 2852"/>
                      <a:gd name="T19" fmla="*/ 891 h 4137"/>
                      <a:gd name="T20" fmla="*/ 1759 w 2852"/>
                      <a:gd name="T21" fmla="*/ 992 h 4137"/>
                      <a:gd name="T22" fmla="*/ 1770 w 2852"/>
                      <a:gd name="T23" fmla="*/ 1234 h 4137"/>
                      <a:gd name="T24" fmla="*/ 1808 w 2852"/>
                      <a:gd name="T25" fmla="*/ 1952 h 4137"/>
                      <a:gd name="T26" fmla="*/ 1851 w 2852"/>
                      <a:gd name="T27" fmla="*/ 1798 h 4137"/>
                      <a:gd name="T28" fmla="*/ 1856 w 2852"/>
                      <a:gd name="T29" fmla="*/ 1089 h 4137"/>
                      <a:gd name="T30" fmla="*/ 1984 w 2852"/>
                      <a:gd name="T31" fmla="*/ 960 h 4137"/>
                      <a:gd name="T32" fmla="*/ 2173 w 2852"/>
                      <a:gd name="T33" fmla="*/ 962 h 4137"/>
                      <a:gd name="T34" fmla="*/ 2305 w 2852"/>
                      <a:gd name="T35" fmla="*/ 1116 h 4137"/>
                      <a:gd name="T36" fmla="*/ 2312 w 2852"/>
                      <a:gd name="T37" fmla="*/ 1936 h 4137"/>
                      <a:gd name="T38" fmla="*/ 2384 w 2852"/>
                      <a:gd name="T39" fmla="*/ 1936 h 4137"/>
                      <a:gd name="T40" fmla="*/ 2408 w 2852"/>
                      <a:gd name="T41" fmla="*/ 1296 h 4137"/>
                      <a:gd name="T42" fmla="*/ 2462 w 2852"/>
                      <a:gd name="T43" fmla="*/ 1236 h 4137"/>
                      <a:gd name="T44" fmla="*/ 2568 w 2852"/>
                      <a:gd name="T45" fmla="*/ 1177 h 4137"/>
                      <a:gd name="T46" fmla="*/ 2792 w 2852"/>
                      <a:gd name="T47" fmla="*/ 1257 h 4137"/>
                      <a:gd name="T48" fmla="*/ 2852 w 2852"/>
                      <a:gd name="T49" fmla="*/ 1538 h 4137"/>
                      <a:gd name="T50" fmla="*/ 2840 w 2852"/>
                      <a:gd name="T51" fmla="*/ 2848 h 4137"/>
                      <a:gd name="T52" fmla="*/ 2801 w 2852"/>
                      <a:gd name="T53" fmla="*/ 3009 h 4137"/>
                      <a:gd name="T54" fmla="*/ 2737 w 2852"/>
                      <a:gd name="T55" fmla="*/ 3161 h 4137"/>
                      <a:gd name="T56" fmla="*/ 2656 w 2852"/>
                      <a:gd name="T57" fmla="*/ 3289 h 4137"/>
                      <a:gd name="T58" fmla="*/ 2498 w 2852"/>
                      <a:gd name="T59" fmla="*/ 3651 h 4137"/>
                      <a:gd name="T60" fmla="*/ 2472 w 2852"/>
                      <a:gd name="T61" fmla="*/ 4137 h 4137"/>
                      <a:gd name="T62" fmla="*/ 1047 w 2852"/>
                      <a:gd name="T63" fmla="*/ 3712 h 4137"/>
                      <a:gd name="T64" fmla="*/ 1000 w 2852"/>
                      <a:gd name="T65" fmla="*/ 3609 h 4137"/>
                      <a:gd name="T66" fmla="*/ 880 w 2852"/>
                      <a:gd name="T67" fmla="*/ 3473 h 4137"/>
                      <a:gd name="T68" fmla="*/ 648 w 2852"/>
                      <a:gd name="T69" fmla="*/ 3240 h 4137"/>
                      <a:gd name="T70" fmla="*/ 584 w 2852"/>
                      <a:gd name="T71" fmla="*/ 3145 h 4137"/>
                      <a:gd name="T72" fmla="*/ 512 w 2852"/>
                      <a:gd name="T73" fmla="*/ 3017 h 4137"/>
                      <a:gd name="T74" fmla="*/ 416 w 2852"/>
                      <a:gd name="T75" fmla="*/ 2672 h 4137"/>
                      <a:gd name="T76" fmla="*/ 388 w 2852"/>
                      <a:gd name="T77" fmla="*/ 2304 h 4137"/>
                      <a:gd name="T78" fmla="*/ 320 w 2852"/>
                      <a:gd name="T79" fmla="*/ 2145 h 4137"/>
                      <a:gd name="T80" fmla="*/ 200 w 2852"/>
                      <a:gd name="T81" fmla="*/ 2048 h 4137"/>
                      <a:gd name="T82" fmla="*/ 55 w 2852"/>
                      <a:gd name="T83" fmla="*/ 1960 h 4137"/>
                      <a:gd name="T84" fmla="*/ 0 w 2852"/>
                      <a:gd name="T85" fmla="*/ 1761 h 4137"/>
                      <a:gd name="T86" fmla="*/ 40 w 2852"/>
                      <a:gd name="T87" fmla="*/ 1673 h 4137"/>
                      <a:gd name="T88" fmla="*/ 204 w 2852"/>
                      <a:gd name="T89" fmla="*/ 1582 h 4137"/>
                      <a:gd name="T90" fmla="*/ 440 w 2852"/>
                      <a:gd name="T91" fmla="*/ 1616 h 4137"/>
                      <a:gd name="T92" fmla="*/ 569 w 2852"/>
                      <a:gd name="T93" fmla="*/ 1695 h 4137"/>
                      <a:gd name="T94" fmla="*/ 656 w 2852"/>
                      <a:gd name="T95" fmla="*/ 1801 h 4137"/>
                      <a:gd name="T96" fmla="*/ 690 w 2852"/>
                      <a:gd name="T97" fmla="*/ 2093 h 4137"/>
                      <a:gd name="T98" fmla="*/ 664 w 2852"/>
                      <a:gd name="T99" fmla="*/ 2376 h 4137"/>
                      <a:gd name="T100" fmla="*/ 624 w 2852"/>
                      <a:gd name="T101" fmla="*/ 2489 h 4137"/>
                      <a:gd name="T102" fmla="*/ 584 w 2852"/>
                      <a:gd name="T103" fmla="*/ 2720 h 4137"/>
                      <a:gd name="T104" fmla="*/ 637 w 2852"/>
                      <a:gd name="T105" fmla="*/ 2723 h 4137"/>
                      <a:gd name="T106" fmla="*/ 668 w 2852"/>
                      <a:gd name="T107" fmla="*/ 2596 h 4137"/>
                      <a:gd name="T108" fmla="*/ 712 w 2852"/>
                      <a:gd name="T109" fmla="*/ 2449 h 4137"/>
                      <a:gd name="T110" fmla="*/ 744 w 2852"/>
                      <a:gd name="T111" fmla="*/ 2328 h 4137"/>
                      <a:gd name="T112" fmla="*/ 760 w 2852"/>
                      <a:gd name="T113" fmla="*/ 2042 h 4137"/>
                      <a:gd name="T114" fmla="*/ 767 w 2852"/>
                      <a:gd name="T115" fmla="*/ 1845 h 4137"/>
                      <a:gd name="T116" fmla="*/ 760 w 2852"/>
                      <a:gd name="T117" fmla="*/ 240 h 4137"/>
                      <a:gd name="T118" fmla="*/ 855 w 2852"/>
                      <a:gd name="T119" fmla="*/ 56 h 4137"/>
                      <a:gd name="T120" fmla="*/ 985 w 2852"/>
                      <a:gd name="T121" fmla="*/ 0 h 413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  <a:cxn ang="0">
                        <a:pos x="T114" y="T115"/>
                      </a:cxn>
                      <a:cxn ang="0">
                        <a:pos x="T116" y="T117"/>
                      </a:cxn>
                      <a:cxn ang="0">
                        <a:pos x="T118" y="T119"/>
                      </a:cxn>
                      <a:cxn ang="0">
                        <a:pos x="T120" y="T121"/>
                      </a:cxn>
                    </a:cxnLst>
                    <a:rect l="0" t="0" r="r" b="b"/>
                    <a:pathLst>
                      <a:path w="2852" h="4137">
                        <a:moveTo>
                          <a:pt x="985" y="0"/>
                        </a:moveTo>
                        <a:lnTo>
                          <a:pt x="997" y="1"/>
                        </a:lnTo>
                        <a:lnTo>
                          <a:pt x="1014" y="3"/>
                        </a:lnTo>
                        <a:lnTo>
                          <a:pt x="1032" y="6"/>
                        </a:lnTo>
                        <a:lnTo>
                          <a:pt x="1051" y="11"/>
                        </a:lnTo>
                        <a:lnTo>
                          <a:pt x="1070" y="15"/>
                        </a:lnTo>
                        <a:lnTo>
                          <a:pt x="1085" y="18"/>
                        </a:lnTo>
                        <a:lnTo>
                          <a:pt x="1098" y="22"/>
                        </a:lnTo>
                        <a:lnTo>
                          <a:pt x="1104" y="23"/>
                        </a:lnTo>
                        <a:lnTo>
                          <a:pt x="1112" y="40"/>
                        </a:lnTo>
                        <a:lnTo>
                          <a:pt x="1128" y="40"/>
                        </a:lnTo>
                        <a:lnTo>
                          <a:pt x="1135" y="56"/>
                        </a:lnTo>
                        <a:lnTo>
                          <a:pt x="1152" y="56"/>
                        </a:lnTo>
                        <a:lnTo>
                          <a:pt x="1152" y="64"/>
                        </a:lnTo>
                        <a:lnTo>
                          <a:pt x="1176" y="80"/>
                        </a:lnTo>
                        <a:lnTo>
                          <a:pt x="1176" y="96"/>
                        </a:lnTo>
                        <a:lnTo>
                          <a:pt x="1192" y="104"/>
                        </a:lnTo>
                        <a:lnTo>
                          <a:pt x="1192" y="120"/>
                        </a:lnTo>
                        <a:lnTo>
                          <a:pt x="1208" y="128"/>
                        </a:lnTo>
                        <a:lnTo>
                          <a:pt x="1217" y="152"/>
                        </a:lnTo>
                        <a:lnTo>
                          <a:pt x="1225" y="180"/>
                        </a:lnTo>
                        <a:lnTo>
                          <a:pt x="1230" y="213"/>
                        </a:lnTo>
                        <a:lnTo>
                          <a:pt x="1232" y="248"/>
                        </a:lnTo>
                        <a:lnTo>
                          <a:pt x="1233" y="286"/>
                        </a:lnTo>
                        <a:lnTo>
                          <a:pt x="1233" y="324"/>
                        </a:lnTo>
                        <a:lnTo>
                          <a:pt x="1233" y="361"/>
                        </a:lnTo>
                        <a:lnTo>
                          <a:pt x="1232" y="398"/>
                        </a:lnTo>
                        <a:lnTo>
                          <a:pt x="1232" y="432"/>
                        </a:lnTo>
                        <a:lnTo>
                          <a:pt x="1232" y="1936"/>
                        </a:lnTo>
                        <a:lnTo>
                          <a:pt x="1241" y="1941"/>
                        </a:lnTo>
                        <a:lnTo>
                          <a:pt x="1246" y="1945"/>
                        </a:lnTo>
                        <a:lnTo>
                          <a:pt x="1251" y="1948"/>
                        </a:lnTo>
                        <a:lnTo>
                          <a:pt x="1257" y="1950"/>
                        </a:lnTo>
                        <a:lnTo>
                          <a:pt x="1266" y="1952"/>
                        </a:lnTo>
                        <a:lnTo>
                          <a:pt x="1280" y="1953"/>
                        </a:lnTo>
                        <a:lnTo>
                          <a:pt x="1282" y="1950"/>
                        </a:lnTo>
                        <a:lnTo>
                          <a:pt x="1284" y="1949"/>
                        </a:lnTo>
                        <a:lnTo>
                          <a:pt x="1285" y="1948"/>
                        </a:lnTo>
                        <a:lnTo>
                          <a:pt x="1285" y="1948"/>
                        </a:lnTo>
                        <a:lnTo>
                          <a:pt x="1285" y="1946"/>
                        </a:lnTo>
                        <a:lnTo>
                          <a:pt x="1286" y="1946"/>
                        </a:lnTo>
                        <a:lnTo>
                          <a:pt x="1287" y="1946"/>
                        </a:lnTo>
                        <a:lnTo>
                          <a:pt x="1289" y="1946"/>
                        </a:lnTo>
                        <a:lnTo>
                          <a:pt x="1292" y="1945"/>
                        </a:lnTo>
                        <a:lnTo>
                          <a:pt x="1296" y="1944"/>
                        </a:lnTo>
                        <a:lnTo>
                          <a:pt x="1301" y="1906"/>
                        </a:lnTo>
                        <a:lnTo>
                          <a:pt x="1304" y="1865"/>
                        </a:lnTo>
                        <a:lnTo>
                          <a:pt x="1305" y="1821"/>
                        </a:lnTo>
                        <a:lnTo>
                          <a:pt x="1305" y="1777"/>
                        </a:lnTo>
                        <a:lnTo>
                          <a:pt x="1304" y="1732"/>
                        </a:lnTo>
                        <a:lnTo>
                          <a:pt x="1304" y="1689"/>
                        </a:lnTo>
                        <a:lnTo>
                          <a:pt x="1304" y="1264"/>
                        </a:lnTo>
                        <a:lnTo>
                          <a:pt x="1304" y="1228"/>
                        </a:lnTo>
                        <a:lnTo>
                          <a:pt x="1302" y="1189"/>
                        </a:lnTo>
                        <a:lnTo>
                          <a:pt x="1301" y="1150"/>
                        </a:lnTo>
                        <a:lnTo>
                          <a:pt x="1301" y="1111"/>
                        </a:lnTo>
                        <a:lnTo>
                          <a:pt x="1301" y="1074"/>
                        </a:lnTo>
                        <a:lnTo>
                          <a:pt x="1305" y="1037"/>
                        </a:lnTo>
                        <a:lnTo>
                          <a:pt x="1311" y="1004"/>
                        </a:lnTo>
                        <a:lnTo>
                          <a:pt x="1320" y="977"/>
                        </a:lnTo>
                        <a:lnTo>
                          <a:pt x="1328" y="977"/>
                        </a:lnTo>
                        <a:lnTo>
                          <a:pt x="1336" y="944"/>
                        </a:lnTo>
                        <a:lnTo>
                          <a:pt x="1360" y="928"/>
                        </a:lnTo>
                        <a:lnTo>
                          <a:pt x="1368" y="904"/>
                        </a:lnTo>
                        <a:lnTo>
                          <a:pt x="1384" y="904"/>
                        </a:lnTo>
                        <a:lnTo>
                          <a:pt x="1400" y="880"/>
                        </a:lnTo>
                        <a:lnTo>
                          <a:pt x="1415" y="880"/>
                        </a:lnTo>
                        <a:lnTo>
                          <a:pt x="1424" y="864"/>
                        </a:lnTo>
                        <a:lnTo>
                          <a:pt x="1440" y="864"/>
                        </a:lnTo>
                        <a:lnTo>
                          <a:pt x="1440" y="856"/>
                        </a:lnTo>
                        <a:lnTo>
                          <a:pt x="1496" y="849"/>
                        </a:lnTo>
                        <a:lnTo>
                          <a:pt x="1496" y="840"/>
                        </a:lnTo>
                        <a:lnTo>
                          <a:pt x="1518" y="836"/>
                        </a:lnTo>
                        <a:lnTo>
                          <a:pt x="1543" y="837"/>
                        </a:lnTo>
                        <a:lnTo>
                          <a:pt x="1570" y="841"/>
                        </a:lnTo>
                        <a:lnTo>
                          <a:pt x="1596" y="849"/>
                        </a:lnTo>
                        <a:lnTo>
                          <a:pt x="1623" y="857"/>
                        </a:lnTo>
                        <a:lnTo>
                          <a:pt x="1646" y="869"/>
                        </a:lnTo>
                        <a:lnTo>
                          <a:pt x="1669" y="880"/>
                        </a:lnTo>
                        <a:lnTo>
                          <a:pt x="1688" y="891"/>
                        </a:lnTo>
                        <a:lnTo>
                          <a:pt x="1703" y="903"/>
                        </a:lnTo>
                        <a:lnTo>
                          <a:pt x="1712" y="913"/>
                        </a:lnTo>
                        <a:lnTo>
                          <a:pt x="1712" y="928"/>
                        </a:lnTo>
                        <a:lnTo>
                          <a:pt x="1736" y="944"/>
                        </a:lnTo>
                        <a:lnTo>
                          <a:pt x="1736" y="960"/>
                        </a:lnTo>
                        <a:lnTo>
                          <a:pt x="1744" y="960"/>
                        </a:lnTo>
                        <a:lnTo>
                          <a:pt x="1752" y="992"/>
                        </a:lnTo>
                        <a:lnTo>
                          <a:pt x="1759" y="992"/>
                        </a:lnTo>
                        <a:lnTo>
                          <a:pt x="1766" y="1012"/>
                        </a:lnTo>
                        <a:lnTo>
                          <a:pt x="1770" y="1037"/>
                        </a:lnTo>
                        <a:lnTo>
                          <a:pt x="1771" y="1066"/>
                        </a:lnTo>
                        <a:lnTo>
                          <a:pt x="1772" y="1099"/>
                        </a:lnTo>
                        <a:lnTo>
                          <a:pt x="1772" y="1133"/>
                        </a:lnTo>
                        <a:lnTo>
                          <a:pt x="1771" y="1168"/>
                        </a:lnTo>
                        <a:lnTo>
                          <a:pt x="1771" y="1202"/>
                        </a:lnTo>
                        <a:lnTo>
                          <a:pt x="1770" y="1234"/>
                        </a:lnTo>
                        <a:lnTo>
                          <a:pt x="1768" y="1263"/>
                        </a:lnTo>
                        <a:lnTo>
                          <a:pt x="1768" y="1288"/>
                        </a:lnTo>
                        <a:lnTo>
                          <a:pt x="1768" y="1929"/>
                        </a:lnTo>
                        <a:lnTo>
                          <a:pt x="1777" y="1935"/>
                        </a:lnTo>
                        <a:lnTo>
                          <a:pt x="1785" y="1940"/>
                        </a:lnTo>
                        <a:lnTo>
                          <a:pt x="1791" y="1944"/>
                        </a:lnTo>
                        <a:lnTo>
                          <a:pt x="1798" y="1948"/>
                        </a:lnTo>
                        <a:lnTo>
                          <a:pt x="1808" y="1952"/>
                        </a:lnTo>
                        <a:lnTo>
                          <a:pt x="1824" y="1953"/>
                        </a:lnTo>
                        <a:lnTo>
                          <a:pt x="1832" y="1936"/>
                        </a:lnTo>
                        <a:lnTo>
                          <a:pt x="1839" y="1925"/>
                        </a:lnTo>
                        <a:lnTo>
                          <a:pt x="1845" y="1906"/>
                        </a:lnTo>
                        <a:lnTo>
                          <a:pt x="1847" y="1884"/>
                        </a:lnTo>
                        <a:lnTo>
                          <a:pt x="1850" y="1857"/>
                        </a:lnTo>
                        <a:lnTo>
                          <a:pt x="1851" y="1828"/>
                        </a:lnTo>
                        <a:lnTo>
                          <a:pt x="1851" y="1798"/>
                        </a:lnTo>
                        <a:lnTo>
                          <a:pt x="1851" y="1767"/>
                        </a:lnTo>
                        <a:lnTo>
                          <a:pt x="1850" y="1737"/>
                        </a:lnTo>
                        <a:lnTo>
                          <a:pt x="1849" y="1709"/>
                        </a:lnTo>
                        <a:lnTo>
                          <a:pt x="1849" y="1685"/>
                        </a:lnTo>
                        <a:lnTo>
                          <a:pt x="1847" y="1664"/>
                        </a:lnTo>
                        <a:lnTo>
                          <a:pt x="1847" y="1112"/>
                        </a:lnTo>
                        <a:lnTo>
                          <a:pt x="1856" y="1112"/>
                        </a:lnTo>
                        <a:lnTo>
                          <a:pt x="1856" y="1089"/>
                        </a:lnTo>
                        <a:lnTo>
                          <a:pt x="1864" y="1089"/>
                        </a:lnTo>
                        <a:lnTo>
                          <a:pt x="1873" y="1056"/>
                        </a:lnTo>
                        <a:lnTo>
                          <a:pt x="1888" y="1048"/>
                        </a:lnTo>
                        <a:lnTo>
                          <a:pt x="1888" y="1032"/>
                        </a:lnTo>
                        <a:lnTo>
                          <a:pt x="1928" y="1001"/>
                        </a:lnTo>
                        <a:lnTo>
                          <a:pt x="1937" y="984"/>
                        </a:lnTo>
                        <a:lnTo>
                          <a:pt x="1984" y="968"/>
                        </a:lnTo>
                        <a:lnTo>
                          <a:pt x="1984" y="960"/>
                        </a:lnTo>
                        <a:lnTo>
                          <a:pt x="2001" y="960"/>
                        </a:lnTo>
                        <a:lnTo>
                          <a:pt x="2001" y="952"/>
                        </a:lnTo>
                        <a:lnTo>
                          <a:pt x="2032" y="952"/>
                        </a:lnTo>
                        <a:lnTo>
                          <a:pt x="2060" y="947"/>
                        </a:lnTo>
                        <a:lnTo>
                          <a:pt x="2089" y="945"/>
                        </a:lnTo>
                        <a:lnTo>
                          <a:pt x="2117" y="948"/>
                        </a:lnTo>
                        <a:lnTo>
                          <a:pt x="2146" y="954"/>
                        </a:lnTo>
                        <a:lnTo>
                          <a:pt x="2173" y="962"/>
                        </a:lnTo>
                        <a:lnTo>
                          <a:pt x="2197" y="973"/>
                        </a:lnTo>
                        <a:lnTo>
                          <a:pt x="2217" y="984"/>
                        </a:lnTo>
                        <a:lnTo>
                          <a:pt x="2241" y="1016"/>
                        </a:lnTo>
                        <a:lnTo>
                          <a:pt x="2272" y="1041"/>
                        </a:lnTo>
                        <a:lnTo>
                          <a:pt x="2272" y="1056"/>
                        </a:lnTo>
                        <a:lnTo>
                          <a:pt x="2288" y="1065"/>
                        </a:lnTo>
                        <a:lnTo>
                          <a:pt x="2298" y="1089"/>
                        </a:lnTo>
                        <a:lnTo>
                          <a:pt x="2305" y="1116"/>
                        </a:lnTo>
                        <a:lnTo>
                          <a:pt x="2310" y="1148"/>
                        </a:lnTo>
                        <a:lnTo>
                          <a:pt x="2312" y="1182"/>
                        </a:lnTo>
                        <a:lnTo>
                          <a:pt x="2313" y="1218"/>
                        </a:lnTo>
                        <a:lnTo>
                          <a:pt x="2313" y="1254"/>
                        </a:lnTo>
                        <a:lnTo>
                          <a:pt x="2313" y="1291"/>
                        </a:lnTo>
                        <a:lnTo>
                          <a:pt x="2312" y="1326"/>
                        </a:lnTo>
                        <a:lnTo>
                          <a:pt x="2312" y="1360"/>
                        </a:lnTo>
                        <a:lnTo>
                          <a:pt x="2312" y="1936"/>
                        </a:lnTo>
                        <a:lnTo>
                          <a:pt x="2336" y="1944"/>
                        </a:lnTo>
                        <a:lnTo>
                          <a:pt x="2338" y="1948"/>
                        </a:lnTo>
                        <a:lnTo>
                          <a:pt x="2341" y="1950"/>
                        </a:lnTo>
                        <a:lnTo>
                          <a:pt x="2345" y="1953"/>
                        </a:lnTo>
                        <a:lnTo>
                          <a:pt x="2351" y="1954"/>
                        </a:lnTo>
                        <a:lnTo>
                          <a:pt x="2360" y="1953"/>
                        </a:lnTo>
                        <a:lnTo>
                          <a:pt x="2360" y="1944"/>
                        </a:lnTo>
                        <a:lnTo>
                          <a:pt x="2384" y="1936"/>
                        </a:lnTo>
                        <a:lnTo>
                          <a:pt x="2384" y="1376"/>
                        </a:lnTo>
                        <a:lnTo>
                          <a:pt x="2390" y="1366"/>
                        </a:lnTo>
                        <a:lnTo>
                          <a:pt x="2394" y="1352"/>
                        </a:lnTo>
                        <a:lnTo>
                          <a:pt x="2395" y="1340"/>
                        </a:lnTo>
                        <a:lnTo>
                          <a:pt x="2396" y="1326"/>
                        </a:lnTo>
                        <a:lnTo>
                          <a:pt x="2400" y="1312"/>
                        </a:lnTo>
                        <a:lnTo>
                          <a:pt x="2408" y="1312"/>
                        </a:lnTo>
                        <a:lnTo>
                          <a:pt x="2408" y="1296"/>
                        </a:lnTo>
                        <a:lnTo>
                          <a:pt x="2424" y="1288"/>
                        </a:lnTo>
                        <a:lnTo>
                          <a:pt x="2424" y="1272"/>
                        </a:lnTo>
                        <a:lnTo>
                          <a:pt x="2433" y="1272"/>
                        </a:lnTo>
                        <a:lnTo>
                          <a:pt x="2438" y="1264"/>
                        </a:lnTo>
                        <a:lnTo>
                          <a:pt x="2441" y="1258"/>
                        </a:lnTo>
                        <a:lnTo>
                          <a:pt x="2445" y="1251"/>
                        </a:lnTo>
                        <a:lnTo>
                          <a:pt x="2448" y="1241"/>
                        </a:lnTo>
                        <a:lnTo>
                          <a:pt x="2462" y="1236"/>
                        </a:lnTo>
                        <a:lnTo>
                          <a:pt x="2470" y="1231"/>
                        </a:lnTo>
                        <a:lnTo>
                          <a:pt x="2479" y="1224"/>
                        </a:lnTo>
                        <a:lnTo>
                          <a:pt x="2488" y="1217"/>
                        </a:lnTo>
                        <a:lnTo>
                          <a:pt x="2488" y="1208"/>
                        </a:lnTo>
                        <a:lnTo>
                          <a:pt x="2536" y="1193"/>
                        </a:lnTo>
                        <a:lnTo>
                          <a:pt x="2536" y="1184"/>
                        </a:lnTo>
                        <a:lnTo>
                          <a:pt x="2568" y="1184"/>
                        </a:lnTo>
                        <a:lnTo>
                          <a:pt x="2568" y="1177"/>
                        </a:lnTo>
                        <a:lnTo>
                          <a:pt x="2696" y="1184"/>
                        </a:lnTo>
                        <a:lnTo>
                          <a:pt x="2696" y="1193"/>
                        </a:lnTo>
                        <a:lnTo>
                          <a:pt x="2728" y="1200"/>
                        </a:lnTo>
                        <a:lnTo>
                          <a:pt x="2728" y="1208"/>
                        </a:lnTo>
                        <a:lnTo>
                          <a:pt x="2744" y="1208"/>
                        </a:lnTo>
                        <a:lnTo>
                          <a:pt x="2752" y="1224"/>
                        </a:lnTo>
                        <a:lnTo>
                          <a:pt x="2768" y="1224"/>
                        </a:lnTo>
                        <a:lnTo>
                          <a:pt x="2792" y="1257"/>
                        </a:lnTo>
                        <a:lnTo>
                          <a:pt x="2801" y="1257"/>
                        </a:lnTo>
                        <a:lnTo>
                          <a:pt x="2817" y="1285"/>
                        </a:lnTo>
                        <a:lnTo>
                          <a:pt x="2830" y="1318"/>
                        </a:lnTo>
                        <a:lnTo>
                          <a:pt x="2838" y="1357"/>
                        </a:lnTo>
                        <a:lnTo>
                          <a:pt x="2846" y="1399"/>
                        </a:lnTo>
                        <a:lnTo>
                          <a:pt x="2850" y="1443"/>
                        </a:lnTo>
                        <a:lnTo>
                          <a:pt x="2852" y="1489"/>
                        </a:lnTo>
                        <a:lnTo>
                          <a:pt x="2852" y="1538"/>
                        </a:lnTo>
                        <a:lnTo>
                          <a:pt x="2852" y="1587"/>
                        </a:lnTo>
                        <a:lnTo>
                          <a:pt x="2851" y="1636"/>
                        </a:lnTo>
                        <a:lnTo>
                          <a:pt x="2850" y="1684"/>
                        </a:lnTo>
                        <a:lnTo>
                          <a:pt x="2848" y="1732"/>
                        </a:lnTo>
                        <a:lnTo>
                          <a:pt x="2848" y="1777"/>
                        </a:lnTo>
                        <a:lnTo>
                          <a:pt x="2848" y="2793"/>
                        </a:lnTo>
                        <a:lnTo>
                          <a:pt x="2840" y="2793"/>
                        </a:lnTo>
                        <a:lnTo>
                          <a:pt x="2840" y="2848"/>
                        </a:lnTo>
                        <a:lnTo>
                          <a:pt x="2832" y="2848"/>
                        </a:lnTo>
                        <a:lnTo>
                          <a:pt x="2832" y="2888"/>
                        </a:lnTo>
                        <a:lnTo>
                          <a:pt x="2824" y="2888"/>
                        </a:lnTo>
                        <a:lnTo>
                          <a:pt x="2824" y="2929"/>
                        </a:lnTo>
                        <a:lnTo>
                          <a:pt x="2816" y="2929"/>
                        </a:lnTo>
                        <a:lnTo>
                          <a:pt x="2808" y="2985"/>
                        </a:lnTo>
                        <a:lnTo>
                          <a:pt x="2801" y="2985"/>
                        </a:lnTo>
                        <a:lnTo>
                          <a:pt x="2801" y="3009"/>
                        </a:lnTo>
                        <a:lnTo>
                          <a:pt x="2792" y="3009"/>
                        </a:lnTo>
                        <a:lnTo>
                          <a:pt x="2792" y="3033"/>
                        </a:lnTo>
                        <a:lnTo>
                          <a:pt x="2784" y="3033"/>
                        </a:lnTo>
                        <a:lnTo>
                          <a:pt x="2784" y="3057"/>
                        </a:lnTo>
                        <a:lnTo>
                          <a:pt x="2776" y="3057"/>
                        </a:lnTo>
                        <a:lnTo>
                          <a:pt x="2768" y="3088"/>
                        </a:lnTo>
                        <a:lnTo>
                          <a:pt x="2760" y="3088"/>
                        </a:lnTo>
                        <a:lnTo>
                          <a:pt x="2737" y="3161"/>
                        </a:lnTo>
                        <a:lnTo>
                          <a:pt x="2720" y="3177"/>
                        </a:lnTo>
                        <a:lnTo>
                          <a:pt x="2720" y="3192"/>
                        </a:lnTo>
                        <a:lnTo>
                          <a:pt x="2704" y="3201"/>
                        </a:lnTo>
                        <a:lnTo>
                          <a:pt x="2696" y="3233"/>
                        </a:lnTo>
                        <a:lnTo>
                          <a:pt x="2680" y="3240"/>
                        </a:lnTo>
                        <a:lnTo>
                          <a:pt x="2680" y="3256"/>
                        </a:lnTo>
                        <a:lnTo>
                          <a:pt x="2656" y="3273"/>
                        </a:lnTo>
                        <a:lnTo>
                          <a:pt x="2656" y="3289"/>
                        </a:lnTo>
                        <a:lnTo>
                          <a:pt x="2640" y="3297"/>
                        </a:lnTo>
                        <a:lnTo>
                          <a:pt x="2632" y="3329"/>
                        </a:lnTo>
                        <a:lnTo>
                          <a:pt x="2616" y="3337"/>
                        </a:lnTo>
                        <a:lnTo>
                          <a:pt x="2608" y="3368"/>
                        </a:lnTo>
                        <a:lnTo>
                          <a:pt x="2592" y="3377"/>
                        </a:lnTo>
                        <a:lnTo>
                          <a:pt x="2512" y="3569"/>
                        </a:lnTo>
                        <a:lnTo>
                          <a:pt x="2512" y="3601"/>
                        </a:lnTo>
                        <a:lnTo>
                          <a:pt x="2498" y="3651"/>
                        </a:lnTo>
                        <a:lnTo>
                          <a:pt x="2487" y="3704"/>
                        </a:lnTo>
                        <a:lnTo>
                          <a:pt x="2479" y="3760"/>
                        </a:lnTo>
                        <a:lnTo>
                          <a:pt x="2475" y="3819"/>
                        </a:lnTo>
                        <a:lnTo>
                          <a:pt x="2473" y="3881"/>
                        </a:lnTo>
                        <a:lnTo>
                          <a:pt x="2472" y="3944"/>
                        </a:lnTo>
                        <a:lnTo>
                          <a:pt x="2472" y="4008"/>
                        </a:lnTo>
                        <a:lnTo>
                          <a:pt x="2473" y="4072"/>
                        </a:lnTo>
                        <a:lnTo>
                          <a:pt x="2472" y="4137"/>
                        </a:lnTo>
                        <a:lnTo>
                          <a:pt x="1080" y="4137"/>
                        </a:lnTo>
                        <a:lnTo>
                          <a:pt x="1080" y="4057"/>
                        </a:lnTo>
                        <a:lnTo>
                          <a:pt x="1073" y="4057"/>
                        </a:lnTo>
                        <a:lnTo>
                          <a:pt x="1073" y="3921"/>
                        </a:lnTo>
                        <a:lnTo>
                          <a:pt x="1064" y="3736"/>
                        </a:lnTo>
                        <a:lnTo>
                          <a:pt x="1056" y="3736"/>
                        </a:lnTo>
                        <a:lnTo>
                          <a:pt x="1056" y="3712"/>
                        </a:lnTo>
                        <a:lnTo>
                          <a:pt x="1047" y="3712"/>
                        </a:lnTo>
                        <a:lnTo>
                          <a:pt x="1047" y="3689"/>
                        </a:lnTo>
                        <a:lnTo>
                          <a:pt x="1040" y="3689"/>
                        </a:lnTo>
                        <a:lnTo>
                          <a:pt x="1040" y="3665"/>
                        </a:lnTo>
                        <a:lnTo>
                          <a:pt x="1032" y="3665"/>
                        </a:lnTo>
                        <a:lnTo>
                          <a:pt x="1032" y="3648"/>
                        </a:lnTo>
                        <a:lnTo>
                          <a:pt x="1024" y="3648"/>
                        </a:lnTo>
                        <a:lnTo>
                          <a:pt x="1016" y="3617"/>
                        </a:lnTo>
                        <a:lnTo>
                          <a:pt x="1000" y="3609"/>
                        </a:lnTo>
                        <a:lnTo>
                          <a:pt x="1000" y="3593"/>
                        </a:lnTo>
                        <a:lnTo>
                          <a:pt x="992" y="3593"/>
                        </a:lnTo>
                        <a:lnTo>
                          <a:pt x="992" y="3577"/>
                        </a:lnTo>
                        <a:lnTo>
                          <a:pt x="968" y="3560"/>
                        </a:lnTo>
                        <a:lnTo>
                          <a:pt x="968" y="3545"/>
                        </a:lnTo>
                        <a:lnTo>
                          <a:pt x="912" y="3496"/>
                        </a:lnTo>
                        <a:lnTo>
                          <a:pt x="896" y="3473"/>
                        </a:lnTo>
                        <a:lnTo>
                          <a:pt x="880" y="3473"/>
                        </a:lnTo>
                        <a:lnTo>
                          <a:pt x="855" y="3441"/>
                        </a:lnTo>
                        <a:lnTo>
                          <a:pt x="840" y="3441"/>
                        </a:lnTo>
                        <a:lnTo>
                          <a:pt x="793" y="3385"/>
                        </a:lnTo>
                        <a:lnTo>
                          <a:pt x="776" y="3385"/>
                        </a:lnTo>
                        <a:lnTo>
                          <a:pt x="728" y="3321"/>
                        </a:lnTo>
                        <a:lnTo>
                          <a:pt x="679" y="3280"/>
                        </a:lnTo>
                        <a:lnTo>
                          <a:pt x="679" y="3265"/>
                        </a:lnTo>
                        <a:lnTo>
                          <a:pt x="648" y="3240"/>
                        </a:lnTo>
                        <a:lnTo>
                          <a:pt x="648" y="3225"/>
                        </a:lnTo>
                        <a:lnTo>
                          <a:pt x="632" y="3216"/>
                        </a:lnTo>
                        <a:lnTo>
                          <a:pt x="632" y="3201"/>
                        </a:lnTo>
                        <a:lnTo>
                          <a:pt x="608" y="3185"/>
                        </a:lnTo>
                        <a:lnTo>
                          <a:pt x="608" y="3169"/>
                        </a:lnTo>
                        <a:lnTo>
                          <a:pt x="592" y="3161"/>
                        </a:lnTo>
                        <a:lnTo>
                          <a:pt x="592" y="3145"/>
                        </a:lnTo>
                        <a:lnTo>
                          <a:pt x="584" y="3145"/>
                        </a:lnTo>
                        <a:lnTo>
                          <a:pt x="584" y="3128"/>
                        </a:lnTo>
                        <a:lnTo>
                          <a:pt x="568" y="3121"/>
                        </a:lnTo>
                        <a:lnTo>
                          <a:pt x="551" y="3073"/>
                        </a:lnTo>
                        <a:lnTo>
                          <a:pt x="536" y="3064"/>
                        </a:lnTo>
                        <a:lnTo>
                          <a:pt x="536" y="3049"/>
                        </a:lnTo>
                        <a:lnTo>
                          <a:pt x="528" y="3049"/>
                        </a:lnTo>
                        <a:lnTo>
                          <a:pt x="520" y="3017"/>
                        </a:lnTo>
                        <a:lnTo>
                          <a:pt x="512" y="3017"/>
                        </a:lnTo>
                        <a:lnTo>
                          <a:pt x="512" y="2993"/>
                        </a:lnTo>
                        <a:lnTo>
                          <a:pt x="504" y="2993"/>
                        </a:lnTo>
                        <a:lnTo>
                          <a:pt x="496" y="2961"/>
                        </a:lnTo>
                        <a:lnTo>
                          <a:pt x="487" y="2961"/>
                        </a:lnTo>
                        <a:lnTo>
                          <a:pt x="480" y="2921"/>
                        </a:lnTo>
                        <a:lnTo>
                          <a:pt x="472" y="2921"/>
                        </a:lnTo>
                        <a:lnTo>
                          <a:pt x="416" y="2720"/>
                        </a:lnTo>
                        <a:lnTo>
                          <a:pt x="416" y="2672"/>
                        </a:lnTo>
                        <a:lnTo>
                          <a:pt x="408" y="2672"/>
                        </a:lnTo>
                        <a:lnTo>
                          <a:pt x="408" y="2608"/>
                        </a:lnTo>
                        <a:lnTo>
                          <a:pt x="399" y="2608"/>
                        </a:lnTo>
                        <a:lnTo>
                          <a:pt x="399" y="2497"/>
                        </a:lnTo>
                        <a:lnTo>
                          <a:pt x="399" y="2443"/>
                        </a:lnTo>
                        <a:lnTo>
                          <a:pt x="398" y="2394"/>
                        </a:lnTo>
                        <a:lnTo>
                          <a:pt x="394" y="2347"/>
                        </a:lnTo>
                        <a:lnTo>
                          <a:pt x="388" y="2304"/>
                        </a:lnTo>
                        <a:lnTo>
                          <a:pt x="376" y="2264"/>
                        </a:lnTo>
                        <a:lnTo>
                          <a:pt x="376" y="2240"/>
                        </a:lnTo>
                        <a:lnTo>
                          <a:pt x="368" y="2240"/>
                        </a:lnTo>
                        <a:lnTo>
                          <a:pt x="352" y="2193"/>
                        </a:lnTo>
                        <a:lnTo>
                          <a:pt x="344" y="2193"/>
                        </a:lnTo>
                        <a:lnTo>
                          <a:pt x="344" y="2176"/>
                        </a:lnTo>
                        <a:lnTo>
                          <a:pt x="320" y="2160"/>
                        </a:lnTo>
                        <a:lnTo>
                          <a:pt x="320" y="2145"/>
                        </a:lnTo>
                        <a:lnTo>
                          <a:pt x="280" y="2112"/>
                        </a:lnTo>
                        <a:lnTo>
                          <a:pt x="264" y="2088"/>
                        </a:lnTo>
                        <a:lnTo>
                          <a:pt x="247" y="2088"/>
                        </a:lnTo>
                        <a:lnTo>
                          <a:pt x="240" y="2072"/>
                        </a:lnTo>
                        <a:lnTo>
                          <a:pt x="224" y="2072"/>
                        </a:lnTo>
                        <a:lnTo>
                          <a:pt x="216" y="2057"/>
                        </a:lnTo>
                        <a:lnTo>
                          <a:pt x="200" y="2057"/>
                        </a:lnTo>
                        <a:lnTo>
                          <a:pt x="200" y="2048"/>
                        </a:lnTo>
                        <a:lnTo>
                          <a:pt x="183" y="2048"/>
                        </a:lnTo>
                        <a:lnTo>
                          <a:pt x="183" y="2041"/>
                        </a:lnTo>
                        <a:lnTo>
                          <a:pt x="160" y="2041"/>
                        </a:lnTo>
                        <a:lnTo>
                          <a:pt x="160" y="2033"/>
                        </a:lnTo>
                        <a:lnTo>
                          <a:pt x="112" y="2017"/>
                        </a:lnTo>
                        <a:lnTo>
                          <a:pt x="112" y="2008"/>
                        </a:lnTo>
                        <a:lnTo>
                          <a:pt x="95" y="2008"/>
                        </a:lnTo>
                        <a:lnTo>
                          <a:pt x="55" y="1960"/>
                        </a:lnTo>
                        <a:lnTo>
                          <a:pt x="40" y="1953"/>
                        </a:lnTo>
                        <a:lnTo>
                          <a:pt x="40" y="1936"/>
                        </a:lnTo>
                        <a:lnTo>
                          <a:pt x="24" y="1929"/>
                        </a:lnTo>
                        <a:lnTo>
                          <a:pt x="24" y="1913"/>
                        </a:lnTo>
                        <a:lnTo>
                          <a:pt x="16" y="1913"/>
                        </a:lnTo>
                        <a:lnTo>
                          <a:pt x="8" y="1865"/>
                        </a:lnTo>
                        <a:lnTo>
                          <a:pt x="0" y="1865"/>
                        </a:lnTo>
                        <a:lnTo>
                          <a:pt x="0" y="1761"/>
                        </a:lnTo>
                        <a:lnTo>
                          <a:pt x="8" y="1761"/>
                        </a:lnTo>
                        <a:lnTo>
                          <a:pt x="8" y="1737"/>
                        </a:lnTo>
                        <a:lnTo>
                          <a:pt x="16" y="1737"/>
                        </a:lnTo>
                        <a:lnTo>
                          <a:pt x="16" y="1713"/>
                        </a:lnTo>
                        <a:lnTo>
                          <a:pt x="24" y="1713"/>
                        </a:lnTo>
                        <a:lnTo>
                          <a:pt x="24" y="1697"/>
                        </a:lnTo>
                        <a:lnTo>
                          <a:pt x="40" y="1689"/>
                        </a:lnTo>
                        <a:lnTo>
                          <a:pt x="40" y="1673"/>
                        </a:lnTo>
                        <a:lnTo>
                          <a:pt x="55" y="1664"/>
                        </a:lnTo>
                        <a:lnTo>
                          <a:pt x="95" y="1616"/>
                        </a:lnTo>
                        <a:lnTo>
                          <a:pt x="128" y="1609"/>
                        </a:lnTo>
                        <a:lnTo>
                          <a:pt x="128" y="1601"/>
                        </a:lnTo>
                        <a:lnTo>
                          <a:pt x="144" y="1601"/>
                        </a:lnTo>
                        <a:lnTo>
                          <a:pt x="144" y="1592"/>
                        </a:lnTo>
                        <a:lnTo>
                          <a:pt x="168" y="1592"/>
                        </a:lnTo>
                        <a:lnTo>
                          <a:pt x="204" y="1582"/>
                        </a:lnTo>
                        <a:lnTo>
                          <a:pt x="241" y="1577"/>
                        </a:lnTo>
                        <a:lnTo>
                          <a:pt x="278" y="1577"/>
                        </a:lnTo>
                        <a:lnTo>
                          <a:pt x="315" y="1581"/>
                        </a:lnTo>
                        <a:lnTo>
                          <a:pt x="350" y="1589"/>
                        </a:lnTo>
                        <a:lnTo>
                          <a:pt x="384" y="1597"/>
                        </a:lnTo>
                        <a:lnTo>
                          <a:pt x="416" y="1609"/>
                        </a:lnTo>
                        <a:lnTo>
                          <a:pt x="440" y="1609"/>
                        </a:lnTo>
                        <a:lnTo>
                          <a:pt x="440" y="1616"/>
                        </a:lnTo>
                        <a:lnTo>
                          <a:pt x="487" y="1632"/>
                        </a:lnTo>
                        <a:lnTo>
                          <a:pt x="487" y="1640"/>
                        </a:lnTo>
                        <a:lnTo>
                          <a:pt x="520" y="1649"/>
                        </a:lnTo>
                        <a:lnTo>
                          <a:pt x="528" y="1664"/>
                        </a:lnTo>
                        <a:lnTo>
                          <a:pt x="544" y="1664"/>
                        </a:lnTo>
                        <a:lnTo>
                          <a:pt x="544" y="1673"/>
                        </a:lnTo>
                        <a:lnTo>
                          <a:pt x="556" y="1684"/>
                        </a:lnTo>
                        <a:lnTo>
                          <a:pt x="569" y="1695"/>
                        </a:lnTo>
                        <a:lnTo>
                          <a:pt x="583" y="1705"/>
                        </a:lnTo>
                        <a:lnTo>
                          <a:pt x="600" y="1713"/>
                        </a:lnTo>
                        <a:lnTo>
                          <a:pt x="600" y="1728"/>
                        </a:lnTo>
                        <a:lnTo>
                          <a:pt x="617" y="1740"/>
                        </a:lnTo>
                        <a:lnTo>
                          <a:pt x="629" y="1753"/>
                        </a:lnTo>
                        <a:lnTo>
                          <a:pt x="637" y="1767"/>
                        </a:lnTo>
                        <a:lnTo>
                          <a:pt x="646" y="1783"/>
                        </a:lnTo>
                        <a:lnTo>
                          <a:pt x="656" y="1801"/>
                        </a:lnTo>
                        <a:lnTo>
                          <a:pt x="672" y="1808"/>
                        </a:lnTo>
                        <a:lnTo>
                          <a:pt x="672" y="1825"/>
                        </a:lnTo>
                        <a:lnTo>
                          <a:pt x="679" y="1825"/>
                        </a:lnTo>
                        <a:lnTo>
                          <a:pt x="679" y="1841"/>
                        </a:lnTo>
                        <a:lnTo>
                          <a:pt x="688" y="1841"/>
                        </a:lnTo>
                        <a:lnTo>
                          <a:pt x="688" y="2001"/>
                        </a:lnTo>
                        <a:lnTo>
                          <a:pt x="688" y="2047"/>
                        </a:lnTo>
                        <a:lnTo>
                          <a:pt x="690" y="2093"/>
                        </a:lnTo>
                        <a:lnTo>
                          <a:pt x="690" y="2142"/>
                        </a:lnTo>
                        <a:lnTo>
                          <a:pt x="688" y="2189"/>
                        </a:lnTo>
                        <a:lnTo>
                          <a:pt x="686" y="2234"/>
                        </a:lnTo>
                        <a:lnTo>
                          <a:pt x="681" y="2276"/>
                        </a:lnTo>
                        <a:lnTo>
                          <a:pt x="672" y="2312"/>
                        </a:lnTo>
                        <a:lnTo>
                          <a:pt x="672" y="2352"/>
                        </a:lnTo>
                        <a:lnTo>
                          <a:pt x="664" y="2352"/>
                        </a:lnTo>
                        <a:lnTo>
                          <a:pt x="664" y="2376"/>
                        </a:lnTo>
                        <a:lnTo>
                          <a:pt x="656" y="2376"/>
                        </a:lnTo>
                        <a:lnTo>
                          <a:pt x="656" y="2409"/>
                        </a:lnTo>
                        <a:lnTo>
                          <a:pt x="648" y="2409"/>
                        </a:lnTo>
                        <a:lnTo>
                          <a:pt x="648" y="2425"/>
                        </a:lnTo>
                        <a:lnTo>
                          <a:pt x="639" y="2425"/>
                        </a:lnTo>
                        <a:lnTo>
                          <a:pt x="632" y="2473"/>
                        </a:lnTo>
                        <a:lnTo>
                          <a:pt x="624" y="2473"/>
                        </a:lnTo>
                        <a:lnTo>
                          <a:pt x="624" y="2489"/>
                        </a:lnTo>
                        <a:lnTo>
                          <a:pt x="615" y="2489"/>
                        </a:lnTo>
                        <a:lnTo>
                          <a:pt x="608" y="2544"/>
                        </a:lnTo>
                        <a:lnTo>
                          <a:pt x="600" y="2544"/>
                        </a:lnTo>
                        <a:lnTo>
                          <a:pt x="600" y="2577"/>
                        </a:lnTo>
                        <a:lnTo>
                          <a:pt x="590" y="2612"/>
                        </a:lnTo>
                        <a:lnTo>
                          <a:pt x="583" y="2647"/>
                        </a:lnTo>
                        <a:lnTo>
                          <a:pt x="582" y="2684"/>
                        </a:lnTo>
                        <a:lnTo>
                          <a:pt x="584" y="2720"/>
                        </a:lnTo>
                        <a:lnTo>
                          <a:pt x="598" y="2725"/>
                        </a:lnTo>
                        <a:lnTo>
                          <a:pt x="613" y="2728"/>
                        </a:lnTo>
                        <a:lnTo>
                          <a:pt x="632" y="2729"/>
                        </a:lnTo>
                        <a:lnTo>
                          <a:pt x="634" y="2726"/>
                        </a:lnTo>
                        <a:lnTo>
                          <a:pt x="636" y="2725"/>
                        </a:lnTo>
                        <a:lnTo>
                          <a:pt x="637" y="2724"/>
                        </a:lnTo>
                        <a:lnTo>
                          <a:pt x="637" y="2723"/>
                        </a:lnTo>
                        <a:lnTo>
                          <a:pt x="637" y="2723"/>
                        </a:lnTo>
                        <a:lnTo>
                          <a:pt x="638" y="2723"/>
                        </a:lnTo>
                        <a:lnTo>
                          <a:pt x="639" y="2723"/>
                        </a:lnTo>
                        <a:lnTo>
                          <a:pt x="641" y="2723"/>
                        </a:lnTo>
                        <a:lnTo>
                          <a:pt x="644" y="2721"/>
                        </a:lnTo>
                        <a:lnTo>
                          <a:pt x="648" y="2720"/>
                        </a:lnTo>
                        <a:lnTo>
                          <a:pt x="652" y="2679"/>
                        </a:lnTo>
                        <a:lnTo>
                          <a:pt x="659" y="2636"/>
                        </a:lnTo>
                        <a:lnTo>
                          <a:pt x="668" y="2596"/>
                        </a:lnTo>
                        <a:lnTo>
                          <a:pt x="679" y="2561"/>
                        </a:lnTo>
                        <a:lnTo>
                          <a:pt x="679" y="2537"/>
                        </a:lnTo>
                        <a:lnTo>
                          <a:pt x="688" y="2537"/>
                        </a:lnTo>
                        <a:lnTo>
                          <a:pt x="688" y="2513"/>
                        </a:lnTo>
                        <a:lnTo>
                          <a:pt x="696" y="2513"/>
                        </a:lnTo>
                        <a:lnTo>
                          <a:pt x="703" y="2465"/>
                        </a:lnTo>
                        <a:lnTo>
                          <a:pt x="712" y="2465"/>
                        </a:lnTo>
                        <a:lnTo>
                          <a:pt x="712" y="2449"/>
                        </a:lnTo>
                        <a:lnTo>
                          <a:pt x="720" y="2449"/>
                        </a:lnTo>
                        <a:lnTo>
                          <a:pt x="720" y="2425"/>
                        </a:lnTo>
                        <a:lnTo>
                          <a:pt x="728" y="2425"/>
                        </a:lnTo>
                        <a:lnTo>
                          <a:pt x="728" y="2392"/>
                        </a:lnTo>
                        <a:lnTo>
                          <a:pt x="736" y="2392"/>
                        </a:lnTo>
                        <a:lnTo>
                          <a:pt x="736" y="2368"/>
                        </a:lnTo>
                        <a:lnTo>
                          <a:pt x="744" y="2368"/>
                        </a:lnTo>
                        <a:lnTo>
                          <a:pt x="744" y="2328"/>
                        </a:lnTo>
                        <a:lnTo>
                          <a:pt x="752" y="2328"/>
                        </a:lnTo>
                        <a:lnTo>
                          <a:pt x="752" y="2281"/>
                        </a:lnTo>
                        <a:lnTo>
                          <a:pt x="760" y="2281"/>
                        </a:lnTo>
                        <a:lnTo>
                          <a:pt x="760" y="2176"/>
                        </a:lnTo>
                        <a:lnTo>
                          <a:pt x="762" y="2149"/>
                        </a:lnTo>
                        <a:lnTo>
                          <a:pt x="764" y="2117"/>
                        </a:lnTo>
                        <a:lnTo>
                          <a:pt x="762" y="2081"/>
                        </a:lnTo>
                        <a:lnTo>
                          <a:pt x="760" y="2042"/>
                        </a:lnTo>
                        <a:lnTo>
                          <a:pt x="757" y="2002"/>
                        </a:lnTo>
                        <a:lnTo>
                          <a:pt x="755" y="1962"/>
                        </a:lnTo>
                        <a:lnTo>
                          <a:pt x="755" y="1921"/>
                        </a:lnTo>
                        <a:lnTo>
                          <a:pt x="756" y="1884"/>
                        </a:lnTo>
                        <a:lnTo>
                          <a:pt x="760" y="1849"/>
                        </a:lnTo>
                        <a:lnTo>
                          <a:pt x="767" y="1849"/>
                        </a:lnTo>
                        <a:lnTo>
                          <a:pt x="769" y="1846"/>
                        </a:lnTo>
                        <a:lnTo>
                          <a:pt x="767" y="1845"/>
                        </a:lnTo>
                        <a:lnTo>
                          <a:pt x="767" y="1843"/>
                        </a:lnTo>
                        <a:lnTo>
                          <a:pt x="766" y="1845"/>
                        </a:lnTo>
                        <a:lnTo>
                          <a:pt x="765" y="1845"/>
                        </a:lnTo>
                        <a:lnTo>
                          <a:pt x="764" y="1845"/>
                        </a:lnTo>
                        <a:lnTo>
                          <a:pt x="762" y="1845"/>
                        </a:lnTo>
                        <a:lnTo>
                          <a:pt x="761" y="1843"/>
                        </a:lnTo>
                        <a:lnTo>
                          <a:pt x="760" y="1841"/>
                        </a:lnTo>
                        <a:lnTo>
                          <a:pt x="760" y="240"/>
                        </a:lnTo>
                        <a:lnTo>
                          <a:pt x="767" y="240"/>
                        </a:lnTo>
                        <a:lnTo>
                          <a:pt x="776" y="152"/>
                        </a:lnTo>
                        <a:lnTo>
                          <a:pt x="784" y="152"/>
                        </a:lnTo>
                        <a:lnTo>
                          <a:pt x="784" y="137"/>
                        </a:lnTo>
                        <a:lnTo>
                          <a:pt x="793" y="137"/>
                        </a:lnTo>
                        <a:lnTo>
                          <a:pt x="793" y="120"/>
                        </a:lnTo>
                        <a:lnTo>
                          <a:pt x="840" y="56"/>
                        </a:lnTo>
                        <a:lnTo>
                          <a:pt x="855" y="56"/>
                        </a:lnTo>
                        <a:lnTo>
                          <a:pt x="864" y="40"/>
                        </a:lnTo>
                        <a:lnTo>
                          <a:pt x="880" y="40"/>
                        </a:lnTo>
                        <a:lnTo>
                          <a:pt x="888" y="23"/>
                        </a:lnTo>
                        <a:lnTo>
                          <a:pt x="936" y="16"/>
                        </a:lnTo>
                        <a:lnTo>
                          <a:pt x="936" y="8"/>
                        </a:lnTo>
                        <a:lnTo>
                          <a:pt x="976" y="8"/>
                        </a:lnTo>
                        <a:lnTo>
                          <a:pt x="976" y="0"/>
                        </a:lnTo>
                        <a:lnTo>
                          <a:pt x="985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19050">
                    <a:noFill/>
                  </a:ln>
                  <a:effectLst>
                    <a:outerShdw blurRad="63500" sx="102000" sy="102000" algn="ctr" rotWithShape="0">
                      <a:srgbClr val="702D89">
                        <a:alpha val="77000"/>
                      </a:srgbClr>
                    </a:outerShdw>
                  </a:effectLst>
                </p:spPr>
                <p:txBody>
                  <a:bodyPr/>
                  <a:lstStyle/>
                  <a:p>
                    <a:pPr defTabSz="914217">
                      <a:defRPr/>
                    </a:pPr>
                    <a:endParaRPr lang="en-US" kern="0" dirty="0">
                      <a:solidFill>
                        <a:srgbClr val="FFFFFF"/>
                      </a:solidFill>
                      <a:ea typeface="ＭＳ Ｐゴシック" charset="0"/>
                      <a:cs typeface="Arial" pitchFamily="34" charset="0"/>
                    </a:endParaRPr>
                  </a:p>
                </p:txBody>
              </p:sp>
            </p:grpSp>
          </p:grpSp>
          <p:cxnSp>
            <p:nvCxnSpPr>
              <p:cNvPr id="101" name="Straight Connector 100"/>
              <p:cNvCxnSpPr>
                <a:stCxn id="102" idx="4"/>
              </p:cNvCxnSpPr>
              <p:nvPr/>
            </p:nvCxnSpPr>
            <p:spPr>
              <a:xfrm flipH="1">
                <a:off x="7482992" y="3354539"/>
                <a:ext cx="4798" cy="844991"/>
              </a:xfrm>
              <a:prstGeom prst="line">
                <a:avLst/>
              </a:prstGeom>
              <a:ln w="9525" cmpd="sng">
                <a:solidFill>
                  <a:srgbClr val="2968AF"/>
                </a:solidFill>
                <a:tailEnd type="oval"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9" name="TextBox 98"/>
            <p:cNvSpPr txBox="1"/>
            <p:nvPr/>
          </p:nvSpPr>
          <p:spPr>
            <a:xfrm>
              <a:off x="7488375" y="3745433"/>
              <a:ext cx="2046805" cy="4514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800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rPr>
                <a:t>Cisco Unified</a:t>
              </a:r>
            </a:p>
            <a:p>
              <a:r>
                <a:rPr lang="en-US" sz="800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rPr>
                <a:t>Access™</a:t>
              </a:r>
            </a:p>
          </p:txBody>
        </p:sp>
      </p:grpSp>
      <p:sp>
        <p:nvSpPr>
          <p:cNvPr id="111" name="Right Arrow 51"/>
          <p:cNvSpPr/>
          <p:nvPr/>
        </p:nvSpPr>
        <p:spPr>
          <a:xfrm rot="10800000" flipH="1">
            <a:off x="333462" y="4416411"/>
            <a:ext cx="8448870" cy="164746"/>
          </a:xfrm>
          <a:prstGeom prst="homePlat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6" tIns="45713" rIns="91426" bIns="45713" rtlCol="0" anchor="ctr"/>
          <a:lstStyle/>
          <a:p>
            <a:pPr algn="ctr" defTabSz="685681"/>
            <a:endParaRPr lang="en-US" sz="100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-92134" y="4358449"/>
            <a:ext cx="1989478" cy="265454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ctr"/>
            <a:r>
              <a:rPr lang="en-US" sz="1100" b="1" dirty="0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1997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7928277" y="4358452"/>
            <a:ext cx="1082104" cy="265454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ctr"/>
            <a:r>
              <a:rPr lang="en-US" sz="1100" b="1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2016-17</a:t>
            </a:r>
            <a:endParaRPr lang="en-US" sz="1100" b="1" dirty="0">
              <a:solidFill>
                <a:srgbClr val="FFFFFF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4247449" y="4358452"/>
            <a:ext cx="2313308" cy="265454"/>
          </a:xfrm>
          <a:prstGeom prst="rect">
            <a:avLst/>
          </a:prstGeom>
          <a:noFill/>
        </p:spPr>
        <p:txBody>
          <a:bodyPr wrap="square" lIns="91434" tIns="45717" rIns="91434" bIns="45717" rtlCol="0">
            <a:spAutoFit/>
          </a:bodyPr>
          <a:lstStyle/>
          <a:p>
            <a:pPr algn="ctr"/>
            <a:r>
              <a:rPr lang="en-US" sz="1100" b="1" dirty="0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2012</a:t>
            </a:r>
          </a:p>
        </p:txBody>
      </p:sp>
      <p:sp>
        <p:nvSpPr>
          <p:cNvPr id="117" name="Pentagon 116"/>
          <p:cNvSpPr/>
          <p:nvPr/>
        </p:nvSpPr>
        <p:spPr>
          <a:xfrm rot="5400000" flipH="1">
            <a:off x="2281105" y="3331647"/>
            <a:ext cx="297788" cy="1552192"/>
          </a:xfrm>
          <a:prstGeom prst="homePlate">
            <a:avLst>
              <a:gd name="adj" fmla="val 68889"/>
            </a:avLst>
          </a:prstGeom>
          <a:noFill/>
          <a:ln w="12700">
            <a:gradFill flip="none" rotWithShape="1"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100000">
                  <a:schemeClr val="tx2"/>
                </a:gs>
              </a:gsLst>
              <a:lin ang="0" scaled="0"/>
              <a:tileRect/>
            </a:gradFill>
          </a:ln>
          <a:effectLst>
            <a:innerShdw blurRad="114300">
              <a:prstClr val="black">
                <a:alpha val="34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5" tIns="34295" rIns="68585" bIns="34295" rtlCol="0" anchor="ctr"/>
          <a:lstStyle/>
          <a:p>
            <a:pPr algn="ctr"/>
            <a:endParaRPr lang="en-US" dirty="0" smtClean="0">
              <a:solidFill>
                <a:srgbClr val="676767"/>
              </a:solidFill>
            </a:endParaRPr>
          </a:p>
        </p:txBody>
      </p:sp>
      <p:sp>
        <p:nvSpPr>
          <p:cNvPr id="118" name="TextBox 26"/>
          <p:cNvSpPr txBox="1">
            <a:spLocks noChangeArrowheads="1"/>
          </p:cNvSpPr>
          <p:nvPr/>
        </p:nvSpPr>
        <p:spPr bwMode="auto">
          <a:xfrm>
            <a:off x="1680782" y="4134031"/>
            <a:ext cx="1528058" cy="198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28808" tIns="14403" rIns="28808" bIns="14403">
            <a:spAutoFit/>
          </a:bodyPr>
          <a:lstStyle>
            <a:defPPr>
              <a:defRPr lang="en-US"/>
            </a:defPPr>
            <a:lvl1pPr marL="285750" indent="-285750">
              <a:buFont typeface="Wingdings" charset="2"/>
              <a:buChar char="§"/>
              <a:defRPr sz="1400" i="0">
                <a:solidFill>
                  <a:srgbClr val="FFFFFF"/>
                </a:solidFill>
                <a:latin typeface="Arial Narrow"/>
                <a:ea typeface="ＭＳ Ｐゴシック"/>
                <a:cs typeface="Arial Narrow"/>
              </a:defRPr>
            </a:lvl1pPr>
          </a:lstStyle>
          <a:p>
            <a:pPr marL="0" indent="0" algn="ctr">
              <a:buSzPct val="120000"/>
              <a:buFont typeface="Wingdings" charset="2"/>
              <a:buNone/>
            </a:pPr>
            <a:r>
              <a:rPr lang="en-US" sz="1100" b="1" dirty="0">
                <a:solidFill>
                  <a:srgbClr val="676767"/>
                </a:solidFill>
                <a:latin typeface="Arial"/>
                <a:ea typeface=""/>
                <a:cs typeface="Arial" charset="0"/>
              </a:rPr>
              <a:t>Self-Learning - RRM</a:t>
            </a:r>
          </a:p>
        </p:txBody>
      </p:sp>
      <p:sp>
        <p:nvSpPr>
          <p:cNvPr id="121" name="Pentagon 120"/>
          <p:cNvSpPr/>
          <p:nvPr/>
        </p:nvSpPr>
        <p:spPr>
          <a:xfrm rot="5400000" flipH="1">
            <a:off x="7226257" y="3024683"/>
            <a:ext cx="297788" cy="1552192"/>
          </a:xfrm>
          <a:prstGeom prst="homePlate">
            <a:avLst>
              <a:gd name="adj" fmla="val 68889"/>
            </a:avLst>
          </a:prstGeom>
          <a:noFill/>
          <a:ln w="12700">
            <a:gradFill flip="none" rotWithShape="1"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100000">
                  <a:schemeClr val="tx2"/>
                </a:gs>
              </a:gsLst>
              <a:lin ang="0" scaled="0"/>
              <a:tileRect/>
            </a:gradFill>
          </a:ln>
          <a:effectLst>
            <a:innerShdw blurRad="114300">
              <a:prstClr val="black">
                <a:alpha val="34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5" tIns="34295" rIns="68585" bIns="34295" rtlCol="0" anchor="ctr"/>
          <a:lstStyle/>
          <a:p>
            <a:pPr algn="ctr"/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22" name="TextBox 26"/>
          <p:cNvSpPr txBox="1">
            <a:spLocks noChangeArrowheads="1"/>
          </p:cNvSpPr>
          <p:nvPr/>
        </p:nvSpPr>
        <p:spPr bwMode="auto">
          <a:xfrm>
            <a:off x="6645253" y="3827067"/>
            <a:ext cx="1528058" cy="198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28808" tIns="14403" rIns="28808" bIns="14403">
            <a:spAutoFit/>
          </a:bodyPr>
          <a:lstStyle>
            <a:defPPr>
              <a:defRPr lang="en-US"/>
            </a:defPPr>
            <a:lvl1pPr marL="285750" indent="-285750">
              <a:buFont typeface="Wingdings" charset="2"/>
              <a:buChar char="§"/>
              <a:defRPr sz="1400" i="0">
                <a:solidFill>
                  <a:srgbClr val="FFFFFF"/>
                </a:solidFill>
                <a:latin typeface="Arial Narrow"/>
                <a:ea typeface="ＭＳ Ｐゴシック"/>
                <a:cs typeface="Arial Narrow"/>
              </a:defRPr>
            </a:lvl1pPr>
          </a:lstStyle>
          <a:p>
            <a:pPr marL="0" indent="0" algn="ctr">
              <a:buSzPct val="120000"/>
              <a:buFont typeface="Wingdings" charset="2"/>
              <a:buNone/>
            </a:pPr>
            <a:r>
              <a:rPr lang="en-US" sz="1100" b="1" dirty="0">
                <a:solidFill>
                  <a:srgbClr val="676767"/>
                </a:solidFill>
                <a:latin typeface="Arial"/>
                <a:ea typeface=""/>
                <a:cs typeface="Arial" charset="0"/>
              </a:rPr>
              <a:t>Self-Optimizing– HDX </a:t>
            </a:r>
          </a:p>
        </p:txBody>
      </p:sp>
      <p:sp>
        <p:nvSpPr>
          <p:cNvPr id="123" name="Pentagon 122"/>
          <p:cNvSpPr/>
          <p:nvPr/>
        </p:nvSpPr>
        <p:spPr>
          <a:xfrm rot="5400000" flipH="1">
            <a:off x="6226075" y="3413673"/>
            <a:ext cx="297788" cy="1552192"/>
          </a:xfrm>
          <a:prstGeom prst="homePlate">
            <a:avLst>
              <a:gd name="adj" fmla="val 68889"/>
            </a:avLst>
          </a:prstGeom>
          <a:noFill/>
          <a:ln w="12700">
            <a:gradFill flip="none" rotWithShape="1"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100000">
                  <a:schemeClr val="tx2"/>
                </a:gs>
              </a:gsLst>
              <a:lin ang="0" scaled="0"/>
              <a:tileRect/>
            </a:gradFill>
          </a:ln>
          <a:effectLst>
            <a:innerShdw blurRad="114300">
              <a:prstClr val="black">
                <a:alpha val="34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5" tIns="34295" rIns="68585" bIns="34295" rtlCol="0" anchor="ctr"/>
          <a:lstStyle/>
          <a:p>
            <a:pPr algn="ctr"/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24" name="TextBox 26"/>
          <p:cNvSpPr txBox="1">
            <a:spLocks noChangeArrowheads="1"/>
          </p:cNvSpPr>
          <p:nvPr/>
        </p:nvSpPr>
        <p:spPr bwMode="auto">
          <a:xfrm>
            <a:off x="5638633" y="4216057"/>
            <a:ext cx="1528058" cy="198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28808" tIns="14403" rIns="28808" bIns="14403">
            <a:spAutoFit/>
          </a:bodyPr>
          <a:lstStyle>
            <a:defPPr>
              <a:defRPr lang="en-US"/>
            </a:defPPr>
            <a:lvl1pPr marL="285750" indent="-285750">
              <a:buFont typeface="Wingdings" charset="2"/>
              <a:buChar char="§"/>
              <a:defRPr sz="1400" i="0">
                <a:solidFill>
                  <a:srgbClr val="FFFFFF"/>
                </a:solidFill>
                <a:latin typeface="Arial Narrow"/>
                <a:ea typeface="ＭＳ Ｐゴシック"/>
                <a:cs typeface="Arial Narrow"/>
              </a:defRPr>
            </a:lvl1pPr>
          </a:lstStyle>
          <a:p>
            <a:pPr marL="0" indent="0" algn="ctr">
              <a:buSzPct val="120000"/>
              <a:buFont typeface="Wingdings" charset="2"/>
              <a:buNone/>
            </a:pPr>
            <a:r>
              <a:rPr lang="en-US" sz="1100" b="1" dirty="0">
                <a:solidFill>
                  <a:srgbClr val="676767"/>
                </a:solidFill>
                <a:latin typeface="Arial"/>
                <a:ea typeface=""/>
                <a:cs typeface="Arial" charset="0"/>
              </a:rPr>
              <a:t>Self-Healing – SSO</a:t>
            </a:r>
          </a:p>
        </p:txBody>
      </p:sp>
      <p:grpSp>
        <p:nvGrpSpPr>
          <p:cNvPr id="110" name="Group 109"/>
          <p:cNvGrpSpPr/>
          <p:nvPr/>
        </p:nvGrpSpPr>
        <p:grpSpPr>
          <a:xfrm>
            <a:off x="7821747" y="1177321"/>
            <a:ext cx="1189081" cy="1956456"/>
            <a:chOff x="7821744" y="1177321"/>
            <a:chExt cx="1189081" cy="1956456"/>
          </a:xfrm>
        </p:grpSpPr>
        <p:grpSp>
          <p:nvGrpSpPr>
            <p:cNvPr id="120" name="Group 119"/>
            <p:cNvGrpSpPr/>
            <p:nvPr/>
          </p:nvGrpSpPr>
          <p:grpSpPr>
            <a:xfrm>
              <a:off x="7821744" y="1177321"/>
              <a:ext cx="1189081" cy="892286"/>
              <a:chOff x="9064504" y="1882113"/>
              <a:chExt cx="1585029" cy="1189715"/>
            </a:xfrm>
          </p:grpSpPr>
          <p:sp>
            <p:nvSpPr>
              <p:cNvPr id="126" name="Oval 125"/>
              <p:cNvSpPr/>
              <p:nvPr/>
            </p:nvSpPr>
            <p:spPr bwMode="auto">
              <a:xfrm flipH="1">
                <a:off x="9610271" y="2563145"/>
                <a:ext cx="504584" cy="504584"/>
              </a:xfrm>
              <a:prstGeom prst="ellipse">
                <a:avLst/>
              </a:prstGeom>
              <a:gradFill rotWithShape="0">
                <a:gsLst>
                  <a:gs pos="0">
                    <a:srgbClr val="5C6A76"/>
                  </a:gs>
                  <a:gs pos="100000">
                    <a:srgbClr val="121517"/>
                  </a:gs>
                </a:gsLst>
                <a:lin ang="5400000" scaled="1"/>
              </a:gradFill>
              <a:ln w="19050" cap="flat">
                <a:gradFill>
                  <a:gsLst>
                    <a:gs pos="0">
                      <a:srgbClr val="0183B7">
                        <a:lumMod val="20000"/>
                        <a:lumOff val="80000"/>
                      </a:srgbClr>
                    </a:gs>
                    <a:gs pos="100000">
                      <a:srgbClr val="0183B7">
                        <a:lumMod val="20000"/>
                        <a:lumOff val="80000"/>
                        <a:alpha val="39000"/>
                      </a:srgbClr>
                    </a:gs>
                  </a:gsLst>
                  <a:lin ang="5400000" scaled="0"/>
                </a:gradFill>
                <a:round/>
                <a:headEnd type="none" w="med" len="med"/>
                <a:tailEnd type="none" w="med" len="med"/>
              </a:ln>
              <a:effectLst>
                <a:outerShdw blurRad="241300" algn="ctr" rotWithShape="0">
                  <a:sysClr val="windowText" lastClr="000000">
                    <a:alpha val="73000"/>
                  </a:sysClr>
                </a:outerShdw>
              </a:effectLst>
            </p:spPr>
            <p:txBody>
              <a:bodyPr lIns="0" tIns="0" rIns="0" bIns="0"/>
              <a:lstStyle/>
              <a:p>
                <a:pPr>
                  <a:lnSpc>
                    <a:spcPct val="90000"/>
                  </a:lnSpc>
                </a:pPr>
                <a:endParaRPr lang="en-US" sz="1200" dirty="0">
                  <a:solidFill>
                    <a:srgbClr val="FFFFFF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127" name="TextBox 126"/>
              <p:cNvSpPr txBox="1"/>
              <p:nvPr/>
            </p:nvSpPr>
            <p:spPr>
              <a:xfrm>
                <a:off x="9064504" y="1882113"/>
                <a:ext cx="1585029" cy="615554"/>
              </a:xfrm>
              <a:prstGeom prst="rect">
                <a:avLst/>
              </a:prstGeom>
              <a:noFill/>
            </p:spPr>
            <p:txBody>
              <a:bodyPr wrap="square" rtlCol="0" anchor="b" anchorCtr="0">
                <a:spAutoFit/>
              </a:bodyPr>
              <a:lstStyle/>
              <a:p>
                <a:pPr algn="ctr"/>
                <a:r>
                  <a:rPr lang="en-US" sz="800" dirty="0">
                    <a:solidFill>
                      <a:srgbClr val="676767"/>
                    </a:solidFill>
                    <a:ea typeface="ＭＳ Ｐゴシック" charset="0"/>
                    <a:cs typeface="Arial Narrow"/>
                  </a:rPr>
                  <a:t>802.11ac Wave 2 &amp; Multigigabit Ethernet &amp; Hyperlocation</a:t>
                </a:r>
              </a:p>
            </p:txBody>
          </p:sp>
          <p:grpSp>
            <p:nvGrpSpPr>
              <p:cNvPr id="128" name="Group 127"/>
              <p:cNvGrpSpPr/>
              <p:nvPr/>
            </p:nvGrpSpPr>
            <p:grpSpPr>
              <a:xfrm>
                <a:off x="9610856" y="2594398"/>
                <a:ext cx="479907" cy="477430"/>
                <a:chOff x="4436264" y="1865059"/>
                <a:chExt cx="619128" cy="615933"/>
              </a:xfrm>
            </p:grpSpPr>
            <p:sp>
              <p:nvSpPr>
                <p:cNvPr id="129" name="Freeform 24"/>
                <p:cNvSpPr>
                  <a:spLocks noEditPoints="1"/>
                </p:cNvSpPr>
                <p:nvPr/>
              </p:nvSpPr>
              <p:spPr bwMode="auto">
                <a:xfrm>
                  <a:off x="4666561" y="2063431"/>
                  <a:ext cx="188008" cy="185713"/>
                </a:xfrm>
                <a:custGeom>
                  <a:avLst/>
                  <a:gdLst/>
                  <a:ahLst/>
                  <a:cxnLst>
                    <a:cxn ang="0">
                      <a:pos x="1329" y="160"/>
                    </a:cxn>
                    <a:cxn ang="0">
                      <a:pos x="1045" y="28"/>
                    </a:cxn>
                    <a:cxn ang="0">
                      <a:pos x="220" y="282"/>
                    </a:cxn>
                    <a:cxn ang="0">
                      <a:pos x="47" y="592"/>
                    </a:cxn>
                    <a:cxn ang="0">
                      <a:pos x="350" y="1503"/>
                    </a:cxn>
                    <a:cxn ang="0">
                      <a:pos x="600" y="1628"/>
                    </a:cxn>
                    <a:cxn ang="0">
                      <a:pos x="1236" y="1564"/>
                    </a:cxn>
                    <a:cxn ang="0">
                      <a:pos x="1647" y="1034"/>
                    </a:cxn>
                    <a:cxn ang="0">
                      <a:pos x="1514" y="463"/>
                    </a:cxn>
                    <a:cxn ang="0">
                      <a:pos x="1456" y="368"/>
                    </a:cxn>
                    <a:cxn ang="0">
                      <a:pos x="1198" y="647"/>
                    </a:cxn>
                    <a:cxn ang="0">
                      <a:pos x="1422" y="844"/>
                    </a:cxn>
                    <a:cxn ang="0">
                      <a:pos x="881" y="266"/>
                    </a:cxn>
                    <a:cxn ang="0">
                      <a:pos x="759" y="476"/>
                    </a:cxn>
                    <a:cxn ang="0">
                      <a:pos x="489" y="721"/>
                    </a:cxn>
                    <a:cxn ang="0">
                      <a:pos x="572" y="354"/>
                    </a:cxn>
                    <a:cxn ang="0">
                      <a:pos x="865" y="622"/>
                    </a:cxn>
                    <a:cxn ang="0">
                      <a:pos x="940" y="645"/>
                    </a:cxn>
                    <a:cxn ang="0">
                      <a:pos x="857" y="918"/>
                    </a:cxn>
                    <a:cxn ang="0">
                      <a:pos x="1196" y="566"/>
                    </a:cxn>
                    <a:cxn ang="0">
                      <a:pos x="1352" y="417"/>
                    </a:cxn>
                    <a:cxn ang="0">
                      <a:pos x="1342" y="451"/>
                    </a:cxn>
                    <a:cxn ang="0">
                      <a:pos x="1302" y="250"/>
                    </a:cxn>
                    <a:cxn ang="0">
                      <a:pos x="1098" y="127"/>
                    </a:cxn>
                    <a:cxn ang="0">
                      <a:pos x="1110" y="581"/>
                    </a:cxn>
                    <a:cxn ang="0">
                      <a:pos x="1022" y="104"/>
                    </a:cxn>
                    <a:cxn ang="0">
                      <a:pos x="791" y="89"/>
                    </a:cxn>
                    <a:cxn ang="0">
                      <a:pos x="793" y="90"/>
                    </a:cxn>
                    <a:cxn ang="0">
                      <a:pos x="641" y="223"/>
                    </a:cxn>
                    <a:cxn ang="0">
                      <a:pos x="760" y="203"/>
                    </a:cxn>
                    <a:cxn ang="0">
                      <a:pos x="632" y="92"/>
                    </a:cxn>
                    <a:cxn ang="0">
                      <a:pos x="609" y="98"/>
                    </a:cxn>
                    <a:cxn ang="0">
                      <a:pos x="362" y="287"/>
                    </a:cxn>
                    <a:cxn ang="0">
                      <a:pos x="509" y="298"/>
                    </a:cxn>
                    <a:cxn ang="0">
                      <a:pos x="122" y="615"/>
                    </a:cxn>
                    <a:cxn ang="0">
                      <a:pos x="255" y="428"/>
                    </a:cxn>
                    <a:cxn ang="0">
                      <a:pos x="286" y="1340"/>
                    </a:cxn>
                    <a:cxn ang="0">
                      <a:pos x="310" y="1209"/>
                    </a:cxn>
                    <a:cxn ang="0">
                      <a:pos x="217" y="1006"/>
                    </a:cxn>
                    <a:cxn ang="0">
                      <a:pos x="295" y="588"/>
                    </a:cxn>
                    <a:cxn ang="0">
                      <a:pos x="348" y="1061"/>
                    </a:cxn>
                    <a:cxn ang="0">
                      <a:pos x="634" y="1382"/>
                    </a:cxn>
                    <a:cxn ang="0">
                      <a:pos x="436" y="1046"/>
                    </a:cxn>
                    <a:cxn ang="0">
                      <a:pos x="399" y="1176"/>
                    </a:cxn>
                    <a:cxn ang="0">
                      <a:pos x="990" y="1444"/>
                    </a:cxn>
                    <a:cxn ang="0">
                      <a:pos x="1108" y="1024"/>
                    </a:cxn>
                    <a:cxn ang="0">
                      <a:pos x="732" y="1329"/>
                    </a:cxn>
                    <a:cxn ang="0">
                      <a:pos x="1263" y="1407"/>
                    </a:cxn>
                    <a:cxn ang="0">
                      <a:pos x="1394" y="1262"/>
                    </a:cxn>
                    <a:cxn ang="0">
                      <a:pos x="1126" y="1296"/>
                    </a:cxn>
                    <a:cxn ang="0">
                      <a:pos x="1395" y="1260"/>
                    </a:cxn>
                    <a:cxn ang="0">
                      <a:pos x="1417" y="475"/>
                    </a:cxn>
                    <a:cxn ang="0">
                      <a:pos x="1515" y="736"/>
                    </a:cxn>
                    <a:cxn ang="0">
                      <a:pos x="1552" y="1078"/>
                    </a:cxn>
                    <a:cxn ang="0">
                      <a:pos x="1497" y="1170"/>
                    </a:cxn>
                    <a:cxn ang="0">
                      <a:pos x="1561" y="1051"/>
                    </a:cxn>
                  </a:cxnLst>
                  <a:rect l="0" t="0" r="r" b="b"/>
                  <a:pathLst>
                    <a:path w="1678" h="1666">
                      <a:moveTo>
                        <a:pt x="1621" y="547"/>
                      </a:moveTo>
                      <a:cubicBezTo>
                        <a:pt x="1570" y="408"/>
                        <a:pt x="1481" y="283"/>
                        <a:pt x="1364" y="187"/>
                      </a:cubicBezTo>
                      <a:cubicBezTo>
                        <a:pt x="1359" y="184"/>
                        <a:pt x="1355" y="180"/>
                        <a:pt x="1350" y="176"/>
                      </a:cubicBezTo>
                      <a:cubicBezTo>
                        <a:pt x="1343" y="171"/>
                        <a:pt x="1336" y="166"/>
                        <a:pt x="1329" y="160"/>
                      </a:cubicBezTo>
                      <a:cubicBezTo>
                        <a:pt x="1267" y="115"/>
                        <a:pt x="1197" y="78"/>
                        <a:pt x="1121" y="51"/>
                      </a:cubicBezTo>
                      <a:cubicBezTo>
                        <a:pt x="1118" y="50"/>
                        <a:pt x="1115" y="49"/>
                        <a:pt x="1112" y="48"/>
                      </a:cubicBezTo>
                      <a:cubicBezTo>
                        <a:pt x="1102" y="44"/>
                        <a:pt x="1092" y="41"/>
                        <a:pt x="1082" y="38"/>
                      </a:cubicBezTo>
                      <a:cubicBezTo>
                        <a:pt x="1070" y="35"/>
                        <a:pt x="1058" y="31"/>
                        <a:pt x="1045" y="28"/>
                      </a:cubicBezTo>
                      <a:cubicBezTo>
                        <a:pt x="967" y="8"/>
                        <a:pt x="888" y="0"/>
                        <a:pt x="811" y="3"/>
                      </a:cubicBezTo>
                      <a:cubicBezTo>
                        <a:pt x="802" y="3"/>
                        <a:pt x="793" y="4"/>
                        <a:pt x="785" y="4"/>
                      </a:cubicBezTo>
                      <a:cubicBezTo>
                        <a:pt x="628" y="15"/>
                        <a:pt x="478" y="70"/>
                        <a:pt x="353" y="161"/>
                      </a:cubicBezTo>
                      <a:cubicBezTo>
                        <a:pt x="305" y="196"/>
                        <a:pt x="260" y="237"/>
                        <a:pt x="220" y="282"/>
                      </a:cubicBezTo>
                      <a:cubicBezTo>
                        <a:pt x="180" y="327"/>
                        <a:pt x="145" y="377"/>
                        <a:pt x="115" y="431"/>
                      </a:cubicBezTo>
                      <a:cubicBezTo>
                        <a:pt x="93" y="470"/>
                        <a:pt x="74" y="512"/>
                        <a:pt x="59" y="556"/>
                      </a:cubicBezTo>
                      <a:cubicBezTo>
                        <a:pt x="58" y="558"/>
                        <a:pt x="57" y="560"/>
                        <a:pt x="56" y="563"/>
                      </a:cubicBezTo>
                      <a:cubicBezTo>
                        <a:pt x="53" y="572"/>
                        <a:pt x="50" y="582"/>
                        <a:pt x="47" y="592"/>
                      </a:cubicBezTo>
                      <a:cubicBezTo>
                        <a:pt x="2" y="738"/>
                        <a:pt x="0" y="888"/>
                        <a:pt x="34" y="1028"/>
                      </a:cubicBezTo>
                      <a:cubicBezTo>
                        <a:pt x="51" y="1096"/>
                        <a:pt x="76" y="1162"/>
                        <a:pt x="109" y="1224"/>
                      </a:cubicBezTo>
                      <a:cubicBezTo>
                        <a:pt x="151" y="1304"/>
                        <a:pt x="208" y="1378"/>
                        <a:pt x="275" y="1441"/>
                      </a:cubicBezTo>
                      <a:cubicBezTo>
                        <a:pt x="299" y="1463"/>
                        <a:pt x="324" y="1484"/>
                        <a:pt x="350" y="1503"/>
                      </a:cubicBezTo>
                      <a:cubicBezTo>
                        <a:pt x="414" y="1549"/>
                        <a:pt x="485" y="1588"/>
                        <a:pt x="563" y="1615"/>
                      </a:cubicBezTo>
                      <a:cubicBezTo>
                        <a:pt x="566" y="1616"/>
                        <a:pt x="568" y="1617"/>
                        <a:pt x="571" y="1618"/>
                      </a:cubicBezTo>
                      <a:cubicBezTo>
                        <a:pt x="580" y="1621"/>
                        <a:pt x="590" y="1625"/>
                        <a:pt x="599" y="1627"/>
                      </a:cubicBezTo>
                      <a:cubicBezTo>
                        <a:pt x="600" y="1628"/>
                        <a:pt x="600" y="1628"/>
                        <a:pt x="600" y="1628"/>
                      </a:cubicBezTo>
                      <a:cubicBezTo>
                        <a:pt x="613" y="1632"/>
                        <a:pt x="626" y="1635"/>
                        <a:pt x="638" y="1638"/>
                      </a:cubicBezTo>
                      <a:cubicBezTo>
                        <a:pt x="719" y="1659"/>
                        <a:pt x="800" y="1666"/>
                        <a:pt x="879" y="1663"/>
                      </a:cubicBezTo>
                      <a:cubicBezTo>
                        <a:pt x="912" y="1661"/>
                        <a:pt x="944" y="1658"/>
                        <a:pt x="976" y="1653"/>
                      </a:cubicBezTo>
                      <a:cubicBezTo>
                        <a:pt x="1067" y="1638"/>
                        <a:pt x="1155" y="1607"/>
                        <a:pt x="1236" y="1564"/>
                      </a:cubicBezTo>
                      <a:cubicBezTo>
                        <a:pt x="1298" y="1531"/>
                        <a:pt x="1355" y="1489"/>
                        <a:pt x="1407" y="1441"/>
                      </a:cubicBezTo>
                      <a:cubicBezTo>
                        <a:pt x="1504" y="1352"/>
                        <a:pt x="1581" y="1237"/>
                        <a:pt x="1627" y="1103"/>
                      </a:cubicBezTo>
                      <a:cubicBezTo>
                        <a:pt x="1630" y="1094"/>
                        <a:pt x="1633" y="1084"/>
                        <a:pt x="1636" y="1074"/>
                      </a:cubicBezTo>
                      <a:cubicBezTo>
                        <a:pt x="1640" y="1061"/>
                        <a:pt x="1644" y="1047"/>
                        <a:pt x="1647" y="1034"/>
                      </a:cubicBezTo>
                      <a:cubicBezTo>
                        <a:pt x="1659" y="985"/>
                        <a:pt x="1667" y="936"/>
                        <a:pt x="1670" y="887"/>
                      </a:cubicBezTo>
                      <a:cubicBezTo>
                        <a:pt x="1678" y="770"/>
                        <a:pt x="1660" y="654"/>
                        <a:pt x="1621" y="547"/>
                      </a:cubicBezTo>
                      <a:close/>
                      <a:moveTo>
                        <a:pt x="1456" y="368"/>
                      </a:moveTo>
                      <a:cubicBezTo>
                        <a:pt x="1480" y="399"/>
                        <a:pt x="1499" y="431"/>
                        <a:pt x="1514" y="463"/>
                      </a:cubicBezTo>
                      <a:cubicBezTo>
                        <a:pt x="1496" y="443"/>
                        <a:pt x="1478" y="423"/>
                        <a:pt x="1459" y="405"/>
                      </a:cubicBezTo>
                      <a:cubicBezTo>
                        <a:pt x="1451" y="393"/>
                        <a:pt x="1442" y="381"/>
                        <a:pt x="1433" y="370"/>
                      </a:cubicBezTo>
                      <a:cubicBezTo>
                        <a:pt x="1432" y="358"/>
                        <a:pt x="1430" y="346"/>
                        <a:pt x="1428" y="334"/>
                      </a:cubicBezTo>
                      <a:cubicBezTo>
                        <a:pt x="1438" y="345"/>
                        <a:pt x="1448" y="356"/>
                        <a:pt x="1456" y="368"/>
                      </a:cubicBezTo>
                      <a:close/>
                      <a:moveTo>
                        <a:pt x="1422" y="844"/>
                      </a:moveTo>
                      <a:cubicBezTo>
                        <a:pt x="1381" y="876"/>
                        <a:pt x="1330" y="901"/>
                        <a:pt x="1271" y="919"/>
                      </a:cubicBezTo>
                      <a:cubicBezTo>
                        <a:pt x="1248" y="926"/>
                        <a:pt x="1223" y="931"/>
                        <a:pt x="1198" y="936"/>
                      </a:cubicBezTo>
                      <a:cubicBezTo>
                        <a:pt x="1207" y="836"/>
                        <a:pt x="1207" y="739"/>
                        <a:pt x="1198" y="647"/>
                      </a:cubicBezTo>
                      <a:cubicBezTo>
                        <a:pt x="1205" y="646"/>
                        <a:pt x="1212" y="644"/>
                        <a:pt x="1218" y="642"/>
                      </a:cubicBezTo>
                      <a:cubicBezTo>
                        <a:pt x="1261" y="629"/>
                        <a:pt x="1300" y="610"/>
                        <a:pt x="1333" y="584"/>
                      </a:cubicBezTo>
                      <a:cubicBezTo>
                        <a:pt x="1343" y="601"/>
                        <a:pt x="1351" y="619"/>
                        <a:pt x="1359" y="637"/>
                      </a:cubicBezTo>
                      <a:cubicBezTo>
                        <a:pt x="1389" y="702"/>
                        <a:pt x="1410" y="772"/>
                        <a:pt x="1422" y="844"/>
                      </a:cubicBezTo>
                      <a:close/>
                      <a:moveTo>
                        <a:pt x="702" y="422"/>
                      </a:moveTo>
                      <a:cubicBezTo>
                        <a:pt x="697" y="416"/>
                        <a:pt x="692" y="410"/>
                        <a:pt x="688" y="405"/>
                      </a:cubicBezTo>
                      <a:cubicBezTo>
                        <a:pt x="667" y="377"/>
                        <a:pt x="652" y="348"/>
                        <a:pt x="644" y="320"/>
                      </a:cubicBezTo>
                      <a:cubicBezTo>
                        <a:pt x="720" y="289"/>
                        <a:pt x="800" y="271"/>
                        <a:pt x="881" y="266"/>
                      </a:cubicBezTo>
                      <a:cubicBezTo>
                        <a:pt x="819" y="308"/>
                        <a:pt x="759" y="360"/>
                        <a:pt x="702" y="422"/>
                      </a:cubicBezTo>
                      <a:close/>
                      <a:moveTo>
                        <a:pt x="960" y="310"/>
                      </a:moveTo>
                      <a:cubicBezTo>
                        <a:pt x="888" y="547"/>
                        <a:pt x="888" y="547"/>
                        <a:pt x="888" y="547"/>
                      </a:cubicBezTo>
                      <a:cubicBezTo>
                        <a:pt x="839" y="528"/>
                        <a:pt x="796" y="504"/>
                        <a:pt x="759" y="476"/>
                      </a:cubicBezTo>
                      <a:cubicBezTo>
                        <a:pt x="784" y="449"/>
                        <a:pt x="809" y="425"/>
                        <a:pt x="834" y="403"/>
                      </a:cubicBezTo>
                      <a:cubicBezTo>
                        <a:pt x="875" y="366"/>
                        <a:pt x="917" y="335"/>
                        <a:pt x="960" y="310"/>
                      </a:cubicBezTo>
                      <a:close/>
                      <a:moveTo>
                        <a:pt x="650" y="481"/>
                      </a:moveTo>
                      <a:cubicBezTo>
                        <a:pt x="591" y="552"/>
                        <a:pt x="538" y="633"/>
                        <a:pt x="489" y="721"/>
                      </a:cubicBezTo>
                      <a:cubicBezTo>
                        <a:pt x="465" y="698"/>
                        <a:pt x="443" y="674"/>
                        <a:pt x="424" y="649"/>
                      </a:cubicBezTo>
                      <a:cubicBezTo>
                        <a:pt x="392" y="607"/>
                        <a:pt x="368" y="564"/>
                        <a:pt x="353" y="520"/>
                      </a:cubicBezTo>
                      <a:cubicBezTo>
                        <a:pt x="411" y="459"/>
                        <a:pt x="477" y="407"/>
                        <a:pt x="548" y="366"/>
                      </a:cubicBezTo>
                      <a:cubicBezTo>
                        <a:pt x="556" y="362"/>
                        <a:pt x="564" y="358"/>
                        <a:pt x="572" y="354"/>
                      </a:cubicBezTo>
                      <a:cubicBezTo>
                        <a:pt x="583" y="388"/>
                        <a:pt x="602" y="422"/>
                        <a:pt x="625" y="453"/>
                      </a:cubicBezTo>
                      <a:cubicBezTo>
                        <a:pt x="633" y="463"/>
                        <a:pt x="641" y="472"/>
                        <a:pt x="650" y="481"/>
                      </a:cubicBezTo>
                      <a:close/>
                      <a:moveTo>
                        <a:pt x="708" y="535"/>
                      </a:moveTo>
                      <a:cubicBezTo>
                        <a:pt x="752" y="570"/>
                        <a:pt x="805" y="600"/>
                        <a:pt x="865" y="622"/>
                      </a:cubicBezTo>
                      <a:cubicBezTo>
                        <a:pt x="782" y="895"/>
                        <a:pt x="782" y="895"/>
                        <a:pt x="782" y="895"/>
                      </a:cubicBezTo>
                      <a:cubicBezTo>
                        <a:pt x="694" y="865"/>
                        <a:pt x="616" y="822"/>
                        <a:pt x="551" y="773"/>
                      </a:cubicBezTo>
                      <a:cubicBezTo>
                        <a:pt x="598" y="685"/>
                        <a:pt x="651" y="605"/>
                        <a:pt x="708" y="535"/>
                      </a:cubicBezTo>
                      <a:close/>
                      <a:moveTo>
                        <a:pt x="940" y="645"/>
                      </a:moveTo>
                      <a:cubicBezTo>
                        <a:pt x="1002" y="660"/>
                        <a:pt x="1063" y="664"/>
                        <a:pt x="1120" y="660"/>
                      </a:cubicBezTo>
                      <a:cubicBezTo>
                        <a:pt x="1121" y="668"/>
                        <a:pt x="1122" y="675"/>
                        <a:pt x="1122" y="683"/>
                      </a:cubicBezTo>
                      <a:cubicBezTo>
                        <a:pt x="1129" y="766"/>
                        <a:pt x="1127" y="854"/>
                        <a:pt x="1118" y="945"/>
                      </a:cubicBezTo>
                      <a:cubicBezTo>
                        <a:pt x="1036" y="950"/>
                        <a:pt x="947" y="941"/>
                        <a:pt x="857" y="918"/>
                      </a:cubicBezTo>
                      <a:lnTo>
                        <a:pt x="940" y="645"/>
                      </a:lnTo>
                      <a:close/>
                      <a:moveTo>
                        <a:pt x="1126" y="341"/>
                      </a:moveTo>
                      <a:cubicBezTo>
                        <a:pt x="1190" y="390"/>
                        <a:pt x="1246" y="449"/>
                        <a:pt x="1292" y="516"/>
                      </a:cubicBezTo>
                      <a:cubicBezTo>
                        <a:pt x="1267" y="538"/>
                        <a:pt x="1234" y="555"/>
                        <a:pt x="1196" y="566"/>
                      </a:cubicBezTo>
                      <a:cubicBezTo>
                        <a:pt x="1193" y="567"/>
                        <a:pt x="1191" y="568"/>
                        <a:pt x="1188" y="568"/>
                      </a:cubicBezTo>
                      <a:cubicBezTo>
                        <a:pt x="1184" y="544"/>
                        <a:pt x="1179" y="519"/>
                        <a:pt x="1174" y="495"/>
                      </a:cubicBezTo>
                      <a:cubicBezTo>
                        <a:pt x="1162" y="441"/>
                        <a:pt x="1145" y="389"/>
                        <a:pt x="1126" y="341"/>
                      </a:cubicBezTo>
                      <a:close/>
                      <a:moveTo>
                        <a:pt x="1352" y="417"/>
                      </a:moveTo>
                      <a:cubicBezTo>
                        <a:pt x="1351" y="423"/>
                        <a:pt x="1350" y="429"/>
                        <a:pt x="1348" y="434"/>
                      </a:cubicBezTo>
                      <a:cubicBezTo>
                        <a:pt x="1348" y="435"/>
                        <a:pt x="1347" y="437"/>
                        <a:pt x="1347" y="438"/>
                      </a:cubicBezTo>
                      <a:cubicBezTo>
                        <a:pt x="1347" y="439"/>
                        <a:pt x="1346" y="441"/>
                        <a:pt x="1345" y="442"/>
                      </a:cubicBezTo>
                      <a:cubicBezTo>
                        <a:pt x="1344" y="445"/>
                        <a:pt x="1343" y="448"/>
                        <a:pt x="1342" y="451"/>
                      </a:cubicBezTo>
                      <a:cubicBezTo>
                        <a:pt x="1318" y="417"/>
                        <a:pt x="1291" y="385"/>
                        <a:pt x="1262" y="356"/>
                      </a:cubicBezTo>
                      <a:cubicBezTo>
                        <a:pt x="1294" y="374"/>
                        <a:pt x="1324" y="394"/>
                        <a:pt x="1352" y="417"/>
                      </a:cubicBezTo>
                      <a:close/>
                      <a:moveTo>
                        <a:pt x="1297" y="243"/>
                      </a:moveTo>
                      <a:cubicBezTo>
                        <a:pt x="1299" y="245"/>
                        <a:pt x="1301" y="247"/>
                        <a:pt x="1302" y="250"/>
                      </a:cubicBezTo>
                      <a:cubicBezTo>
                        <a:pt x="1317" y="269"/>
                        <a:pt x="1329" y="289"/>
                        <a:pt x="1338" y="309"/>
                      </a:cubicBezTo>
                      <a:cubicBezTo>
                        <a:pt x="1291" y="279"/>
                        <a:pt x="1240" y="254"/>
                        <a:pt x="1186" y="234"/>
                      </a:cubicBezTo>
                      <a:cubicBezTo>
                        <a:pt x="1224" y="232"/>
                        <a:pt x="1261" y="235"/>
                        <a:pt x="1297" y="243"/>
                      </a:cubicBezTo>
                      <a:close/>
                      <a:moveTo>
                        <a:pt x="1098" y="127"/>
                      </a:moveTo>
                      <a:cubicBezTo>
                        <a:pt x="1122" y="136"/>
                        <a:pt x="1146" y="146"/>
                        <a:pt x="1169" y="157"/>
                      </a:cubicBezTo>
                      <a:cubicBezTo>
                        <a:pt x="1141" y="159"/>
                        <a:pt x="1112" y="164"/>
                        <a:pt x="1084" y="172"/>
                      </a:cubicBezTo>
                      <a:lnTo>
                        <a:pt x="1098" y="127"/>
                      </a:lnTo>
                      <a:close/>
                      <a:moveTo>
                        <a:pt x="1110" y="581"/>
                      </a:moveTo>
                      <a:cubicBezTo>
                        <a:pt x="1064" y="585"/>
                        <a:pt x="1014" y="581"/>
                        <a:pt x="963" y="570"/>
                      </a:cubicBezTo>
                      <a:cubicBezTo>
                        <a:pt x="1035" y="332"/>
                        <a:pt x="1035" y="332"/>
                        <a:pt x="1035" y="332"/>
                      </a:cubicBezTo>
                      <a:cubicBezTo>
                        <a:pt x="1070" y="404"/>
                        <a:pt x="1095" y="488"/>
                        <a:pt x="1110" y="581"/>
                      </a:cubicBezTo>
                      <a:close/>
                      <a:moveTo>
                        <a:pt x="1022" y="104"/>
                      </a:moveTo>
                      <a:cubicBezTo>
                        <a:pt x="1009" y="148"/>
                        <a:pt x="1009" y="148"/>
                        <a:pt x="1009" y="148"/>
                      </a:cubicBezTo>
                      <a:cubicBezTo>
                        <a:pt x="990" y="127"/>
                        <a:pt x="969" y="107"/>
                        <a:pt x="947" y="89"/>
                      </a:cubicBezTo>
                      <a:cubicBezTo>
                        <a:pt x="972" y="93"/>
                        <a:pt x="997" y="97"/>
                        <a:pt x="1022" y="104"/>
                      </a:cubicBezTo>
                      <a:close/>
                      <a:moveTo>
                        <a:pt x="791" y="89"/>
                      </a:moveTo>
                      <a:cubicBezTo>
                        <a:pt x="792" y="90"/>
                        <a:pt x="792" y="90"/>
                        <a:pt x="793" y="90"/>
                      </a:cubicBezTo>
                      <a:cubicBezTo>
                        <a:pt x="793" y="89"/>
                        <a:pt x="793" y="89"/>
                        <a:pt x="793" y="89"/>
                      </a:cubicBezTo>
                      <a:cubicBezTo>
                        <a:pt x="793" y="89"/>
                        <a:pt x="793" y="89"/>
                        <a:pt x="793" y="89"/>
                      </a:cubicBezTo>
                      <a:cubicBezTo>
                        <a:pt x="793" y="90"/>
                        <a:pt x="793" y="90"/>
                        <a:pt x="793" y="90"/>
                      </a:cubicBezTo>
                      <a:cubicBezTo>
                        <a:pt x="827" y="103"/>
                        <a:pt x="860" y="121"/>
                        <a:pt x="889" y="144"/>
                      </a:cubicBezTo>
                      <a:cubicBezTo>
                        <a:pt x="833" y="130"/>
                        <a:pt x="776" y="123"/>
                        <a:pt x="720" y="122"/>
                      </a:cubicBezTo>
                      <a:cubicBezTo>
                        <a:pt x="741" y="109"/>
                        <a:pt x="764" y="98"/>
                        <a:pt x="791" y="89"/>
                      </a:cubicBezTo>
                      <a:close/>
                      <a:moveTo>
                        <a:pt x="641" y="223"/>
                      </a:moveTo>
                      <a:cubicBezTo>
                        <a:pt x="642" y="222"/>
                        <a:pt x="642" y="221"/>
                        <a:pt x="642" y="220"/>
                      </a:cubicBezTo>
                      <a:cubicBezTo>
                        <a:pt x="643" y="218"/>
                        <a:pt x="644" y="215"/>
                        <a:pt x="645" y="212"/>
                      </a:cubicBezTo>
                      <a:cubicBezTo>
                        <a:pt x="646" y="209"/>
                        <a:pt x="647" y="206"/>
                        <a:pt x="648" y="203"/>
                      </a:cubicBezTo>
                      <a:cubicBezTo>
                        <a:pt x="685" y="200"/>
                        <a:pt x="722" y="200"/>
                        <a:pt x="760" y="203"/>
                      </a:cubicBezTo>
                      <a:cubicBezTo>
                        <a:pt x="718" y="211"/>
                        <a:pt x="678" y="223"/>
                        <a:pt x="638" y="238"/>
                      </a:cubicBezTo>
                      <a:cubicBezTo>
                        <a:pt x="639" y="233"/>
                        <a:pt x="640" y="228"/>
                        <a:pt x="641" y="223"/>
                      </a:cubicBezTo>
                      <a:close/>
                      <a:moveTo>
                        <a:pt x="609" y="98"/>
                      </a:moveTo>
                      <a:cubicBezTo>
                        <a:pt x="616" y="96"/>
                        <a:pt x="624" y="94"/>
                        <a:pt x="632" y="92"/>
                      </a:cubicBezTo>
                      <a:cubicBezTo>
                        <a:pt x="623" y="100"/>
                        <a:pt x="615" y="109"/>
                        <a:pt x="608" y="119"/>
                      </a:cubicBezTo>
                      <a:cubicBezTo>
                        <a:pt x="593" y="124"/>
                        <a:pt x="578" y="129"/>
                        <a:pt x="564" y="135"/>
                      </a:cubicBezTo>
                      <a:cubicBezTo>
                        <a:pt x="538" y="140"/>
                        <a:pt x="512" y="146"/>
                        <a:pt x="487" y="153"/>
                      </a:cubicBezTo>
                      <a:cubicBezTo>
                        <a:pt x="522" y="130"/>
                        <a:pt x="563" y="112"/>
                        <a:pt x="609" y="98"/>
                      </a:cubicBezTo>
                      <a:close/>
                      <a:moveTo>
                        <a:pt x="335" y="377"/>
                      </a:moveTo>
                      <a:cubicBezTo>
                        <a:pt x="337" y="361"/>
                        <a:pt x="341" y="344"/>
                        <a:pt x="345" y="328"/>
                      </a:cubicBezTo>
                      <a:cubicBezTo>
                        <a:pt x="347" y="323"/>
                        <a:pt x="348" y="319"/>
                        <a:pt x="350" y="314"/>
                      </a:cubicBezTo>
                      <a:cubicBezTo>
                        <a:pt x="353" y="305"/>
                        <a:pt x="357" y="296"/>
                        <a:pt x="362" y="287"/>
                      </a:cubicBezTo>
                      <a:cubicBezTo>
                        <a:pt x="425" y="254"/>
                        <a:pt x="493" y="230"/>
                        <a:pt x="562" y="216"/>
                      </a:cubicBezTo>
                      <a:cubicBezTo>
                        <a:pt x="561" y="220"/>
                        <a:pt x="560" y="225"/>
                        <a:pt x="559" y="230"/>
                      </a:cubicBezTo>
                      <a:cubicBezTo>
                        <a:pt x="557" y="244"/>
                        <a:pt x="556" y="258"/>
                        <a:pt x="557" y="273"/>
                      </a:cubicBezTo>
                      <a:cubicBezTo>
                        <a:pt x="541" y="281"/>
                        <a:pt x="525" y="289"/>
                        <a:pt x="509" y="298"/>
                      </a:cubicBezTo>
                      <a:cubicBezTo>
                        <a:pt x="447" y="333"/>
                        <a:pt x="388" y="377"/>
                        <a:pt x="334" y="428"/>
                      </a:cubicBezTo>
                      <a:cubicBezTo>
                        <a:pt x="333" y="411"/>
                        <a:pt x="333" y="394"/>
                        <a:pt x="335" y="377"/>
                      </a:cubicBezTo>
                      <a:close/>
                      <a:moveTo>
                        <a:pt x="122" y="615"/>
                      </a:moveTo>
                      <a:cubicBezTo>
                        <a:pt x="122" y="615"/>
                        <a:pt x="122" y="615"/>
                        <a:pt x="122" y="615"/>
                      </a:cubicBezTo>
                      <a:cubicBezTo>
                        <a:pt x="122" y="615"/>
                        <a:pt x="123" y="614"/>
                        <a:pt x="123" y="614"/>
                      </a:cubicBezTo>
                      <a:cubicBezTo>
                        <a:pt x="125" y="605"/>
                        <a:pt x="128" y="597"/>
                        <a:pt x="131" y="588"/>
                      </a:cubicBezTo>
                      <a:cubicBezTo>
                        <a:pt x="160" y="502"/>
                        <a:pt x="204" y="425"/>
                        <a:pt x="258" y="359"/>
                      </a:cubicBezTo>
                      <a:cubicBezTo>
                        <a:pt x="255" y="382"/>
                        <a:pt x="254" y="405"/>
                        <a:pt x="255" y="428"/>
                      </a:cubicBezTo>
                      <a:cubicBezTo>
                        <a:pt x="256" y="452"/>
                        <a:pt x="260" y="476"/>
                        <a:pt x="265" y="500"/>
                      </a:cubicBezTo>
                      <a:cubicBezTo>
                        <a:pt x="202" y="573"/>
                        <a:pt x="150" y="658"/>
                        <a:pt x="109" y="751"/>
                      </a:cubicBezTo>
                      <a:cubicBezTo>
                        <a:pt x="105" y="705"/>
                        <a:pt x="109" y="659"/>
                        <a:pt x="122" y="615"/>
                      </a:cubicBezTo>
                      <a:close/>
                      <a:moveTo>
                        <a:pt x="286" y="1340"/>
                      </a:moveTo>
                      <a:cubicBezTo>
                        <a:pt x="204" y="1250"/>
                        <a:pt x="145" y="1141"/>
                        <a:pt x="114" y="1023"/>
                      </a:cubicBezTo>
                      <a:cubicBezTo>
                        <a:pt x="115" y="1015"/>
                        <a:pt x="116" y="1008"/>
                        <a:pt x="118" y="1001"/>
                      </a:cubicBezTo>
                      <a:cubicBezTo>
                        <a:pt x="129" y="1019"/>
                        <a:pt x="141" y="1036"/>
                        <a:pt x="155" y="1054"/>
                      </a:cubicBezTo>
                      <a:cubicBezTo>
                        <a:pt x="197" y="1109"/>
                        <a:pt x="250" y="1162"/>
                        <a:pt x="310" y="1209"/>
                      </a:cubicBezTo>
                      <a:cubicBezTo>
                        <a:pt x="300" y="1253"/>
                        <a:pt x="293" y="1297"/>
                        <a:pt x="286" y="1340"/>
                      </a:cubicBezTo>
                      <a:close/>
                      <a:moveTo>
                        <a:pt x="348" y="1061"/>
                      </a:moveTo>
                      <a:cubicBezTo>
                        <a:pt x="342" y="1082"/>
                        <a:pt x="336" y="1103"/>
                        <a:pt x="331" y="1124"/>
                      </a:cubicBezTo>
                      <a:cubicBezTo>
                        <a:pt x="287" y="1087"/>
                        <a:pt x="249" y="1047"/>
                        <a:pt x="217" y="1006"/>
                      </a:cubicBezTo>
                      <a:cubicBezTo>
                        <a:pt x="187" y="966"/>
                        <a:pt x="163" y="925"/>
                        <a:pt x="145" y="884"/>
                      </a:cubicBezTo>
                      <a:cubicBezTo>
                        <a:pt x="145" y="883"/>
                        <a:pt x="145" y="882"/>
                        <a:pt x="146" y="881"/>
                      </a:cubicBezTo>
                      <a:cubicBezTo>
                        <a:pt x="149" y="871"/>
                        <a:pt x="152" y="861"/>
                        <a:pt x="155" y="851"/>
                      </a:cubicBezTo>
                      <a:cubicBezTo>
                        <a:pt x="189" y="753"/>
                        <a:pt x="237" y="665"/>
                        <a:pt x="295" y="588"/>
                      </a:cubicBezTo>
                      <a:cubicBezTo>
                        <a:pt x="312" y="626"/>
                        <a:pt x="335" y="662"/>
                        <a:pt x="361" y="697"/>
                      </a:cubicBezTo>
                      <a:cubicBezTo>
                        <a:pt x="387" y="731"/>
                        <a:pt x="418" y="764"/>
                        <a:pt x="452" y="794"/>
                      </a:cubicBezTo>
                      <a:cubicBezTo>
                        <a:pt x="418" y="866"/>
                        <a:pt x="387" y="942"/>
                        <a:pt x="361" y="1022"/>
                      </a:cubicBezTo>
                      <a:cubicBezTo>
                        <a:pt x="357" y="1035"/>
                        <a:pt x="352" y="1048"/>
                        <a:pt x="348" y="1061"/>
                      </a:cubicBezTo>
                      <a:close/>
                      <a:moveTo>
                        <a:pt x="586" y="1540"/>
                      </a:moveTo>
                      <a:cubicBezTo>
                        <a:pt x="500" y="1509"/>
                        <a:pt x="423" y="1464"/>
                        <a:pt x="357" y="1408"/>
                      </a:cubicBezTo>
                      <a:cubicBezTo>
                        <a:pt x="363" y="1359"/>
                        <a:pt x="370" y="1309"/>
                        <a:pt x="380" y="1259"/>
                      </a:cubicBezTo>
                      <a:cubicBezTo>
                        <a:pt x="456" y="1308"/>
                        <a:pt x="541" y="1350"/>
                        <a:pt x="634" y="1382"/>
                      </a:cubicBezTo>
                      <a:lnTo>
                        <a:pt x="586" y="1540"/>
                      </a:lnTo>
                      <a:close/>
                      <a:moveTo>
                        <a:pt x="399" y="1176"/>
                      </a:moveTo>
                      <a:cubicBezTo>
                        <a:pt x="406" y="1146"/>
                        <a:pt x="414" y="1115"/>
                        <a:pt x="424" y="1084"/>
                      </a:cubicBezTo>
                      <a:cubicBezTo>
                        <a:pt x="428" y="1072"/>
                        <a:pt x="432" y="1059"/>
                        <a:pt x="436" y="1046"/>
                      </a:cubicBezTo>
                      <a:cubicBezTo>
                        <a:pt x="459" y="976"/>
                        <a:pt x="486" y="908"/>
                        <a:pt x="515" y="845"/>
                      </a:cubicBezTo>
                      <a:cubicBezTo>
                        <a:pt x="586" y="896"/>
                        <a:pt x="668" y="939"/>
                        <a:pt x="759" y="971"/>
                      </a:cubicBezTo>
                      <a:cubicBezTo>
                        <a:pt x="657" y="1306"/>
                        <a:pt x="657" y="1306"/>
                        <a:pt x="657" y="1306"/>
                      </a:cubicBezTo>
                      <a:cubicBezTo>
                        <a:pt x="560" y="1273"/>
                        <a:pt x="473" y="1228"/>
                        <a:pt x="399" y="1176"/>
                      </a:cubicBezTo>
                      <a:close/>
                      <a:moveTo>
                        <a:pt x="926" y="1580"/>
                      </a:moveTo>
                      <a:cubicBezTo>
                        <a:pt x="839" y="1590"/>
                        <a:pt x="750" y="1585"/>
                        <a:pt x="661" y="1563"/>
                      </a:cubicBezTo>
                      <a:cubicBezTo>
                        <a:pt x="710" y="1405"/>
                        <a:pt x="710" y="1405"/>
                        <a:pt x="710" y="1405"/>
                      </a:cubicBezTo>
                      <a:cubicBezTo>
                        <a:pt x="805" y="1430"/>
                        <a:pt x="899" y="1443"/>
                        <a:pt x="990" y="1444"/>
                      </a:cubicBezTo>
                      <a:cubicBezTo>
                        <a:pt x="970" y="1491"/>
                        <a:pt x="949" y="1537"/>
                        <a:pt x="926" y="1580"/>
                      </a:cubicBezTo>
                      <a:close/>
                      <a:moveTo>
                        <a:pt x="732" y="1329"/>
                      </a:moveTo>
                      <a:cubicBezTo>
                        <a:pt x="834" y="994"/>
                        <a:pt x="834" y="994"/>
                        <a:pt x="834" y="994"/>
                      </a:cubicBezTo>
                      <a:cubicBezTo>
                        <a:pt x="928" y="1018"/>
                        <a:pt x="1020" y="1028"/>
                        <a:pt x="1108" y="1024"/>
                      </a:cubicBezTo>
                      <a:cubicBezTo>
                        <a:pt x="1095" y="1106"/>
                        <a:pt x="1076" y="1189"/>
                        <a:pt x="1051" y="1273"/>
                      </a:cubicBezTo>
                      <a:cubicBezTo>
                        <a:pt x="1047" y="1286"/>
                        <a:pt x="1043" y="1299"/>
                        <a:pt x="1039" y="1311"/>
                      </a:cubicBezTo>
                      <a:cubicBezTo>
                        <a:pt x="1033" y="1329"/>
                        <a:pt x="1027" y="1347"/>
                        <a:pt x="1020" y="1365"/>
                      </a:cubicBezTo>
                      <a:cubicBezTo>
                        <a:pt x="929" y="1367"/>
                        <a:pt x="831" y="1355"/>
                        <a:pt x="732" y="1329"/>
                      </a:cubicBezTo>
                      <a:close/>
                      <a:moveTo>
                        <a:pt x="1343" y="1393"/>
                      </a:moveTo>
                      <a:cubicBezTo>
                        <a:pt x="1251" y="1475"/>
                        <a:pt x="1141" y="1533"/>
                        <a:pt x="1023" y="1562"/>
                      </a:cubicBezTo>
                      <a:cubicBezTo>
                        <a:pt x="1042" y="1523"/>
                        <a:pt x="1060" y="1483"/>
                        <a:pt x="1076" y="1441"/>
                      </a:cubicBezTo>
                      <a:cubicBezTo>
                        <a:pt x="1142" y="1436"/>
                        <a:pt x="1204" y="1425"/>
                        <a:pt x="1263" y="1407"/>
                      </a:cubicBezTo>
                      <a:cubicBezTo>
                        <a:pt x="1294" y="1398"/>
                        <a:pt x="1323" y="1387"/>
                        <a:pt x="1351" y="1374"/>
                      </a:cubicBezTo>
                      <a:cubicBezTo>
                        <a:pt x="1348" y="1381"/>
                        <a:pt x="1346" y="1387"/>
                        <a:pt x="1343" y="1393"/>
                      </a:cubicBezTo>
                      <a:close/>
                      <a:moveTo>
                        <a:pt x="1395" y="1260"/>
                      </a:moveTo>
                      <a:cubicBezTo>
                        <a:pt x="1394" y="1260"/>
                        <a:pt x="1394" y="1261"/>
                        <a:pt x="1394" y="1262"/>
                      </a:cubicBezTo>
                      <a:cubicBezTo>
                        <a:pt x="1349" y="1291"/>
                        <a:pt x="1298" y="1314"/>
                        <a:pt x="1240" y="1331"/>
                      </a:cubicBezTo>
                      <a:cubicBezTo>
                        <a:pt x="1198" y="1344"/>
                        <a:pt x="1153" y="1353"/>
                        <a:pt x="1106" y="1359"/>
                      </a:cubicBezTo>
                      <a:cubicBezTo>
                        <a:pt x="1109" y="1351"/>
                        <a:pt x="1111" y="1344"/>
                        <a:pt x="1114" y="1336"/>
                      </a:cubicBezTo>
                      <a:cubicBezTo>
                        <a:pt x="1118" y="1323"/>
                        <a:pt x="1122" y="1310"/>
                        <a:pt x="1126" y="1296"/>
                      </a:cubicBezTo>
                      <a:cubicBezTo>
                        <a:pt x="1155" y="1202"/>
                        <a:pt x="1175" y="1109"/>
                        <a:pt x="1188" y="1017"/>
                      </a:cubicBezTo>
                      <a:cubicBezTo>
                        <a:pt x="1225" y="1012"/>
                        <a:pt x="1260" y="1004"/>
                        <a:pt x="1294" y="994"/>
                      </a:cubicBezTo>
                      <a:cubicBezTo>
                        <a:pt x="1344" y="979"/>
                        <a:pt x="1391" y="959"/>
                        <a:pt x="1433" y="933"/>
                      </a:cubicBezTo>
                      <a:cubicBezTo>
                        <a:pt x="1440" y="1039"/>
                        <a:pt x="1428" y="1150"/>
                        <a:pt x="1395" y="1260"/>
                      </a:cubicBezTo>
                      <a:close/>
                      <a:moveTo>
                        <a:pt x="1431" y="604"/>
                      </a:moveTo>
                      <a:cubicBezTo>
                        <a:pt x="1419" y="577"/>
                        <a:pt x="1405" y="551"/>
                        <a:pt x="1390" y="525"/>
                      </a:cubicBezTo>
                      <a:cubicBezTo>
                        <a:pt x="1398" y="514"/>
                        <a:pt x="1405" y="502"/>
                        <a:pt x="1411" y="489"/>
                      </a:cubicBezTo>
                      <a:cubicBezTo>
                        <a:pt x="1414" y="484"/>
                        <a:pt x="1416" y="480"/>
                        <a:pt x="1417" y="475"/>
                      </a:cubicBezTo>
                      <a:cubicBezTo>
                        <a:pt x="1467" y="525"/>
                        <a:pt x="1510" y="582"/>
                        <a:pt x="1544" y="645"/>
                      </a:cubicBezTo>
                      <a:cubicBezTo>
                        <a:pt x="1542" y="660"/>
                        <a:pt x="1539" y="674"/>
                        <a:pt x="1535" y="689"/>
                      </a:cubicBezTo>
                      <a:cubicBezTo>
                        <a:pt x="1533" y="694"/>
                        <a:pt x="1532" y="698"/>
                        <a:pt x="1530" y="703"/>
                      </a:cubicBezTo>
                      <a:cubicBezTo>
                        <a:pt x="1526" y="714"/>
                        <a:pt x="1521" y="725"/>
                        <a:pt x="1515" y="736"/>
                      </a:cubicBezTo>
                      <a:cubicBezTo>
                        <a:pt x="1508" y="751"/>
                        <a:pt x="1499" y="764"/>
                        <a:pt x="1489" y="777"/>
                      </a:cubicBezTo>
                      <a:cubicBezTo>
                        <a:pt x="1476" y="717"/>
                        <a:pt x="1456" y="659"/>
                        <a:pt x="1431" y="604"/>
                      </a:cubicBezTo>
                      <a:close/>
                      <a:moveTo>
                        <a:pt x="1561" y="1051"/>
                      </a:moveTo>
                      <a:cubicBezTo>
                        <a:pt x="1558" y="1060"/>
                        <a:pt x="1555" y="1069"/>
                        <a:pt x="1552" y="1078"/>
                      </a:cubicBezTo>
                      <a:cubicBezTo>
                        <a:pt x="1555" y="1069"/>
                        <a:pt x="1558" y="1061"/>
                        <a:pt x="1560" y="1052"/>
                      </a:cubicBezTo>
                      <a:cubicBezTo>
                        <a:pt x="1560" y="1052"/>
                        <a:pt x="1560" y="1052"/>
                        <a:pt x="1560" y="1052"/>
                      </a:cubicBezTo>
                      <a:cubicBezTo>
                        <a:pt x="1559" y="1058"/>
                        <a:pt x="1557" y="1063"/>
                        <a:pt x="1555" y="1069"/>
                      </a:cubicBezTo>
                      <a:cubicBezTo>
                        <a:pt x="1542" y="1105"/>
                        <a:pt x="1522" y="1139"/>
                        <a:pt x="1497" y="1170"/>
                      </a:cubicBezTo>
                      <a:cubicBezTo>
                        <a:pt x="1515" y="1071"/>
                        <a:pt x="1518" y="972"/>
                        <a:pt x="1507" y="876"/>
                      </a:cubicBezTo>
                      <a:cubicBezTo>
                        <a:pt x="1524" y="860"/>
                        <a:pt x="1540" y="842"/>
                        <a:pt x="1554" y="823"/>
                      </a:cubicBezTo>
                      <a:cubicBezTo>
                        <a:pt x="1568" y="805"/>
                        <a:pt x="1580" y="785"/>
                        <a:pt x="1590" y="764"/>
                      </a:cubicBezTo>
                      <a:cubicBezTo>
                        <a:pt x="1599" y="858"/>
                        <a:pt x="1590" y="955"/>
                        <a:pt x="1561" y="105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>
                  <a:outerShdw blurRad="63500" sx="102000" sy="102000" algn="ctr" rotWithShape="0">
                    <a:srgbClr val="702D89">
                      <a:alpha val="60000"/>
                    </a:srgbClr>
                  </a:outerShdw>
                </a:effectLst>
              </p:spPr>
              <p:txBody>
                <a:bodyPr/>
                <a:lstStyle/>
                <a:p>
                  <a:pPr defTabSz="914217">
                    <a:defRPr/>
                  </a:pPr>
                  <a:endParaRPr lang="en-US" kern="0" dirty="0">
                    <a:solidFill>
                      <a:srgbClr val="FFFFFF"/>
                    </a:solidFill>
                    <a:ea typeface="ＭＳ Ｐゴシック" charset="0"/>
                    <a:cs typeface="Arial" pitchFamily="34" charset="0"/>
                  </a:endParaRPr>
                </a:p>
              </p:txBody>
            </p:sp>
            <p:grpSp>
              <p:nvGrpSpPr>
                <p:cNvPr id="130" name="Group 118"/>
                <p:cNvGrpSpPr>
                  <a:grpSpLocks/>
                </p:cNvGrpSpPr>
                <p:nvPr/>
              </p:nvGrpSpPr>
              <p:grpSpPr bwMode="auto">
                <a:xfrm>
                  <a:off x="4436264" y="1865059"/>
                  <a:ext cx="619128" cy="615933"/>
                  <a:chOff x="4613809" y="-3078925"/>
                  <a:chExt cx="1247172" cy="1247172"/>
                </a:xfrm>
              </p:grpSpPr>
              <p:sp>
                <p:nvSpPr>
                  <p:cNvPr id="139" name="Freeform 60"/>
                  <p:cNvSpPr>
                    <a:spLocks/>
                  </p:cNvSpPr>
                  <p:nvPr/>
                </p:nvSpPr>
                <p:spPr bwMode="auto">
                  <a:xfrm>
                    <a:off x="4613783" y="-3078569"/>
                    <a:ext cx="593333" cy="821599"/>
                  </a:xfrm>
                  <a:custGeom>
                    <a:avLst/>
                    <a:gdLst/>
                    <a:ahLst/>
                    <a:cxnLst>
                      <a:cxn ang="0">
                        <a:pos x="81" y="26"/>
                      </a:cxn>
                      <a:cxn ang="0">
                        <a:pos x="121" y="13"/>
                      </a:cxn>
                      <a:cxn ang="0">
                        <a:pos x="121" y="0"/>
                      </a:cxn>
                      <a:cxn ang="0">
                        <a:pos x="74" y="15"/>
                      </a:cxn>
                      <a:cxn ang="0">
                        <a:pos x="24" y="167"/>
                      </a:cxn>
                      <a:cxn ang="0">
                        <a:pos x="36" y="160"/>
                      </a:cxn>
                      <a:cxn ang="0">
                        <a:pos x="81" y="26"/>
                      </a:cxn>
                    </a:cxnLst>
                    <a:rect l="0" t="0" r="r" b="b"/>
                    <a:pathLst>
                      <a:path w="121" h="167">
                        <a:moveTo>
                          <a:pt x="81" y="26"/>
                        </a:moveTo>
                        <a:cubicBezTo>
                          <a:pt x="94" y="19"/>
                          <a:pt x="107" y="15"/>
                          <a:pt x="121" y="13"/>
                        </a:cubicBezTo>
                        <a:cubicBezTo>
                          <a:pt x="121" y="0"/>
                          <a:pt x="121" y="0"/>
                          <a:pt x="121" y="0"/>
                        </a:cubicBezTo>
                        <a:cubicBezTo>
                          <a:pt x="104" y="1"/>
                          <a:pt x="89" y="6"/>
                          <a:pt x="74" y="15"/>
                        </a:cubicBezTo>
                        <a:cubicBezTo>
                          <a:pt x="21" y="46"/>
                          <a:pt x="0" y="112"/>
                          <a:pt x="24" y="167"/>
                        </a:cubicBezTo>
                        <a:cubicBezTo>
                          <a:pt x="36" y="160"/>
                          <a:pt x="36" y="160"/>
                          <a:pt x="36" y="160"/>
                        </a:cubicBezTo>
                        <a:cubicBezTo>
                          <a:pt x="15" y="111"/>
                          <a:pt x="34" y="54"/>
                          <a:pt x="81" y="26"/>
                        </a:cubicBezTo>
                      </a:path>
                    </a:pathLst>
                  </a:custGeom>
                  <a:solidFill>
                    <a:srgbClr val="FFFFFF">
                      <a:alpha val="23000"/>
                    </a:srgbClr>
                  </a:solidFill>
                  <a:ln>
                    <a:noFill/>
                  </a:ln>
                  <a:effectLst>
                    <a:outerShdw blurRad="63500" sx="102000" sy="102000" algn="ctr" rotWithShape="0">
                      <a:srgbClr val="702D89">
                        <a:alpha val="60000"/>
                      </a:srgbClr>
                    </a:outerShdw>
                  </a:effectLst>
                </p:spPr>
                <p:txBody>
                  <a:bodyPr/>
                  <a:lstStyle/>
                  <a:p>
                    <a:pPr defTabSz="914217">
                      <a:defRPr/>
                    </a:pPr>
                    <a:endParaRPr lang="en-US" kern="0" dirty="0">
                      <a:solidFill>
                        <a:srgbClr val="FFFFFF"/>
                      </a:solidFill>
                      <a:ea typeface="ＭＳ Ｐゴシック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40" name="Freeform 61"/>
                  <p:cNvSpPr>
                    <a:spLocks/>
                  </p:cNvSpPr>
                  <p:nvPr/>
                </p:nvSpPr>
                <p:spPr bwMode="auto">
                  <a:xfrm>
                    <a:off x="4793678" y="-2177971"/>
                    <a:ext cx="953120" cy="347599"/>
                  </a:xfrm>
                  <a:custGeom>
                    <a:avLst/>
                    <a:gdLst/>
                    <a:ahLst/>
                    <a:cxnLst>
                      <a:cxn ang="0">
                        <a:pos x="44" y="28"/>
                      </a:cxn>
                      <a:cxn ang="0">
                        <a:pos x="12" y="0"/>
                      </a:cxn>
                      <a:cxn ang="0">
                        <a:pos x="0" y="7"/>
                      </a:cxn>
                      <a:cxn ang="0">
                        <a:pos x="37" y="40"/>
                      </a:cxn>
                      <a:cxn ang="0">
                        <a:pos x="194" y="7"/>
                      </a:cxn>
                      <a:cxn ang="0">
                        <a:pos x="182" y="0"/>
                      </a:cxn>
                      <a:cxn ang="0">
                        <a:pos x="44" y="28"/>
                      </a:cxn>
                    </a:cxnLst>
                    <a:rect l="0" t="0" r="r" b="b"/>
                    <a:pathLst>
                      <a:path w="194" h="71">
                        <a:moveTo>
                          <a:pt x="44" y="28"/>
                        </a:moveTo>
                        <a:cubicBezTo>
                          <a:pt x="31" y="21"/>
                          <a:pt x="20" y="12"/>
                          <a:pt x="12" y="0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10" y="21"/>
                          <a:pt x="22" y="31"/>
                          <a:pt x="37" y="40"/>
                        </a:cubicBezTo>
                        <a:cubicBezTo>
                          <a:pt x="90" y="71"/>
                          <a:pt x="158" y="56"/>
                          <a:pt x="194" y="7"/>
                        </a:cubicBezTo>
                        <a:cubicBezTo>
                          <a:pt x="182" y="0"/>
                          <a:pt x="182" y="0"/>
                          <a:pt x="182" y="0"/>
                        </a:cubicBezTo>
                        <a:cubicBezTo>
                          <a:pt x="150" y="43"/>
                          <a:pt x="91" y="55"/>
                          <a:pt x="44" y="28"/>
                        </a:cubicBezTo>
                      </a:path>
                    </a:pathLst>
                  </a:custGeom>
                  <a:solidFill>
                    <a:srgbClr val="FFFFFF">
                      <a:alpha val="23000"/>
                    </a:srgbClr>
                  </a:solidFill>
                  <a:ln>
                    <a:noFill/>
                  </a:ln>
                  <a:effectLst>
                    <a:outerShdw blurRad="63500" sx="102000" sy="102000" algn="ctr" rotWithShape="0">
                      <a:srgbClr val="702D89">
                        <a:alpha val="60000"/>
                      </a:srgbClr>
                    </a:outerShdw>
                  </a:effectLst>
                </p:spPr>
                <p:txBody>
                  <a:bodyPr/>
                  <a:lstStyle/>
                  <a:p>
                    <a:pPr defTabSz="914217">
                      <a:defRPr/>
                    </a:pPr>
                    <a:endParaRPr lang="en-US" kern="0" dirty="0">
                      <a:solidFill>
                        <a:srgbClr val="FFFFFF"/>
                      </a:solidFill>
                      <a:ea typeface="ＭＳ Ｐゴシック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41" name="Freeform 62"/>
                  <p:cNvSpPr>
                    <a:spLocks/>
                  </p:cNvSpPr>
                  <p:nvPr/>
                </p:nvSpPr>
                <p:spPr bwMode="auto">
                  <a:xfrm>
                    <a:off x="5333357" y="-3078569"/>
                    <a:ext cx="527057" cy="821599"/>
                  </a:xfrm>
                  <a:custGeom>
                    <a:avLst/>
                    <a:gdLst/>
                    <a:ahLst/>
                    <a:cxnLst>
                      <a:cxn ang="0">
                        <a:pos x="94" y="119"/>
                      </a:cxn>
                      <a:cxn ang="0">
                        <a:pos x="85" y="160"/>
                      </a:cxn>
                      <a:cxn ang="0">
                        <a:pos x="97" y="167"/>
                      </a:cxn>
                      <a:cxn ang="0">
                        <a:pos x="107" y="119"/>
                      </a:cxn>
                      <a:cxn ang="0">
                        <a:pos x="0" y="0"/>
                      </a:cxn>
                      <a:cxn ang="0">
                        <a:pos x="0" y="13"/>
                      </a:cxn>
                      <a:cxn ang="0">
                        <a:pos x="94" y="119"/>
                      </a:cxn>
                    </a:cxnLst>
                    <a:rect l="0" t="0" r="r" b="b"/>
                    <a:pathLst>
                      <a:path w="107" h="167">
                        <a:moveTo>
                          <a:pt x="94" y="119"/>
                        </a:moveTo>
                        <a:cubicBezTo>
                          <a:pt x="94" y="134"/>
                          <a:pt x="91" y="147"/>
                          <a:pt x="85" y="160"/>
                        </a:cubicBezTo>
                        <a:cubicBezTo>
                          <a:pt x="97" y="167"/>
                          <a:pt x="97" y="167"/>
                          <a:pt x="97" y="167"/>
                        </a:cubicBezTo>
                        <a:cubicBezTo>
                          <a:pt x="104" y="152"/>
                          <a:pt x="107" y="136"/>
                          <a:pt x="107" y="119"/>
                        </a:cubicBezTo>
                        <a:cubicBezTo>
                          <a:pt x="107" y="57"/>
                          <a:pt x="60" y="6"/>
                          <a:pt x="0" y="0"/>
                        </a:cubicBez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53" y="20"/>
                          <a:pt x="94" y="64"/>
                          <a:pt x="94" y="119"/>
                        </a:cubicBezTo>
                      </a:path>
                    </a:pathLst>
                  </a:custGeom>
                  <a:solidFill>
                    <a:srgbClr val="FFFFFF">
                      <a:alpha val="23000"/>
                    </a:srgbClr>
                  </a:solidFill>
                  <a:ln>
                    <a:noFill/>
                  </a:ln>
                  <a:effectLst>
                    <a:outerShdw blurRad="63500" sx="102000" sy="102000" algn="ctr" rotWithShape="0">
                      <a:srgbClr val="702D89">
                        <a:alpha val="60000"/>
                      </a:srgbClr>
                    </a:outerShdw>
                  </a:effectLst>
                </p:spPr>
                <p:txBody>
                  <a:bodyPr/>
                  <a:lstStyle/>
                  <a:p>
                    <a:pPr defTabSz="914217">
                      <a:defRPr/>
                    </a:pPr>
                    <a:endParaRPr lang="en-US" kern="0" dirty="0">
                      <a:solidFill>
                        <a:srgbClr val="FFFFFF"/>
                      </a:solidFill>
                      <a:ea typeface="ＭＳ Ｐゴシック" charset="0"/>
                      <a:cs typeface="Arial" pitchFamily="34" charset="0"/>
                    </a:endParaRPr>
                  </a:p>
                </p:txBody>
              </p:sp>
            </p:grpSp>
            <p:grpSp>
              <p:nvGrpSpPr>
                <p:cNvPr id="131" name="Group 119"/>
                <p:cNvGrpSpPr>
                  <a:grpSpLocks/>
                </p:cNvGrpSpPr>
                <p:nvPr/>
              </p:nvGrpSpPr>
              <p:grpSpPr bwMode="auto">
                <a:xfrm>
                  <a:off x="4508258" y="1929138"/>
                  <a:ext cx="480856" cy="477347"/>
                  <a:chOff x="4759312" y="-2950050"/>
                  <a:chExt cx="968637" cy="966556"/>
                </a:xfrm>
              </p:grpSpPr>
              <p:sp>
                <p:nvSpPr>
                  <p:cNvPr id="136" name="Freeform 63"/>
                  <p:cNvSpPr>
                    <a:spLocks/>
                  </p:cNvSpPr>
                  <p:nvPr/>
                </p:nvSpPr>
                <p:spPr bwMode="auto">
                  <a:xfrm>
                    <a:off x="4759437" y="-2949885"/>
                    <a:ext cx="448156" cy="622520"/>
                  </a:xfrm>
                  <a:custGeom>
                    <a:avLst/>
                    <a:gdLst/>
                    <a:ahLst/>
                    <a:cxnLst>
                      <a:cxn ang="0">
                        <a:pos x="64" y="24"/>
                      </a:cxn>
                      <a:cxn ang="0">
                        <a:pos x="91" y="14"/>
                      </a:cxn>
                      <a:cxn ang="0">
                        <a:pos x="91" y="0"/>
                      </a:cxn>
                      <a:cxn ang="0">
                        <a:pos x="57" y="12"/>
                      </a:cxn>
                      <a:cxn ang="0">
                        <a:pos x="17" y="127"/>
                      </a:cxn>
                      <a:cxn ang="0">
                        <a:pos x="29" y="121"/>
                      </a:cxn>
                      <a:cxn ang="0">
                        <a:pos x="64" y="24"/>
                      </a:cxn>
                    </a:cxnLst>
                    <a:rect l="0" t="0" r="r" b="b"/>
                    <a:pathLst>
                      <a:path w="91" h="127">
                        <a:moveTo>
                          <a:pt x="64" y="24"/>
                        </a:moveTo>
                        <a:cubicBezTo>
                          <a:pt x="73" y="19"/>
                          <a:pt x="81" y="16"/>
                          <a:pt x="91" y="14"/>
                        </a:cubicBezTo>
                        <a:cubicBezTo>
                          <a:pt x="91" y="0"/>
                          <a:pt x="91" y="0"/>
                          <a:pt x="91" y="0"/>
                        </a:cubicBezTo>
                        <a:cubicBezTo>
                          <a:pt x="79" y="2"/>
                          <a:pt x="68" y="6"/>
                          <a:pt x="57" y="12"/>
                        </a:cubicBezTo>
                        <a:cubicBezTo>
                          <a:pt x="17" y="36"/>
                          <a:pt x="0" y="85"/>
                          <a:pt x="17" y="127"/>
                        </a:cubicBezTo>
                        <a:cubicBezTo>
                          <a:pt x="29" y="121"/>
                          <a:pt x="29" y="121"/>
                          <a:pt x="29" y="121"/>
                        </a:cubicBezTo>
                        <a:cubicBezTo>
                          <a:pt x="16" y="85"/>
                          <a:pt x="30" y="43"/>
                          <a:pt x="64" y="24"/>
                        </a:cubicBezTo>
                      </a:path>
                    </a:pathLst>
                  </a:custGeom>
                  <a:solidFill>
                    <a:srgbClr val="FFFFFF">
                      <a:alpha val="51000"/>
                    </a:srgbClr>
                  </a:solidFill>
                  <a:ln>
                    <a:noFill/>
                  </a:ln>
                  <a:effectLst>
                    <a:outerShdw blurRad="63500" sx="102000" sy="102000" algn="ctr" rotWithShape="0">
                      <a:srgbClr val="702D89">
                        <a:alpha val="60000"/>
                      </a:srgbClr>
                    </a:outerShdw>
                  </a:effectLst>
                </p:spPr>
                <p:txBody>
                  <a:bodyPr/>
                  <a:lstStyle/>
                  <a:p>
                    <a:pPr defTabSz="914217">
                      <a:defRPr/>
                    </a:pPr>
                    <a:endParaRPr lang="en-US" kern="0" dirty="0">
                      <a:solidFill>
                        <a:srgbClr val="FFFFFF"/>
                      </a:solidFill>
                      <a:ea typeface="ＭＳ Ｐゴシック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37" name="Freeform 64"/>
                  <p:cNvSpPr>
                    <a:spLocks/>
                  </p:cNvSpPr>
                  <p:nvPr/>
                </p:nvSpPr>
                <p:spPr bwMode="auto">
                  <a:xfrm>
                    <a:off x="4914084" y="-2242046"/>
                    <a:ext cx="716417" cy="259119"/>
                  </a:xfrm>
                  <a:custGeom>
                    <a:avLst/>
                    <a:gdLst/>
                    <a:ahLst/>
                    <a:cxnLst>
                      <a:cxn ang="0">
                        <a:pos x="33" y="18"/>
                      </a:cxn>
                      <a:cxn ang="0">
                        <a:pos x="11" y="0"/>
                      </a:cxn>
                      <a:cxn ang="0">
                        <a:pos x="0" y="7"/>
                      </a:cxn>
                      <a:cxn ang="0">
                        <a:pos x="26" y="30"/>
                      </a:cxn>
                      <a:cxn ang="0">
                        <a:pos x="146" y="7"/>
                      </a:cxn>
                      <a:cxn ang="0">
                        <a:pos x="135" y="0"/>
                      </a:cxn>
                      <a:cxn ang="0">
                        <a:pos x="33" y="18"/>
                      </a:cxn>
                    </a:cxnLst>
                    <a:rect l="0" t="0" r="r" b="b"/>
                    <a:pathLst>
                      <a:path w="146" h="53">
                        <a:moveTo>
                          <a:pt x="33" y="18"/>
                        </a:moveTo>
                        <a:cubicBezTo>
                          <a:pt x="24" y="13"/>
                          <a:pt x="17" y="7"/>
                          <a:pt x="11" y="0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7" y="16"/>
                          <a:pt x="16" y="23"/>
                          <a:pt x="26" y="30"/>
                        </a:cubicBezTo>
                        <a:cubicBezTo>
                          <a:pt x="67" y="53"/>
                          <a:pt x="118" y="42"/>
                          <a:pt x="146" y="7"/>
                        </a:cubicBezTo>
                        <a:cubicBezTo>
                          <a:pt x="135" y="0"/>
                          <a:pt x="135" y="0"/>
                          <a:pt x="135" y="0"/>
                        </a:cubicBezTo>
                        <a:cubicBezTo>
                          <a:pt x="110" y="29"/>
                          <a:pt x="67" y="38"/>
                          <a:pt x="33" y="18"/>
                        </a:cubicBezTo>
                      </a:path>
                    </a:pathLst>
                  </a:custGeom>
                  <a:solidFill>
                    <a:srgbClr val="FFFFFF">
                      <a:alpha val="51000"/>
                    </a:srgbClr>
                  </a:solidFill>
                  <a:ln>
                    <a:noFill/>
                  </a:ln>
                  <a:effectLst>
                    <a:outerShdw blurRad="63500" sx="102000" sy="102000" algn="ctr" rotWithShape="0">
                      <a:srgbClr val="702D89">
                        <a:alpha val="60000"/>
                      </a:srgbClr>
                    </a:outerShdw>
                  </a:effectLst>
                </p:spPr>
                <p:txBody>
                  <a:bodyPr/>
                  <a:lstStyle/>
                  <a:p>
                    <a:pPr defTabSz="914217">
                      <a:defRPr/>
                    </a:pPr>
                    <a:endParaRPr lang="en-US" kern="0" dirty="0">
                      <a:solidFill>
                        <a:srgbClr val="FFFFFF"/>
                      </a:solidFill>
                      <a:ea typeface="ＭＳ Ｐゴシック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38" name="Freeform 65"/>
                  <p:cNvSpPr>
                    <a:spLocks/>
                  </p:cNvSpPr>
                  <p:nvPr/>
                </p:nvSpPr>
                <p:spPr bwMode="auto">
                  <a:xfrm>
                    <a:off x="5333834" y="-2946724"/>
                    <a:ext cx="394504" cy="625679"/>
                  </a:xfrm>
                  <a:custGeom>
                    <a:avLst/>
                    <a:gdLst/>
                    <a:ahLst/>
                    <a:cxnLst>
                      <a:cxn ang="0">
                        <a:pos x="0" y="0"/>
                      </a:cxn>
                      <a:cxn ang="0">
                        <a:pos x="0" y="13"/>
                      </a:cxn>
                      <a:cxn ang="0">
                        <a:pos x="67" y="92"/>
                      </a:cxn>
                      <a:cxn ang="0">
                        <a:pos x="62" y="120"/>
                      </a:cxn>
                      <a:cxn ang="0">
                        <a:pos x="74" y="127"/>
                      </a:cxn>
                      <a:cxn ang="0">
                        <a:pos x="80" y="92"/>
                      </a:cxn>
                      <a:cxn ang="0">
                        <a:pos x="0" y="0"/>
                      </a:cxn>
                    </a:cxnLst>
                    <a:rect l="0" t="0" r="r" b="b"/>
                    <a:pathLst>
                      <a:path w="80" h="127">
                        <a:moveTo>
                          <a:pt x="0" y="0"/>
                        </a:move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38" y="19"/>
                          <a:pt x="67" y="52"/>
                          <a:pt x="67" y="92"/>
                        </a:cubicBezTo>
                        <a:cubicBezTo>
                          <a:pt x="67" y="102"/>
                          <a:pt x="65" y="111"/>
                          <a:pt x="62" y="120"/>
                        </a:cubicBezTo>
                        <a:cubicBezTo>
                          <a:pt x="74" y="127"/>
                          <a:pt x="74" y="127"/>
                          <a:pt x="74" y="127"/>
                        </a:cubicBezTo>
                        <a:cubicBezTo>
                          <a:pt x="78" y="116"/>
                          <a:pt x="80" y="104"/>
                          <a:pt x="80" y="92"/>
                        </a:cubicBezTo>
                        <a:cubicBezTo>
                          <a:pt x="80" y="45"/>
                          <a:pt x="46" y="6"/>
                          <a:pt x="0" y="0"/>
                        </a:cubicBezTo>
                      </a:path>
                    </a:pathLst>
                  </a:custGeom>
                  <a:solidFill>
                    <a:srgbClr val="FFFFFF">
                      <a:alpha val="51000"/>
                    </a:srgbClr>
                  </a:solidFill>
                  <a:ln>
                    <a:noFill/>
                  </a:ln>
                  <a:effectLst>
                    <a:outerShdw blurRad="63500" sx="102000" sy="102000" algn="ctr" rotWithShape="0">
                      <a:srgbClr val="702D89">
                        <a:alpha val="60000"/>
                      </a:srgbClr>
                    </a:outerShdw>
                  </a:effectLst>
                </p:spPr>
                <p:txBody>
                  <a:bodyPr/>
                  <a:lstStyle/>
                  <a:p>
                    <a:pPr defTabSz="914217">
                      <a:defRPr/>
                    </a:pPr>
                    <a:endParaRPr lang="en-US" kern="0" dirty="0">
                      <a:solidFill>
                        <a:srgbClr val="FFFFFF"/>
                      </a:solidFill>
                      <a:ea typeface="ＭＳ Ｐゴシック" charset="0"/>
                      <a:cs typeface="Arial" pitchFamily="34" charset="0"/>
                    </a:endParaRPr>
                  </a:p>
                </p:txBody>
              </p:sp>
            </p:grpSp>
            <p:grpSp>
              <p:nvGrpSpPr>
                <p:cNvPr id="132" name="Group 120"/>
                <p:cNvGrpSpPr>
                  <a:grpSpLocks/>
                </p:cNvGrpSpPr>
                <p:nvPr/>
              </p:nvGrpSpPr>
              <p:grpSpPr bwMode="auto">
                <a:xfrm>
                  <a:off x="4584144" y="1997086"/>
                  <a:ext cx="340520" cy="336710"/>
                  <a:chOff x="4913130" y="-2812862"/>
                  <a:chExt cx="685945" cy="681787"/>
                </a:xfrm>
              </p:grpSpPr>
              <p:sp>
                <p:nvSpPr>
                  <p:cNvPr id="133" name="Freeform 66"/>
                  <p:cNvSpPr>
                    <a:spLocks/>
                  </p:cNvSpPr>
                  <p:nvPr/>
                </p:nvSpPr>
                <p:spPr bwMode="auto">
                  <a:xfrm>
                    <a:off x="4911880" y="-2814401"/>
                    <a:ext cx="293512" cy="423440"/>
                  </a:xfrm>
                  <a:custGeom>
                    <a:avLst/>
                    <a:gdLst/>
                    <a:ahLst/>
                    <a:cxnLst>
                      <a:cxn ang="0">
                        <a:pos x="46" y="19"/>
                      </a:cxn>
                      <a:cxn ang="0">
                        <a:pos x="60" y="13"/>
                      </a:cxn>
                      <a:cxn ang="0">
                        <a:pos x="60" y="0"/>
                      </a:cxn>
                      <a:cxn ang="0">
                        <a:pos x="40" y="7"/>
                      </a:cxn>
                      <a:cxn ang="0">
                        <a:pos x="10" y="86"/>
                      </a:cxn>
                      <a:cxn ang="0">
                        <a:pos x="22" y="79"/>
                      </a:cxn>
                      <a:cxn ang="0">
                        <a:pos x="46" y="19"/>
                      </a:cxn>
                    </a:cxnLst>
                    <a:rect l="0" t="0" r="r" b="b"/>
                    <a:pathLst>
                      <a:path w="60" h="86">
                        <a:moveTo>
                          <a:pt x="46" y="19"/>
                        </a:moveTo>
                        <a:cubicBezTo>
                          <a:pt x="51" y="16"/>
                          <a:pt x="55" y="14"/>
                          <a:pt x="60" y="13"/>
                        </a:cubicBezTo>
                        <a:cubicBezTo>
                          <a:pt x="60" y="0"/>
                          <a:pt x="60" y="0"/>
                          <a:pt x="60" y="0"/>
                        </a:cubicBezTo>
                        <a:cubicBezTo>
                          <a:pt x="53" y="1"/>
                          <a:pt x="46" y="3"/>
                          <a:pt x="40" y="7"/>
                        </a:cubicBezTo>
                        <a:cubicBezTo>
                          <a:pt x="12" y="23"/>
                          <a:pt x="0" y="57"/>
                          <a:pt x="10" y="86"/>
                        </a:cubicBezTo>
                        <a:cubicBezTo>
                          <a:pt x="22" y="79"/>
                          <a:pt x="22" y="79"/>
                          <a:pt x="22" y="79"/>
                        </a:cubicBezTo>
                        <a:cubicBezTo>
                          <a:pt x="15" y="56"/>
                          <a:pt x="25" y="31"/>
                          <a:pt x="46" y="19"/>
                        </a:cubicBezTo>
                      </a:path>
                    </a:pathLst>
                  </a:custGeom>
                  <a:solidFill>
                    <a:srgbClr val="FFFFFF">
                      <a:alpha val="76000"/>
                    </a:srgbClr>
                  </a:solidFill>
                  <a:ln>
                    <a:noFill/>
                  </a:ln>
                  <a:effectLst>
                    <a:outerShdw blurRad="63500" sx="102000" sy="102000" algn="ctr" rotWithShape="0">
                      <a:srgbClr val="702D89">
                        <a:alpha val="60000"/>
                      </a:srgbClr>
                    </a:outerShdw>
                  </a:effectLst>
                </p:spPr>
                <p:txBody>
                  <a:bodyPr/>
                  <a:lstStyle/>
                  <a:p>
                    <a:pPr defTabSz="914217">
                      <a:defRPr/>
                    </a:pPr>
                    <a:endParaRPr lang="en-US" kern="0" dirty="0">
                      <a:solidFill>
                        <a:srgbClr val="FFFFFF"/>
                      </a:solidFill>
                      <a:ea typeface="ＭＳ Ｐゴシック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34" name="Freeform 67"/>
                  <p:cNvSpPr>
                    <a:spLocks/>
                  </p:cNvSpPr>
                  <p:nvPr/>
                </p:nvSpPr>
                <p:spPr bwMode="auto">
                  <a:xfrm>
                    <a:off x="5025497" y="-2311962"/>
                    <a:ext cx="492341" cy="180121"/>
                  </a:xfrm>
                  <a:custGeom>
                    <a:avLst/>
                    <a:gdLst/>
                    <a:ahLst/>
                    <a:cxnLst>
                      <a:cxn ang="0">
                        <a:pos x="23" y="9"/>
                      </a:cxn>
                      <a:cxn ang="0">
                        <a:pos x="12" y="0"/>
                      </a:cxn>
                      <a:cxn ang="0">
                        <a:pos x="0" y="7"/>
                      </a:cxn>
                      <a:cxn ang="0">
                        <a:pos x="17" y="21"/>
                      </a:cxn>
                      <a:cxn ang="0">
                        <a:pos x="100" y="7"/>
                      </a:cxn>
                      <a:cxn ang="0">
                        <a:pos x="88" y="0"/>
                      </a:cxn>
                      <a:cxn ang="0">
                        <a:pos x="23" y="9"/>
                      </a:cxn>
                    </a:cxnLst>
                    <a:rect l="0" t="0" r="r" b="b"/>
                    <a:pathLst>
                      <a:path w="100" h="37">
                        <a:moveTo>
                          <a:pt x="23" y="9"/>
                        </a:moveTo>
                        <a:cubicBezTo>
                          <a:pt x="19" y="6"/>
                          <a:pt x="15" y="4"/>
                          <a:pt x="12" y="0"/>
                        </a:cubicBezTo>
                        <a:cubicBezTo>
                          <a:pt x="0" y="7"/>
                          <a:pt x="0" y="7"/>
                          <a:pt x="0" y="7"/>
                        </a:cubicBezTo>
                        <a:cubicBezTo>
                          <a:pt x="5" y="12"/>
                          <a:pt x="10" y="17"/>
                          <a:pt x="17" y="21"/>
                        </a:cubicBezTo>
                        <a:cubicBezTo>
                          <a:pt x="45" y="37"/>
                          <a:pt x="79" y="30"/>
                          <a:pt x="100" y="7"/>
                        </a:cubicBezTo>
                        <a:cubicBezTo>
                          <a:pt x="88" y="0"/>
                          <a:pt x="88" y="0"/>
                          <a:pt x="88" y="0"/>
                        </a:cubicBezTo>
                        <a:cubicBezTo>
                          <a:pt x="71" y="17"/>
                          <a:pt x="45" y="21"/>
                          <a:pt x="23" y="9"/>
                        </a:cubicBezTo>
                      </a:path>
                    </a:pathLst>
                  </a:custGeom>
                  <a:solidFill>
                    <a:srgbClr val="FFFFFF">
                      <a:alpha val="76000"/>
                    </a:srgbClr>
                  </a:solidFill>
                  <a:ln>
                    <a:noFill/>
                  </a:ln>
                  <a:effectLst>
                    <a:outerShdw blurRad="63500" sx="102000" sy="102000" algn="ctr" rotWithShape="0">
                      <a:srgbClr val="702D89">
                        <a:alpha val="60000"/>
                      </a:srgbClr>
                    </a:outerShdw>
                  </a:effectLst>
                </p:spPr>
                <p:txBody>
                  <a:bodyPr/>
                  <a:lstStyle/>
                  <a:p>
                    <a:pPr defTabSz="914217">
                      <a:defRPr/>
                    </a:pPr>
                    <a:endParaRPr lang="en-US" kern="0" dirty="0">
                      <a:solidFill>
                        <a:srgbClr val="FFFFFF"/>
                      </a:solidFill>
                      <a:ea typeface="ＭＳ Ｐゴシック" charset="0"/>
                      <a:cs typeface="Arial" pitchFamily="34" charset="0"/>
                    </a:endParaRPr>
                  </a:p>
                </p:txBody>
              </p:sp>
              <p:sp>
                <p:nvSpPr>
                  <p:cNvPr id="135" name="Freeform 68"/>
                  <p:cNvSpPr>
                    <a:spLocks/>
                  </p:cNvSpPr>
                  <p:nvPr/>
                </p:nvSpPr>
                <p:spPr bwMode="auto">
                  <a:xfrm>
                    <a:off x="5334788" y="-2814401"/>
                    <a:ext cx="265107" cy="423440"/>
                  </a:xfrm>
                  <a:custGeom>
                    <a:avLst/>
                    <a:gdLst/>
                    <a:ahLst/>
                    <a:cxnLst>
                      <a:cxn ang="0">
                        <a:pos x="40" y="65"/>
                      </a:cxn>
                      <a:cxn ang="0">
                        <a:pos x="38" y="79"/>
                      </a:cxn>
                      <a:cxn ang="0">
                        <a:pos x="50" y="86"/>
                      </a:cxn>
                      <a:cxn ang="0">
                        <a:pos x="54" y="65"/>
                      </a:cxn>
                      <a:cxn ang="0">
                        <a:pos x="0" y="0"/>
                      </a:cxn>
                      <a:cxn ang="0">
                        <a:pos x="0" y="13"/>
                      </a:cxn>
                      <a:cxn ang="0">
                        <a:pos x="40" y="65"/>
                      </a:cxn>
                    </a:cxnLst>
                    <a:rect l="0" t="0" r="r" b="b"/>
                    <a:pathLst>
                      <a:path w="54" h="86">
                        <a:moveTo>
                          <a:pt x="40" y="65"/>
                        </a:moveTo>
                        <a:cubicBezTo>
                          <a:pt x="40" y="70"/>
                          <a:pt x="40" y="75"/>
                          <a:pt x="38" y="79"/>
                        </a:cubicBezTo>
                        <a:cubicBezTo>
                          <a:pt x="50" y="86"/>
                          <a:pt x="50" y="86"/>
                          <a:pt x="50" y="86"/>
                        </a:cubicBezTo>
                        <a:cubicBezTo>
                          <a:pt x="52" y="79"/>
                          <a:pt x="54" y="72"/>
                          <a:pt x="54" y="65"/>
                        </a:cubicBezTo>
                        <a:cubicBezTo>
                          <a:pt x="54" y="33"/>
                          <a:pt x="31" y="6"/>
                          <a:pt x="0" y="0"/>
                        </a:cubicBezTo>
                        <a:cubicBezTo>
                          <a:pt x="0" y="13"/>
                          <a:pt x="0" y="13"/>
                          <a:pt x="0" y="13"/>
                        </a:cubicBezTo>
                        <a:cubicBezTo>
                          <a:pt x="23" y="19"/>
                          <a:pt x="40" y="40"/>
                          <a:pt x="40" y="65"/>
                        </a:cubicBezTo>
                      </a:path>
                    </a:pathLst>
                  </a:custGeom>
                  <a:solidFill>
                    <a:srgbClr val="FFFFFF">
                      <a:alpha val="76000"/>
                    </a:srgbClr>
                  </a:solidFill>
                  <a:ln>
                    <a:noFill/>
                  </a:ln>
                  <a:effectLst>
                    <a:outerShdw blurRad="63500" sx="102000" sy="102000" algn="ctr" rotWithShape="0">
                      <a:srgbClr val="702D89">
                        <a:alpha val="60000"/>
                      </a:srgbClr>
                    </a:outerShdw>
                  </a:effectLst>
                </p:spPr>
                <p:txBody>
                  <a:bodyPr/>
                  <a:lstStyle/>
                  <a:p>
                    <a:pPr defTabSz="914217">
                      <a:defRPr/>
                    </a:pPr>
                    <a:endParaRPr lang="en-US" kern="0" dirty="0">
                      <a:solidFill>
                        <a:srgbClr val="FFFFFF"/>
                      </a:solidFill>
                      <a:ea typeface="ＭＳ Ｐゴシック" charset="0"/>
                      <a:cs typeface="Arial" pitchFamily="34" charset="0"/>
                    </a:endParaRPr>
                  </a:p>
                </p:txBody>
              </p:sp>
            </p:grpSp>
          </p:grpSp>
        </p:grpSp>
        <p:cxnSp>
          <p:nvCxnSpPr>
            <p:cNvPr id="125" name="Straight Connector 124"/>
            <p:cNvCxnSpPr/>
            <p:nvPr/>
          </p:nvCxnSpPr>
          <p:spPr>
            <a:xfrm flipH="1">
              <a:off x="8416284" y="2066533"/>
              <a:ext cx="4160" cy="1067244"/>
            </a:xfrm>
            <a:prstGeom prst="line">
              <a:avLst/>
            </a:prstGeom>
            <a:ln w="9525" cmpd="sng">
              <a:solidFill>
                <a:srgbClr val="2968AF"/>
              </a:solidFill>
              <a:tailEnd type="oval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3" name="Pentagon 142"/>
          <p:cNvSpPr/>
          <p:nvPr/>
        </p:nvSpPr>
        <p:spPr>
          <a:xfrm rot="5400000" flipH="1">
            <a:off x="8167111" y="2612692"/>
            <a:ext cx="297788" cy="1552192"/>
          </a:xfrm>
          <a:prstGeom prst="homePlate">
            <a:avLst>
              <a:gd name="adj" fmla="val 68889"/>
            </a:avLst>
          </a:prstGeom>
          <a:noFill/>
          <a:ln w="12700">
            <a:gradFill flip="none" rotWithShape="1">
              <a:gsLst>
                <a:gs pos="0">
                  <a:schemeClr val="accent1">
                    <a:tint val="66000"/>
                    <a:satMod val="160000"/>
                    <a:alpha val="0"/>
                  </a:schemeClr>
                </a:gs>
                <a:gs pos="100000">
                  <a:schemeClr val="tx2"/>
                </a:gs>
              </a:gsLst>
              <a:lin ang="0" scaled="0"/>
              <a:tileRect/>
            </a:gradFill>
          </a:ln>
          <a:effectLst>
            <a:innerShdw blurRad="114300">
              <a:prstClr val="black">
                <a:alpha val="34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5" tIns="34295" rIns="68585" bIns="34295" rtlCol="0" anchor="ctr"/>
          <a:lstStyle/>
          <a:p>
            <a:pPr algn="ctr"/>
            <a:endParaRPr lang="en-US" dirty="0">
              <a:solidFill>
                <a:srgbClr val="676767"/>
              </a:solidFill>
            </a:endParaRPr>
          </a:p>
        </p:txBody>
      </p:sp>
      <p:sp>
        <p:nvSpPr>
          <p:cNvPr id="144" name="TextBox 26"/>
          <p:cNvSpPr txBox="1">
            <a:spLocks noChangeArrowheads="1"/>
          </p:cNvSpPr>
          <p:nvPr/>
        </p:nvSpPr>
        <p:spPr bwMode="auto">
          <a:xfrm>
            <a:off x="7586107" y="3415076"/>
            <a:ext cx="1528058" cy="367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28808" tIns="14403" rIns="28808" bIns="14403">
            <a:spAutoFit/>
          </a:bodyPr>
          <a:lstStyle>
            <a:defPPr>
              <a:defRPr lang="en-US"/>
            </a:defPPr>
            <a:lvl1pPr marL="285750" indent="-285750">
              <a:buFont typeface="Wingdings" charset="2"/>
              <a:buChar char="§"/>
              <a:defRPr sz="1400" i="0">
                <a:solidFill>
                  <a:srgbClr val="FFFFFF"/>
                </a:solidFill>
                <a:latin typeface="Arial Narrow"/>
                <a:ea typeface="ＭＳ Ｐゴシック"/>
                <a:cs typeface="Arial Narrow"/>
              </a:defRPr>
            </a:lvl1pPr>
          </a:lstStyle>
          <a:p>
            <a:pPr marL="0" indent="0" algn="ctr">
              <a:buSzPct val="120000"/>
              <a:buFont typeface="Wingdings" charset="2"/>
              <a:buNone/>
            </a:pPr>
            <a:r>
              <a:rPr lang="en-US" sz="1100" b="1" dirty="0" smtClean="0">
                <a:solidFill>
                  <a:srgbClr val="676767"/>
                </a:solidFill>
                <a:latin typeface="Arial"/>
                <a:ea typeface=""/>
                <a:cs typeface="Arial" charset="0"/>
              </a:rPr>
              <a:t>Software Defined Radio / Dual 5 GHz</a:t>
            </a:r>
            <a:endParaRPr lang="en-US" sz="1100" b="1" dirty="0">
              <a:solidFill>
                <a:srgbClr val="676767"/>
              </a:solidFill>
              <a:latin typeface="Arial"/>
              <a:ea typeface="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249256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XOR Radio and FRA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012" y="881303"/>
            <a:ext cx="4983910" cy="2776533"/>
          </a:xfrm>
          <a:prstGeom prst="rect">
            <a:avLst/>
          </a:prstGeom>
        </p:spPr>
      </p:pic>
      <p:grpSp>
        <p:nvGrpSpPr>
          <p:cNvPr id="4" name="Group 3"/>
          <p:cNvGrpSpPr/>
          <p:nvPr/>
        </p:nvGrpSpPr>
        <p:grpSpPr>
          <a:xfrm>
            <a:off x="3403956" y="2515656"/>
            <a:ext cx="290806" cy="261487"/>
            <a:chOff x="11022921" y="-2056847"/>
            <a:chExt cx="904242" cy="904242"/>
          </a:xfrm>
        </p:grpSpPr>
        <p:sp>
          <p:nvSpPr>
            <p:cNvPr id="5" name="Oval 4"/>
            <p:cNvSpPr/>
            <p:nvPr/>
          </p:nvSpPr>
          <p:spPr>
            <a:xfrm>
              <a:off x="11022921" y="-2056847"/>
              <a:ext cx="904242" cy="904242"/>
            </a:xfrm>
            <a:prstGeom prst="ellipse">
              <a:avLst/>
            </a:prstGeom>
            <a:solidFill>
              <a:schemeClr val="bg2"/>
            </a:solidFill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11228154" y="-1852412"/>
              <a:ext cx="493776" cy="495372"/>
              <a:chOff x="6003191" y="4235559"/>
              <a:chExt cx="493776" cy="495372"/>
            </a:xfrm>
            <a:solidFill>
              <a:schemeClr val="accent4"/>
            </a:solidFill>
          </p:grpSpPr>
          <p:sp>
            <p:nvSpPr>
              <p:cNvPr id="7" name="Freeform 14"/>
              <p:cNvSpPr>
                <a:spLocks noEditPoints="1"/>
              </p:cNvSpPr>
              <p:nvPr/>
            </p:nvSpPr>
            <p:spPr bwMode="auto">
              <a:xfrm>
                <a:off x="6141153" y="4374017"/>
                <a:ext cx="217853" cy="218456"/>
              </a:xfrm>
              <a:custGeom>
                <a:avLst/>
                <a:gdLst>
                  <a:gd name="T0" fmla="*/ 384 w 511"/>
                  <a:gd name="T1" fmla="*/ 0 h 511"/>
                  <a:gd name="T2" fmla="*/ 127 w 511"/>
                  <a:gd name="T3" fmla="*/ 0 h 511"/>
                  <a:gd name="T4" fmla="*/ 0 w 511"/>
                  <a:gd name="T5" fmla="*/ 127 h 511"/>
                  <a:gd name="T6" fmla="*/ 0 w 511"/>
                  <a:gd name="T7" fmla="*/ 384 h 511"/>
                  <a:gd name="T8" fmla="*/ 127 w 511"/>
                  <a:gd name="T9" fmla="*/ 511 h 511"/>
                  <a:gd name="T10" fmla="*/ 384 w 511"/>
                  <a:gd name="T11" fmla="*/ 511 h 511"/>
                  <a:gd name="T12" fmla="*/ 511 w 511"/>
                  <a:gd name="T13" fmla="*/ 384 h 511"/>
                  <a:gd name="T14" fmla="*/ 511 w 511"/>
                  <a:gd name="T15" fmla="*/ 127 h 511"/>
                  <a:gd name="T16" fmla="*/ 384 w 511"/>
                  <a:gd name="T17" fmla="*/ 0 h 511"/>
                  <a:gd name="T18" fmla="*/ 275 w 511"/>
                  <a:gd name="T19" fmla="*/ 85 h 511"/>
                  <a:gd name="T20" fmla="*/ 236 w 511"/>
                  <a:gd name="T21" fmla="*/ 85 h 511"/>
                  <a:gd name="T22" fmla="*/ 236 w 511"/>
                  <a:gd name="T23" fmla="*/ 45 h 511"/>
                  <a:gd name="T24" fmla="*/ 275 w 511"/>
                  <a:gd name="T25" fmla="*/ 45 h 511"/>
                  <a:gd name="T26" fmla="*/ 275 w 511"/>
                  <a:gd name="T27" fmla="*/ 8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1" h="511">
                    <a:moveTo>
                      <a:pt x="384" y="0"/>
                    </a:moveTo>
                    <a:cubicBezTo>
                      <a:pt x="127" y="0"/>
                      <a:pt x="127" y="0"/>
                      <a:pt x="127" y="0"/>
                    </a:cubicBezTo>
                    <a:cubicBezTo>
                      <a:pt x="57" y="0"/>
                      <a:pt x="0" y="57"/>
                      <a:pt x="0" y="127"/>
                    </a:cubicBezTo>
                    <a:cubicBezTo>
                      <a:pt x="0" y="384"/>
                      <a:pt x="0" y="384"/>
                      <a:pt x="0" y="384"/>
                    </a:cubicBezTo>
                    <a:cubicBezTo>
                      <a:pt x="0" y="454"/>
                      <a:pt x="57" y="511"/>
                      <a:pt x="127" y="511"/>
                    </a:cubicBezTo>
                    <a:cubicBezTo>
                      <a:pt x="384" y="511"/>
                      <a:pt x="384" y="511"/>
                      <a:pt x="384" y="511"/>
                    </a:cubicBezTo>
                    <a:cubicBezTo>
                      <a:pt x="454" y="511"/>
                      <a:pt x="511" y="454"/>
                      <a:pt x="511" y="384"/>
                    </a:cubicBezTo>
                    <a:cubicBezTo>
                      <a:pt x="511" y="127"/>
                      <a:pt x="511" y="127"/>
                      <a:pt x="511" y="127"/>
                    </a:cubicBezTo>
                    <a:cubicBezTo>
                      <a:pt x="511" y="57"/>
                      <a:pt x="454" y="0"/>
                      <a:pt x="384" y="0"/>
                    </a:cubicBezTo>
                    <a:close/>
                    <a:moveTo>
                      <a:pt x="275" y="85"/>
                    </a:moveTo>
                    <a:cubicBezTo>
                      <a:pt x="236" y="85"/>
                      <a:pt x="236" y="85"/>
                      <a:pt x="236" y="85"/>
                    </a:cubicBezTo>
                    <a:cubicBezTo>
                      <a:pt x="236" y="45"/>
                      <a:pt x="236" y="45"/>
                      <a:pt x="236" y="45"/>
                    </a:cubicBezTo>
                    <a:cubicBezTo>
                      <a:pt x="275" y="45"/>
                      <a:pt x="275" y="45"/>
                      <a:pt x="275" y="45"/>
                    </a:cubicBezTo>
                    <a:lnTo>
                      <a:pt x="275" y="85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96D6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8" name="Freeform 7"/>
              <p:cNvSpPr>
                <a:spLocks noEditPoints="1"/>
              </p:cNvSpPr>
              <p:nvPr/>
            </p:nvSpPr>
            <p:spPr bwMode="auto">
              <a:xfrm>
                <a:off x="6003191" y="4235559"/>
                <a:ext cx="493776" cy="495372"/>
              </a:xfrm>
              <a:custGeom>
                <a:avLst/>
                <a:gdLst>
                  <a:gd name="T0" fmla="*/ 885 w 1159"/>
                  <a:gd name="T1" fmla="*/ 0 h 1159"/>
                  <a:gd name="T2" fmla="*/ 274 w 1159"/>
                  <a:gd name="T3" fmla="*/ 0 h 1159"/>
                  <a:gd name="T4" fmla="*/ 0 w 1159"/>
                  <a:gd name="T5" fmla="*/ 274 h 1159"/>
                  <a:gd name="T6" fmla="*/ 0 w 1159"/>
                  <a:gd name="T7" fmla="*/ 885 h 1159"/>
                  <a:gd name="T8" fmla="*/ 274 w 1159"/>
                  <a:gd name="T9" fmla="*/ 1159 h 1159"/>
                  <a:gd name="T10" fmla="*/ 885 w 1159"/>
                  <a:gd name="T11" fmla="*/ 1159 h 1159"/>
                  <a:gd name="T12" fmla="*/ 1159 w 1159"/>
                  <a:gd name="T13" fmla="*/ 885 h 1159"/>
                  <a:gd name="T14" fmla="*/ 1159 w 1159"/>
                  <a:gd name="T15" fmla="*/ 274 h 1159"/>
                  <a:gd name="T16" fmla="*/ 885 w 1159"/>
                  <a:gd name="T17" fmla="*/ 0 h 1159"/>
                  <a:gd name="T18" fmla="*/ 867 w 1159"/>
                  <a:gd name="T19" fmla="*/ 708 h 1159"/>
                  <a:gd name="T20" fmla="*/ 708 w 1159"/>
                  <a:gd name="T21" fmla="*/ 867 h 1159"/>
                  <a:gd name="T22" fmla="*/ 451 w 1159"/>
                  <a:gd name="T23" fmla="*/ 867 h 1159"/>
                  <a:gd name="T24" fmla="*/ 292 w 1159"/>
                  <a:gd name="T25" fmla="*/ 708 h 1159"/>
                  <a:gd name="T26" fmla="*/ 292 w 1159"/>
                  <a:gd name="T27" fmla="*/ 451 h 1159"/>
                  <a:gd name="T28" fmla="*/ 451 w 1159"/>
                  <a:gd name="T29" fmla="*/ 292 h 1159"/>
                  <a:gd name="T30" fmla="*/ 708 w 1159"/>
                  <a:gd name="T31" fmla="*/ 292 h 1159"/>
                  <a:gd name="T32" fmla="*/ 867 w 1159"/>
                  <a:gd name="T33" fmla="*/ 451 h 1159"/>
                  <a:gd name="T34" fmla="*/ 867 w 1159"/>
                  <a:gd name="T35" fmla="*/ 708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59" h="1159">
                    <a:moveTo>
                      <a:pt x="885" y="0"/>
                    </a:moveTo>
                    <a:cubicBezTo>
                      <a:pt x="274" y="0"/>
                      <a:pt x="274" y="0"/>
                      <a:pt x="274" y="0"/>
                    </a:cubicBezTo>
                    <a:cubicBezTo>
                      <a:pt x="123" y="0"/>
                      <a:pt x="0" y="123"/>
                      <a:pt x="0" y="274"/>
                    </a:cubicBezTo>
                    <a:cubicBezTo>
                      <a:pt x="0" y="885"/>
                      <a:pt x="0" y="885"/>
                      <a:pt x="0" y="885"/>
                    </a:cubicBezTo>
                    <a:cubicBezTo>
                      <a:pt x="0" y="1036"/>
                      <a:pt x="123" y="1159"/>
                      <a:pt x="274" y="1159"/>
                    </a:cubicBezTo>
                    <a:cubicBezTo>
                      <a:pt x="885" y="1159"/>
                      <a:pt x="885" y="1159"/>
                      <a:pt x="885" y="1159"/>
                    </a:cubicBezTo>
                    <a:cubicBezTo>
                      <a:pt x="1036" y="1159"/>
                      <a:pt x="1159" y="1036"/>
                      <a:pt x="1159" y="885"/>
                    </a:cubicBezTo>
                    <a:cubicBezTo>
                      <a:pt x="1159" y="274"/>
                      <a:pt x="1159" y="274"/>
                      <a:pt x="1159" y="274"/>
                    </a:cubicBezTo>
                    <a:cubicBezTo>
                      <a:pt x="1159" y="123"/>
                      <a:pt x="1036" y="0"/>
                      <a:pt x="885" y="0"/>
                    </a:cubicBezTo>
                    <a:close/>
                    <a:moveTo>
                      <a:pt x="867" y="708"/>
                    </a:moveTo>
                    <a:cubicBezTo>
                      <a:pt x="867" y="796"/>
                      <a:pt x="796" y="867"/>
                      <a:pt x="708" y="867"/>
                    </a:cubicBezTo>
                    <a:cubicBezTo>
                      <a:pt x="451" y="867"/>
                      <a:pt x="451" y="867"/>
                      <a:pt x="451" y="867"/>
                    </a:cubicBezTo>
                    <a:cubicBezTo>
                      <a:pt x="363" y="867"/>
                      <a:pt x="292" y="796"/>
                      <a:pt x="292" y="708"/>
                    </a:cubicBezTo>
                    <a:cubicBezTo>
                      <a:pt x="292" y="451"/>
                      <a:pt x="292" y="451"/>
                      <a:pt x="292" y="451"/>
                    </a:cubicBezTo>
                    <a:cubicBezTo>
                      <a:pt x="292" y="363"/>
                      <a:pt x="363" y="292"/>
                      <a:pt x="451" y="292"/>
                    </a:cubicBezTo>
                    <a:cubicBezTo>
                      <a:pt x="708" y="292"/>
                      <a:pt x="708" y="292"/>
                      <a:pt x="708" y="292"/>
                    </a:cubicBezTo>
                    <a:cubicBezTo>
                      <a:pt x="796" y="292"/>
                      <a:pt x="867" y="363"/>
                      <a:pt x="867" y="451"/>
                    </a:cubicBezTo>
                    <a:lnTo>
                      <a:pt x="867" y="708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96D6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9" name="Group 8"/>
          <p:cNvGrpSpPr/>
          <p:nvPr/>
        </p:nvGrpSpPr>
        <p:grpSpPr>
          <a:xfrm>
            <a:off x="4003910" y="1007508"/>
            <a:ext cx="290806" cy="261487"/>
            <a:chOff x="11022921" y="-2056847"/>
            <a:chExt cx="904242" cy="904242"/>
          </a:xfrm>
        </p:grpSpPr>
        <p:sp>
          <p:nvSpPr>
            <p:cNvPr id="10" name="Oval 9"/>
            <p:cNvSpPr/>
            <p:nvPr/>
          </p:nvSpPr>
          <p:spPr>
            <a:xfrm>
              <a:off x="11022921" y="-2056847"/>
              <a:ext cx="904242" cy="904242"/>
            </a:xfrm>
            <a:prstGeom prst="ellipse">
              <a:avLst/>
            </a:prstGeom>
            <a:solidFill>
              <a:schemeClr val="bg2"/>
            </a:solidFill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11228154" y="-1852412"/>
              <a:ext cx="493776" cy="495372"/>
              <a:chOff x="6003191" y="4235559"/>
              <a:chExt cx="493776" cy="495372"/>
            </a:xfrm>
            <a:solidFill>
              <a:schemeClr val="accent4"/>
            </a:solidFill>
          </p:grpSpPr>
          <p:sp>
            <p:nvSpPr>
              <p:cNvPr id="12" name="Freeform 14"/>
              <p:cNvSpPr>
                <a:spLocks noEditPoints="1"/>
              </p:cNvSpPr>
              <p:nvPr/>
            </p:nvSpPr>
            <p:spPr bwMode="auto">
              <a:xfrm>
                <a:off x="6141153" y="4374017"/>
                <a:ext cx="217853" cy="218456"/>
              </a:xfrm>
              <a:custGeom>
                <a:avLst/>
                <a:gdLst>
                  <a:gd name="T0" fmla="*/ 384 w 511"/>
                  <a:gd name="T1" fmla="*/ 0 h 511"/>
                  <a:gd name="T2" fmla="*/ 127 w 511"/>
                  <a:gd name="T3" fmla="*/ 0 h 511"/>
                  <a:gd name="T4" fmla="*/ 0 w 511"/>
                  <a:gd name="T5" fmla="*/ 127 h 511"/>
                  <a:gd name="T6" fmla="*/ 0 w 511"/>
                  <a:gd name="T7" fmla="*/ 384 h 511"/>
                  <a:gd name="T8" fmla="*/ 127 w 511"/>
                  <a:gd name="T9" fmla="*/ 511 h 511"/>
                  <a:gd name="T10" fmla="*/ 384 w 511"/>
                  <a:gd name="T11" fmla="*/ 511 h 511"/>
                  <a:gd name="T12" fmla="*/ 511 w 511"/>
                  <a:gd name="T13" fmla="*/ 384 h 511"/>
                  <a:gd name="T14" fmla="*/ 511 w 511"/>
                  <a:gd name="T15" fmla="*/ 127 h 511"/>
                  <a:gd name="T16" fmla="*/ 384 w 511"/>
                  <a:gd name="T17" fmla="*/ 0 h 511"/>
                  <a:gd name="T18" fmla="*/ 275 w 511"/>
                  <a:gd name="T19" fmla="*/ 85 h 511"/>
                  <a:gd name="T20" fmla="*/ 236 w 511"/>
                  <a:gd name="T21" fmla="*/ 85 h 511"/>
                  <a:gd name="T22" fmla="*/ 236 w 511"/>
                  <a:gd name="T23" fmla="*/ 45 h 511"/>
                  <a:gd name="T24" fmla="*/ 275 w 511"/>
                  <a:gd name="T25" fmla="*/ 45 h 511"/>
                  <a:gd name="T26" fmla="*/ 275 w 511"/>
                  <a:gd name="T27" fmla="*/ 8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1" h="511">
                    <a:moveTo>
                      <a:pt x="384" y="0"/>
                    </a:moveTo>
                    <a:cubicBezTo>
                      <a:pt x="127" y="0"/>
                      <a:pt x="127" y="0"/>
                      <a:pt x="127" y="0"/>
                    </a:cubicBezTo>
                    <a:cubicBezTo>
                      <a:pt x="57" y="0"/>
                      <a:pt x="0" y="57"/>
                      <a:pt x="0" y="127"/>
                    </a:cubicBezTo>
                    <a:cubicBezTo>
                      <a:pt x="0" y="384"/>
                      <a:pt x="0" y="384"/>
                      <a:pt x="0" y="384"/>
                    </a:cubicBezTo>
                    <a:cubicBezTo>
                      <a:pt x="0" y="454"/>
                      <a:pt x="57" y="511"/>
                      <a:pt x="127" y="511"/>
                    </a:cubicBezTo>
                    <a:cubicBezTo>
                      <a:pt x="384" y="511"/>
                      <a:pt x="384" y="511"/>
                      <a:pt x="384" y="511"/>
                    </a:cubicBezTo>
                    <a:cubicBezTo>
                      <a:pt x="454" y="511"/>
                      <a:pt x="511" y="454"/>
                      <a:pt x="511" y="384"/>
                    </a:cubicBezTo>
                    <a:cubicBezTo>
                      <a:pt x="511" y="127"/>
                      <a:pt x="511" y="127"/>
                      <a:pt x="511" y="127"/>
                    </a:cubicBezTo>
                    <a:cubicBezTo>
                      <a:pt x="511" y="57"/>
                      <a:pt x="454" y="0"/>
                      <a:pt x="384" y="0"/>
                    </a:cubicBezTo>
                    <a:close/>
                    <a:moveTo>
                      <a:pt x="275" y="85"/>
                    </a:moveTo>
                    <a:cubicBezTo>
                      <a:pt x="236" y="85"/>
                      <a:pt x="236" y="85"/>
                      <a:pt x="236" y="85"/>
                    </a:cubicBezTo>
                    <a:cubicBezTo>
                      <a:pt x="236" y="45"/>
                      <a:pt x="236" y="45"/>
                      <a:pt x="236" y="45"/>
                    </a:cubicBezTo>
                    <a:cubicBezTo>
                      <a:pt x="275" y="45"/>
                      <a:pt x="275" y="45"/>
                      <a:pt x="275" y="45"/>
                    </a:cubicBezTo>
                    <a:lnTo>
                      <a:pt x="275" y="85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96D6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13" name="Freeform 12"/>
              <p:cNvSpPr>
                <a:spLocks noEditPoints="1"/>
              </p:cNvSpPr>
              <p:nvPr/>
            </p:nvSpPr>
            <p:spPr bwMode="auto">
              <a:xfrm>
                <a:off x="6003191" y="4235559"/>
                <a:ext cx="493776" cy="495372"/>
              </a:xfrm>
              <a:custGeom>
                <a:avLst/>
                <a:gdLst>
                  <a:gd name="T0" fmla="*/ 885 w 1159"/>
                  <a:gd name="T1" fmla="*/ 0 h 1159"/>
                  <a:gd name="T2" fmla="*/ 274 w 1159"/>
                  <a:gd name="T3" fmla="*/ 0 h 1159"/>
                  <a:gd name="T4" fmla="*/ 0 w 1159"/>
                  <a:gd name="T5" fmla="*/ 274 h 1159"/>
                  <a:gd name="T6" fmla="*/ 0 w 1159"/>
                  <a:gd name="T7" fmla="*/ 885 h 1159"/>
                  <a:gd name="T8" fmla="*/ 274 w 1159"/>
                  <a:gd name="T9" fmla="*/ 1159 h 1159"/>
                  <a:gd name="T10" fmla="*/ 885 w 1159"/>
                  <a:gd name="T11" fmla="*/ 1159 h 1159"/>
                  <a:gd name="T12" fmla="*/ 1159 w 1159"/>
                  <a:gd name="T13" fmla="*/ 885 h 1159"/>
                  <a:gd name="T14" fmla="*/ 1159 w 1159"/>
                  <a:gd name="T15" fmla="*/ 274 h 1159"/>
                  <a:gd name="T16" fmla="*/ 885 w 1159"/>
                  <a:gd name="T17" fmla="*/ 0 h 1159"/>
                  <a:gd name="T18" fmla="*/ 867 w 1159"/>
                  <a:gd name="T19" fmla="*/ 708 h 1159"/>
                  <a:gd name="T20" fmla="*/ 708 w 1159"/>
                  <a:gd name="T21" fmla="*/ 867 h 1159"/>
                  <a:gd name="T22" fmla="*/ 451 w 1159"/>
                  <a:gd name="T23" fmla="*/ 867 h 1159"/>
                  <a:gd name="T24" fmla="*/ 292 w 1159"/>
                  <a:gd name="T25" fmla="*/ 708 h 1159"/>
                  <a:gd name="T26" fmla="*/ 292 w 1159"/>
                  <a:gd name="T27" fmla="*/ 451 h 1159"/>
                  <a:gd name="T28" fmla="*/ 451 w 1159"/>
                  <a:gd name="T29" fmla="*/ 292 h 1159"/>
                  <a:gd name="T30" fmla="*/ 708 w 1159"/>
                  <a:gd name="T31" fmla="*/ 292 h 1159"/>
                  <a:gd name="T32" fmla="*/ 867 w 1159"/>
                  <a:gd name="T33" fmla="*/ 451 h 1159"/>
                  <a:gd name="T34" fmla="*/ 867 w 1159"/>
                  <a:gd name="T35" fmla="*/ 708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59" h="1159">
                    <a:moveTo>
                      <a:pt x="885" y="0"/>
                    </a:moveTo>
                    <a:cubicBezTo>
                      <a:pt x="274" y="0"/>
                      <a:pt x="274" y="0"/>
                      <a:pt x="274" y="0"/>
                    </a:cubicBezTo>
                    <a:cubicBezTo>
                      <a:pt x="123" y="0"/>
                      <a:pt x="0" y="123"/>
                      <a:pt x="0" y="274"/>
                    </a:cubicBezTo>
                    <a:cubicBezTo>
                      <a:pt x="0" y="885"/>
                      <a:pt x="0" y="885"/>
                      <a:pt x="0" y="885"/>
                    </a:cubicBezTo>
                    <a:cubicBezTo>
                      <a:pt x="0" y="1036"/>
                      <a:pt x="123" y="1159"/>
                      <a:pt x="274" y="1159"/>
                    </a:cubicBezTo>
                    <a:cubicBezTo>
                      <a:pt x="885" y="1159"/>
                      <a:pt x="885" y="1159"/>
                      <a:pt x="885" y="1159"/>
                    </a:cubicBezTo>
                    <a:cubicBezTo>
                      <a:pt x="1036" y="1159"/>
                      <a:pt x="1159" y="1036"/>
                      <a:pt x="1159" y="885"/>
                    </a:cubicBezTo>
                    <a:cubicBezTo>
                      <a:pt x="1159" y="274"/>
                      <a:pt x="1159" y="274"/>
                      <a:pt x="1159" y="274"/>
                    </a:cubicBezTo>
                    <a:cubicBezTo>
                      <a:pt x="1159" y="123"/>
                      <a:pt x="1036" y="0"/>
                      <a:pt x="885" y="0"/>
                    </a:cubicBezTo>
                    <a:close/>
                    <a:moveTo>
                      <a:pt x="867" y="708"/>
                    </a:moveTo>
                    <a:cubicBezTo>
                      <a:pt x="867" y="796"/>
                      <a:pt x="796" y="867"/>
                      <a:pt x="708" y="867"/>
                    </a:cubicBezTo>
                    <a:cubicBezTo>
                      <a:pt x="451" y="867"/>
                      <a:pt x="451" y="867"/>
                      <a:pt x="451" y="867"/>
                    </a:cubicBezTo>
                    <a:cubicBezTo>
                      <a:pt x="363" y="867"/>
                      <a:pt x="292" y="796"/>
                      <a:pt x="292" y="708"/>
                    </a:cubicBezTo>
                    <a:cubicBezTo>
                      <a:pt x="292" y="451"/>
                      <a:pt x="292" y="451"/>
                      <a:pt x="292" y="451"/>
                    </a:cubicBezTo>
                    <a:cubicBezTo>
                      <a:pt x="292" y="363"/>
                      <a:pt x="363" y="292"/>
                      <a:pt x="451" y="292"/>
                    </a:cubicBezTo>
                    <a:cubicBezTo>
                      <a:pt x="708" y="292"/>
                      <a:pt x="708" y="292"/>
                      <a:pt x="708" y="292"/>
                    </a:cubicBezTo>
                    <a:cubicBezTo>
                      <a:pt x="796" y="292"/>
                      <a:pt x="867" y="363"/>
                      <a:pt x="867" y="451"/>
                    </a:cubicBezTo>
                    <a:lnTo>
                      <a:pt x="867" y="708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96D6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sp>
        <p:nvSpPr>
          <p:cNvPr id="14" name="TextBox 13"/>
          <p:cNvSpPr txBox="1"/>
          <p:nvPr/>
        </p:nvSpPr>
        <p:spPr>
          <a:xfrm>
            <a:off x="5320305" y="927130"/>
            <a:ext cx="9901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676767"/>
                </a:solidFill>
                <a:latin typeface="Arial Narrow"/>
                <a:ea typeface="ＭＳ Ｐゴシック" charset="0"/>
                <a:cs typeface="Arial Narrow"/>
              </a:rPr>
              <a:t>2.4GHz</a:t>
            </a:r>
            <a:br>
              <a:rPr lang="en-US" sz="1200" b="1" dirty="0" smtClean="0">
                <a:solidFill>
                  <a:srgbClr val="676767"/>
                </a:solidFill>
                <a:latin typeface="Arial Narrow"/>
                <a:ea typeface="ＭＳ Ｐゴシック" charset="0"/>
                <a:cs typeface="Arial Narrow"/>
              </a:rPr>
            </a:br>
            <a:r>
              <a:rPr lang="en-US" sz="1200" b="1" dirty="0" smtClean="0">
                <a:solidFill>
                  <a:srgbClr val="676767"/>
                </a:solidFill>
                <a:latin typeface="Arial Narrow"/>
                <a:ea typeface="ＭＳ Ｐゴシック" charset="0"/>
                <a:cs typeface="Arial Narrow"/>
              </a:rPr>
              <a:t>Serving</a:t>
            </a:r>
            <a:endParaRPr lang="en-US" sz="1200" b="1" dirty="0">
              <a:solidFill>
                <a:srgbClr val="676767"/>
              </a:solidFill>
              <a:latin typeface="Arial Narrow"/>
              <a:ea typeface="ＭＳ Ｐゴシック" charset="0"/>
              <a:cs typeface="Arial Narrow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554999" y="2595135"/>
            <a:ext cx="1101754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676767"/>
                </a:solidFill>
                <a:latin typeface="Arial Narrow"/>
                <a:ea typeface="ＭＳ Ｐゴシック" charset="0"/>
                <a:cs typeface="Arial Narrow"/>
              </a:rPr>
              <a:t>2.4-5GHz</a:t>
            </a:r>
            <a:br>
              <a:rPr lang="en-US" sz="1200" b="1" dirty="0" smtClean="0">
                <a:solidFill>
                  <a:srgbClr val="676767"/>
                </a:solidFill>
                <a:latin typeface="Arial Narrow"/>
                <a:ea typeface="ＭＳ Ｐゴシック" charset="0"/>
                <a:cs typeface="Arial Narrow"/>
              </a:rPr>
            </a:br>
            <a:r>
              <a:rPr lang="en-US" sz="1200" b="1" dirty="0" smtClean="0">
                <a:solidFill>
                  <a:srgbClr val="676767"/>
                </a:solidFill>
                <a:latin typeface="Arial Narrow"/>
                <a:ea typeface="ＭＳ Ｐゴシック" charset="0"/>
                <a:cs typeface="Arial Narrow"/>
              </a:rPr>
              <a:t>Monitoring</a:t>
            </a:r>
          </a:p>
          <a:p>
            <a:pPr algn="r" defTabSz="457200" fontAlgn="base">
              <a:spcBef>
                <a:spcPct val="0"/>
              </a:spcBef>
              <a:spcAft>
                <a:spcPct val="0"/>
              </a:spcAft>
            </a:pPr>
            <a:endParaRPr lang="en-US" sz="800" b="1" dirty="0">
              <a:solidFill>
                <a:srgbClr val="676767"/>
              </a:solidFill>
              <a:latin typeface="Arial Narrow"/>
              <a:ea typeface="ＭＳ Ｐゴシック" charset="0"/>
              <a:cs typeface="Arial Narrow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3880186" y="1957183"/>
            <a:ext cx="236602" cy="212748"/>
            <a:chOff x="8129377" y="1720034"/>
            <a:chExt cx="279226" cy="279226"/>
          </a:xfrm>
        </p:grpSpPr>
        <p:sp>
          <p:nvSpPr>
            <p:cNvPr id="17" name="Oval 16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FFFFFF"/>
                </a:solidFill>
              </a:endParaRP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19" name="Freeform 18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0" name="Freeform 19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sp>
        <p:nvSpPr>
          <p:cNvPr id="21" name="TextBox 20"/>
          <p:cNvSpPr txBox="1"/>
          <p:nvPr/>
        </p:nvSpPr>
        <p:spPr>
          <a:xfrm>
            <a:off x="4596110" y="921002"/>
            <a:ext cx="6885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676767"/>
                </a:solidFill>
                <a:latin typeface="Arial Narrow"/>
                <a:ea typeface="ＭＳ Ｐゴシック" charset="0"/>
                <a:cs typeface="Arial Narrow"/>
              </a:rPr>
              <a:t>5GHz.</a:t>
            </a:r>
          </a:p>
          <a:p>
            <a:pPr algn="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676767"/>
                </a:solidFill>
                <a:latin typeface="Arial Narrow"/>
                <a:ea typeface="ＭＳ Ｐゴシック" charset="0"/>
                <a:cs typeface="Arial Narrow"/>
              </a:rPr>
              <a:t>Serving</a:t>
            </a:r>
            <a:endParaRPr lang="en-US" sz="1200" b="1" dirty="0">
              <a:solidFill>
                <a:srgbClr val="676767"/>
              </a:solidFill>
              <a:latin typeface="Arial Narrow"/>
              <a:ea typeface="ＭＳ Ｐゴシック" charset="0"/>
              <a:cs typeface="Arial Narrow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5326839" y="1008816"/>
            <a:ext cx="0" cy="308808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3460045" y="2606224"/>
            <a:ext cx="11237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676767"/>
                </a:solidFill>
                <a:latin typeface="Arial Narrow"/>
                <a:ea typeface="ＭＳ Ｐゴシック" charset="0"/>
                <a:cs typeface="Arial Narrow"/>
              </a:rPr>
              <a:t>5GHz.</a:t>
            </a:r>
          </a:p>
          <a:p>
            <a:pPr algn="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676767"/>
                </a:solidFill>
                <a:latin typeface="Arial Narrow"/>
                <a:ea typeface="ＭＳ Ｐゴシック" charset="0"/>
                <a:cs typeface="Arial Narrow"/>
              </a:rPr>
              <a:t>Serving</a:t>
            </a:r>
          </a:p>
        </p:txBody>
      </p:sp>
      <p:cxnSp>
        <p:nvCxnSpPr>
          <p:cNvPr id="24" name="Straight Connector 23"/>
          <p:cNvCxnSpPr/>
          <p:nvPr/>
        </p:nvCxnSpPr>
        <p:spPr>
          <a:xfrm>
            <a:off x="4578740" y="2694467"/>
            <a:ext cx="0" cy="308808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689702" y="1146988"/>
            <a:ext cx="11534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676767"/>
                </a:solidFill>
                <a:latin typeface="Arial Narrow"/>
                <a:ea typeface="ＭＳ Ｐゴシック" charset="0"/>
                <a:cs typeface="Arial Narrow"/>
              </a:rPr>
              <a:t>2.4GHz</a:t>
            </a:r>
            <a:br>
              <a:rPr lang="en-US" sz="1200" b="1" dirty="0" smtClean="0">
                <a:solidFill>
                  <a:srgbClr val="676767"/>
                </a:solidFill>
                <a:latin typeface="Arial Narrow"/>
                <a:ea typeface="ＭＳ Ｐゴシック" charset="0"/>
                <a:cs typeface="Arial Narrow"/>
              </a:rPr>
            </a:br>
            <a:r>
              <a:rPr lang="en-US" sz="1200" b="1" dirty="0" smtClean="0">
                <a:solidFill>
                  <a:srgbClr val="676767"/>
                </a:solidFill>
                <a:latin typeface="Arial Narrow"/>
                <a:ea typeface="ＭＳ Ｐゴシック" charset="0"/>
                <a:cs typeface="Arial Narrow"/>
              </a:rPr>
              <a:t>Serving</a:t>
            </a:r>
            <a:endParaRPr lang="en-US" sz="1200" b="1" dirty="0">
              <a:solidFill>
                <a:srgbClr val="676767"/>
              </a:solidFill>
              <a:latin typeface="Arial Narrow"/>
              <a:ea typeface="ＭＳ Ｐゴシック" charset="0"/>
              <a:cs typeface="Arial Narrow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936008" y="1157962"/>
            <a:ext cx="11156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676767"/>
                </a:solidFill>
                <a:latin typeface="Arial Narrow"/>
                <a:ea typeface="ＭＳ Ｐゴシック" charset="0"/>
                <a:cs typeface="Arial Narrow"/>
              </a:rPr>
              <a:t>5GHz.</a:t>
            </a:r>
          </a:p>
          <a:p>
            <a:pPr algn="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676767"/>
                </a:solidFill>
                <a:latin typeface="Arial Narrow"/>
                <a:ea typeface="ＭＳ Ｐゴシック" charset="0"/>
                <a:cs typeface="Arial Narrow"/>
              </a:rPr>
              <a:t>Serving</a:t>
            </a:r>
            <a:endParaRPr lang="en-US" sz="1200" b="1" dirty="0">
              <a:solidFill>
                <a:srgbClr val="676767"/>
              </a:solidFill>
              <a:latin typeface="Arial Narrow"/>
              <a:ea typeface="ＭＳ Ｐゴシック" charset="0"/>
              <a:cs typeface="Arial Narrow"/>
            </a:endParaRPr>
          </a:p>
        </p:txBody>
      </p:sp>
      <p:cxnSp>
        <p:nvCxnSpPr>
          <p:cNvPr id="27" name="Straight Connector 26"/>
          <p:cNvCxnSpPr/>
          <p:nvPr/>
        </p:nvCxnSpPr>
        <p:spPr>
          <a:xfrm>
            <a:off x="1405606" y="1195887"/>
            <a:ext cx="0" cy="308808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8" name="Group 27"/>
          <p:cNvGrpSpPr/>
          <p:nvPr/>
        </p:nvGrpSpPr>
        <p:grpSpPr>
          <a:xfrm>
            <a:off x="1662766" y="1628269"/>
            <a:ext cx="290806" cy="261487"/>
            <a:chOff x="11022921" y="-2056847"/>
            <a:chExt cx="904242" cy="904242"/>
          </a:xfrm>
        </p:grpSpPr>
        <p:sp>
          <p:nvSpPr>
            <p:cNvPr id="29" name="Oval 28"/>
            <p:cNvSpPr/>
            <p:nvPr/>
          </p:nvSpPr>
          <p:spPr>
            <a:xfrm>
              <a:off x="11022921" y="-2056847"/>
              <a:ext cx="904242" cy="904242"/>
            </a:xfrm>
            <a:prstGeom prst="ellipse">
              <a:avLst/>
            </a:prstGeom>
            <a:solidFill>
              <a:schemeClr val="bg2"/>
            </a:solidFill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30" name="Group 29"/>
            <p:cNvGrpSpPr/>
            <p:nvPr/>
          </p:nvGrpSpPr>
          <p:grpSpPr>
            <a:xfrm>
              <a:off x="11228154" y="-1852412"/>
              <a:ext cx="493776" cy="495372"/>
              <a:chOff x="6003191" y="4235559"/>
              <a:chExt cx="493776" cy="495372"/>
            </a:xfrm>
            <a:solidFill>
              <a:schemeClr val="accent4"/>
            </a:solidFill>
          </p:grpSpPr>
          <p:sp>
            <p:nvSpPr>
              <p:cNvPr id="31" name="Freeform 14"/>
              <p:cNvSpPr>
                <a:spLocks noEditPoints="1"/>
              </p:cNvSpPr>
              <p:nvPr/>
            </p:nvSpPr>
            <p:spPr bwMode="auto">
              <a:xfrm>
                <a:off x="6141153" y="4374017"/>
                <a:ext cx="217853" cy="218456"/>
              </a:xfrm>
              <a:custGeom>
                <a:avLst/>
                <a:gdLst>
                  <a:gd name="T0" fmla="*/ 384 w 511"/>
                  <a:gd name="T1" fmla="*/ 0 h 511"/>
                  <a:gd name="T2" fmla="*/ 127 w 511"/>
                  <a:gd name="T3" fmla="*/ 0 h 511"/>
                  <a:gd name="T4" fmla="*/ 0 w 511"/>
                  <a:gd name="T5" fmla="*/ 127 h 511"/>
                  <a:gd name="T6" fmla="*/ 0 w 511"/>
                  <a:gd name="T7" fmla="*/ 384 h 511"/>
                  <a:gd name="T8" fmla="*/ 127 w 511"/>
                  <a:gd name="T9" fmla="*/ 511 h 511"/>
                  <a:gd name="T10" fmla="*/ 384 w 511"/>
                  <a:gd name="T11" fmla="*/ 511 h 511"/>
                  <a:gd name="T12" fmla="*/ 511 w 511"/>
                  <a:gd name="T13" fmla="*/ 384 h 511"/>
                  <a:gd name="T14" fmla="*/ 511 w 511"/>
                  <a:gd name="T15" fmla="*/ 127 h 511"/>
                  <a:gd name="T16" fmla="*/ 384 w 511"/>
                  <a:gd name="T17" fmla="*/ 0 h 511"/>
                  <a:gd name="T18" fmla="*/ 275 w 511"/>
                  <a:gd name="T19" fmla="*/ 85 h 511"/>
                  <a:gd name="T20" fmla="*/ 236 w 511"/>
                  <a:gd name="T21" fmla="*/ 85 h 511"/>
                  <a:gd name="T22" fmla="*/ 236 w 511"/>
                  <a:gd name="T23" fmla="*/ 45 h 511"/>
                  <a:gd name="T24" fmla="*/ 275 w 511"/>
                  <a:gd name="T25" fmla="*/ 45 h 511"/>
                  <a:gd name="T26" fmla="*/ 275 w 511"/>
                  <a:gd name="T27" fmla="*/ 8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1" h="511">
                    <a:moveTo>
                      <a:pt x="384" y="0"/>
                    </a:moveTo>
                    <a:cubicBezTo>
                      <a:pt x="127" y="0"/>
                      <a:pt x="127" y="0"/>
                      <a:pt x="127" y="0"/>
                    </a:cubicBezTo>
                    <a:cubicBezTo>
                      <a:pt x="57" y="0"/>
                      <a:pt x="0" y="57"/>
                      <a:pt x="0" y="127"/>
                    </a:cubicBezTo>
                    <a:cubicBezTo>
                      <a:pt x="0" y="384"/>
                      <a:pt x="0" y="384"/>
                      <a:pt x="0" y="384"/>
                    </a:cubicBezTo>
                    <a:cubicBezTo>
                      <a:pt x="0" y="454"/>
                      <a:pt x="57" y="511"/>
                      <a:pt x="127" y="511"/>
                    </a:cubicBezTo>
                    <a:cubicBezTo>
                      <a:pt x="384" y="511"/>
                      <a:pt x="384" y="511"/>
                      <a:pt x="384" y="511"/>
                    </a:cubicBezTo>
                    <a:cubicBezTo>
                      <a:pt x="454" y="511"/>
                      <a:pt x="511" y="454"/>
                      <a:pt x="511" y="384"/>
                    </a:cubicBezTo>
                    <a:cubicBezTo>
                      <a:pt x="511" y="127"/>
                      <a:pt x="511" y="127"/>
                      <a:pt x="511" y="127"/>
                    </a:cubicBezTo>
                    <a:cubicBezTo>
                      <a:pt x="511" y="57"/>
                      <a:pt x="454" y="0"/>
                      <a:pt x="384" y="0"/>
                    </a:cubicBezTo>
                    <a:close/>
                    <a:moveTo>
                      <a:pt x="275" y="85"/>
                    </a:moveTo>
                    <a:cubicBezTo>
                      <a:pt x="236" y="85"/>
                      <a:pt x="236" y="85"/>
                      <a:pt x="236" y="85"/>
                    </a:cubicBezTo>
                    <a:cubicBezTo>
                      <a:pt x="236" y="45"/>
                      <a:pt x="236" y="45"/>
                      <a:pt x="236" y="45"/>
                    </a:cubicBezTo>
                    <a:cubicBezTo>
                      <a:pt x="275" y="45"/>
                      <a:pt x="275" y="45"/>
                      <a:pt x="275" y="45"/>
                    </a:cubicBezTo>
                    <a:lnTo>
                      <a:pt x="275" y="85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96D6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2" name="Freeform 31"/>
              <p:cNvSpPr>
                <a:spLocks noEditPoints="1"/>
              </p:cNvSpPr>
              <p:nvPr/>
            </p:nvSpPr>
            <p:spPr bwMode="auto">
              <a:xfrm>
                <a:off x="6003191" y="4235559"/>
                <a:ext cx="493776" cy="495372"/>
              </a:xfrm>
              <a:custGeom>
                <a:avLst/>
                <a:gdLst>
                  <a:gd name="T0" fmla="*/ 885 w 1159"/>
                  <a:gd name="T1" fmla="*/ 0 h 1159"/>
                  <a:gd name="T2" fmla="*/ 274 w 1159"/>
                  <a:gd name="T3" fmla="*/ 0 h 1159"/>
                  <a:gd name="T4" fmla="*/ 0 w 1159"/>
                  <a:gd name="T5" fmla="*/ 274 h 1159"/>
                  <a:gd name="T6" fmla="*/ 0 w 1159"/>
                  <a:gd name="T7" fmla="*/ 885 h 1159"/>
                  <a:gd name="T8" fmla="*/ 274 w 1159"/>
                  <a:gd name="T9" fmla="*/ 1159 h 1159"/>
                  <a:gd name="T10" fmla="*/ 885 w 1159"/>
                  <a:gd name="T11" fmla="*/ 1159 h 1159"/>
                  <a:gd name="T12" fmla="*/ 1159 w 1159"/>
                  <a:gd name="T13" fmla="*/ 885 h 1159"/>
                  <a:gd name="T14" fmla="*/ 1159 w 1159"/>
                  <a:gd name="T15" fmla="*/ 274 h 1159"/>
                  <a:gd name="T16" fmla="*/ 885 w 1159"/>
                  <a:gd name="T17" fmla="*/ 0 h 1159"/>
                  <a:gd name="T18" fmla="*/ 867 w 1159"/>
                  <a:gd name="T19" fmla="*/ 708 h 1159"/>
                  <a:gd name="T20" fmla="*/ 708 w 1159"/>
                  <a:gd name="T21" fmla="*/ 867 h 1159"/>
                  <a:gd name="T22" fmla="*/ 451 w 1159"/>
                  <a:gd name="T23" fmla="*/ 867 h 1159"/>
                  <a:gd name="T24" fmla="*/ 292 w 1159"/>
                  <a:gd name="T25" fmla="*/ 708 h 1159"/>
                  <a:gd name="T26" fmla="*/ 292 w 1159"/>
                  <a:gd name="T27" fmla="*/ 451 h 1159"/>
                  <a:gd name="T28" fmla="*/ 451 w 1159"/>
                  <a:gd name="T29" fmla="*/ 292 h 1159"/>
                  <a:gd name="T30" fmla="*/ 708 w 1159"/>
                  <a:gd name="T31" fmla="*/ 292 h 1159"/>
                  <a:gd name="T32" fmla="*/ 867 w 1159"/>
                  <a:gd name="T33" fmla="*/ 451 h 1159"/>
                  <a:gd name="T34" fmla="*/ 867 w 1159"/>
                  <a:gd name="T35" fmla="*/ 708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59" h="1159">
                    <a:moveTo>
                      <a:pt x="885" y="0"/>
                    </a:moveTo>
                    <a:cubicBezTo>
                      <a:pt x="274" y="0"/>
                      <a:pt x="274" y="0"/>
                      <a:pt x="274" y="0"/>
                    </a:cubicBezTo>
                    <a:cubicBezTo>
                      <a:pt x="123" y="0"/>
                      <a:pt x="0" y="123"/>
                      <a:pt x="0" y="274"/>
                    </a:cubicBezTo>
                    <a:cubicBezTo>
                      <a:pt x="0" y="885"/>
                      <a:pt x="0" y="885"/>
                      <a:pt x="0" y="885"/>
                    </a:cubicBezTo>
                    <a:cubicBezTo>
                      <a:pt x="0" y="1036"/>
                      <a:pt x="123" y="1159"/>
                      <a:pt x="274" y="1159"/>
                    </a:cubicBezTo>
                    <a:cubicBezTo>
                      <a:pt x="885" y="1159"/>
                      <a:pt x="885" y="1159"/>
                      <a:pt x="885" y="1159"/>
                    </a:cubicBezTo>
                    <a:cubicBezTo>
                      <a:pt x="1036" y="1159"/>
                      <a:pt x="1159" y="1036"/>
                      <a:pt x="1159" y="885"/>
                    </a:cubicBezTo>
                    <a:cubicBezTo>
                      <a:pt x="1159" y="274"/>
                      <a:pt x="1159" y="274"/>
                      <a:pt x="1159" y="274"/>
                    </a:cubicBezTo>
                    <a:cubicBezTo>
                      <a:pt x="1159" y="123"/>
                      <a:pt x="1036" y="0"/>
                      <a:pt x="885" y="0"/>
                    </a:cubicBezTo>
                    <a:close/>
                    <a:moveTo>
                      <a:pt x="867" y="708"/>
                    </a:moveTo>
                    <a:cubicBezTo>
                      <a:pt x="867" y="796"/>
                      <a:pt x="796" y="867"/>
                      <a:pt x="708" y="867"/>
                    </a:cubicBezTo>
                    <a:cubicBezTo>
                      <a:pt x="451" y="867"/>
                      <a:pt x="451" y="867"/>
                      <a:pt x="451" y="867"/>
                    </a:cubicBezTo>
                    <a:cubicBezTo>
                      <a:pt x="363" y="867"/>
                      <a:pt x="292" y="796"/>
                      <a:pt x="292" y="708"/>
                    </a:cubicBezTo>
                    <a:cubicBezTo>
                      <a:pt x="292" y="451"/>
                      <a:pt x="292" y="451"/>
                      <a:pt x="292" y="451"/>
                    </a:cubicBezTo>
                    <a:cubicBezTo>
                      <a:pt x="292" y="363"/>
                      <a:pt x="363" y="292"/>
                      <a:pt x="451" y="292"/>
                    </a:cubicBezTo>
                    <a:cubicBezTo>
                      <a:pt x="708" y="292"/>
                      <a:pt x="708" y="292"/>
                      <a:pt x="708" y="292"/>
                    </a:cubicBezTo>
                    <a:cubicBezTo>
                      <a:pt x="796" y="292"/>
                      <a:pt x="867" y="363"/>
                      <a:pt x="867" y="451"/>
                    </a:cubicBezTo>
                    <a:lnTo>
                      <a:pt x="867" y="708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96D6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33" name="Group 32"/>
          <p:cNvGrpSpPr/>
          <p:nvPr/>
        </p:nvGrpSpPr>
        <p:grpSpPr>
          <a:xfrm>
            <a:off x="4553574" y="1676064"/>
            <a:ext cx="236602" cy="212748"/>
            <a:chOff x="8129377" y="1720034"/>
            <a:chExt cx="279226" cy="279226"/>
          </a:xfrm>
        </p:grpSpPr>
        <p:sp>
          <p:nvSpPr>
            <p:cNvPr id="34" name="Oval 33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FFFFFF"/>
                </a:solidFill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36" name="Freeform 35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7" name="Freeform 36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38" name="Group 37"/>
          <p:cNvGrpSpPr/>
          <p:nvPr/>
        </p:nvGrpSpPr>
        <p:grpSpPr>
          <a:xfrm>
            <a:off x="3818053" y="1321212"/>
            <a:ext cx="236602" cy="212748"/>
            <a:chOff x="8129377" y="1720034"/>
            <a:chExt cx="279226" cy="279226"/>
          </a:xfrm>
        </p:grpSpPr>
        <p:sp>
          <p:nvSpPr>
            <p:cNvPr id="39" name="Oval 38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FFFFFF"/>
                </a:solidFill>
              </a:endParaRPr>
            </a:p>
          </p:txBody>
        </p:sp>
        <p:grpSp>
          <p:nvGrpSpPr>
            <p:cNvPr id="40" name="Group 39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41" name="Freeform 40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42" name="Freeform 41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43" name="Group 42"/>
          <p:cNvGrpSpPr/>
          <p:nvPr/>
        </p:nvGrpSpPr>
        <p:grpSpPr>
          <a:xfrm>
            <a:off x="4149313" y="1805203"/>
            <a:ext cx="236602" cy="212748"/>
            <a:chOff x="8129377" y="1720034"/>
            <a:chExt cx="279226" cy="279226"/>
          </a:xfrm>
        </p:grpSpPr>
        <p:sp>
          <p:nvSpPr>
            <p:cNvPr id="44" name="Oval 43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FFFFFF"/>
                </a:solidFill>
              </a:endParaRPr>
            </a:p>
          </p:txBody>
        </p:sp>
        <p:grpSp>
          <p:nvGrpSpPr>
            <p:cNvPr id="45" name="Group 44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46" name="Freeform 45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47" name="Freeform 46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48" name="Group 47"/>
          <p:cNvGrpSpPr/>
          <p:nvPr/>
        </p:nvGrpSpPr>
        <p:grpSpPr>
          <a:xfrm>
            <a:off x="2051654" y="2370632"/>
            <a:ext cx="236602" cy="212748"/>
            <a:chOff x="8129377" y="1720034"/>
            <a:chExt cx="279226" cy="279226"/>
          </a:xfrm>
        </p:grpSpPr>
        <p:sp>
          <p:nvSpPr>
            <p:cNvPr id="49" name="Oval 48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FFFFFF"/>
                </a:solidFill>
              </a:endParaRPr>
            </a:p>
          </p:txBody>
        </p:sp>
        <p:grpSp>
          <p:nvGrpSpPr>
            <p:cNvPr id="50" name="Group 49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51" name="Freeform 50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52" name="Freeform 51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53" name="Group 52"/>
          <p:cNvGrpSpPr/>
          <p:nvPr/>
        </p:nvGrpSpPr>
        <p:grpSpPr>
          <a:xfrm>
            <a:off x="987237" y="2583380"/>
            <a:ext cx="236602" cy="212748"/>
            <a:chOff x="8129377" y="1720034"/>
            <a:chExt cx="279226" cy="279226"/>
          </a:xfrm>
        </p:grpSpPr>
        <p:sp>
          <p:nvSpPr>
            <p:cNvPr id="54" name="Oval 53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FFFFFF"/>
                </a:solidFill>
              </a:endParaRPr>
            </a:p>
          </p:txBody>
        </p:sp>
        <p:grpSp>
          <p:nvGrpSpPr>
            <p:cNvPr id="55" name="Group 54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56" name="Freeform 55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57" name="Freeform 56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58" name="Group 57"/>
          <p:cNvGrpSpPr/>
          <p:nvPr/>
        </p:nvGrpSpPr>
        <p:grpSpPr>
          <a:xfrm>
            <a:off x="1567402" y="2181598"/>
            <a:ext cx="236602" cy="212748"/>
            <a:chOff x="8129377" y="1720034"/>
            <a:chExt cx="279226" cy="279226"/>
          </a:xfrm>
        </p:grpSpPr>
        <p:sp>
          <p:nvSpPr>
            <p:cNvPr id="59" name="Oval 58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FFFFFF"/>
                </a:solidFill>
              </a:endParaRPr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61" name="Freeform 60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62" name="Freeform 61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63" name="Group 62"/>
          <p:cNvGrpSpPr/>
          <p:nvPr/>
        </p:nvGrpSpPr>
        <p:grpSpPr>
          <a:xfrm>
            <a:off x="2528423" y="1571660"/>
            <a:ext cx="236602" cy="212748"/>
            <a:chOff x="8129377" y="1720034"/>
            <a:chExt cx="279226" cy="279226"/>
          </a:xfrm>
        </p:grpSpPr>
        <p:sp>
          <p:nvSpPr>
            <p:cNvPr id="64" name="Oval 63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FFFFFF"/>
                </a:solidFill>
              </a:endParaRPr>
            </a:p>
          </p:txBody>
        </p:sp>
        <p:grpSp>
          <p:nvGrpSpPr>
            <p:cNvPr id="65" name="Group 64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66" name="Freeform 65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67" name="Freeform 66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68" name="Group 67"/>
          <p:cNvGrpSpPr/>
          <p:nvPr/>
        </p:nvGrpSpPr>
        <p:grpSpPr>
          <a:xfrm>
            <a:off x="3079909" y="1292434"/>
            <a:ext cx="236602" cy="212748"/>
            <a:chOff x="8129377" y="1720034"/>
            <a:chExt cx="279226" cy="279226"/>
          </a:xfrm>
        </p:grpSpPr>
        <p:sp>
          <p:nvSpPr>
            <p:cNvPr id="69" name="Oval 68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FFFFFF"/>
                </a:solidFill>
              </a:endParaRPr>
            </a:p>
          </p:txBody>
        </p:sp>
        <p:grpSp>
          <p:nvGrpSpPr>
            <p:cNvPr id="70" name="Group 69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71" name="Freeform 70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72" name="Freeform 71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73" name="Group 72"/>
          <p:cNvGrpSpPr/>
          <p:nvPr/>
        </p:nvGrpSpPr>
        <p:grpSpPr>
          <a:xfrm>
            <a:off x="2906070" y="1951515"/>
            <a:ext cx="236602" cy="212748"/>
            <a:chOff x="8129377" y="1720034"/>
            <a:chExt cx="279226" cy="279226"/>
          </a:xfrm>
        </p:grpSpPr>
        <p:sp>
          <p:nvSpPr>
            <p:cNvPr id="74" name="Oval 73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FFFFFF"/>
                </a:solidFill>
              </a:endParaRPr>
            </a:p>
          </p:txBody>
        </p:sp>
        <p:grpSp>
          <p:nvGrpSpPr>
            <p:cNvPr id="75" name="Group 74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76" name="Freeform 75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77" name="Freeform 76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78" name="Group 77"/>
          <p:cNvGrpSpPr/>
          <p:nvPr/>
        </p:nvGrpSpPr>
        <p:grpSpPr>
          <a:xfrm>
            <a:off x="3352773" y="1469969"/>
            <a:ext cx="236602" cy="212748"/>
            <a:chOff x="8129377" y="1720034"/>
            <a:chExt cx="279226" cy="279226"/>
          </a:xfrm>
        </p:grpSpPr>
        <p:sp>
          <p:nvSpPr>
            <p:cNvPr id="79" name="Oval 78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FFFFFF"/>
                </a:solidFill>
              </a:endParaRPr>
            </a:p>
          </p:txBody>
        </p:sp>
        <p:grpSp>
          <p:nvGrpSpPr>
            <p:cNvPr id="80" name="Group 79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81" name="Freeform 80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82" name="Freeform 81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83" name="Group 82"/>
          <p:cNvGrpSpPr/>
          <p:nvPr/>
        </p:nvGrpSpPr>
        <p:grpSpPr>
          <a:xfrm>
            <a:off x="3458160" y="1620803"/>
            <a:ext cx="236602" cy="212748"/>
            <a:chOff x="8129377" y="1720034"/>
            <a:chExt cx="279226" cy="279226"/>
          </a:xfrm>
        </p:grpSpPr>
        <p:sp>
          <p:nvSpPr>
            <p:cNvPr id="84" name="Oval 83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FFFFFF"/>
                </a:solidFill>
              </a:endParaRPr>
            </a:p>
          </p:txBody>
        </p:sp>
        <p:grpSp>
          <p:nvGrpSpPr>
            <p:cNvPr id="85" name="Group 84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86" name="Freeform 85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87" name="Freeform 86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88" name="Group 87"/>
          <p:cNvGrpSpPr/>
          <p:nvPr/>
        </p:nvGrpSpPr>
        <p:grpSpPr>
          <a:xfrm>
            <a:off x="3442073" y="2138448"/>
            <a:ext cx="236602" cy="212748"/>
            <a:chOff x="8129377" y="1720034"/>
            <a:chExt cx="279226" cy="279226"/>
          </a:xfrm>
        </p:grpSpPr>
        <p:sp>
          <p:nvSpPr>
            <p:cNvPr id="89" name="Oval 88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FFFFFF"/>
                </a:solidFill>
              </a:endParaRPr>
            </a:p>
          </p:txBody>
        </p:sp>
        <p:grpSp>
          <p:nvGrpSpPr>
            <p:cNvPr id="90" name="Group 89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91" name="Freeform 90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92" name="Freeform 91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93" name="Group 92"/>
          <p:cNvGrpSpPr/>
          <p:nvPr/>
        </p:nvGrpSpPr>
        <p:grpSpPr>
          <a:xfrm>
            <a:off x="2778964" y="3445088"/>
            <a:ext cx="236602" cy="212748"/>
            <a:chOff x="8129377" y="1720034"/>
            <a:chExt cx="279226" cy="279226"/>
          </a:xfrm>
        </p:grpSpPr>
        <p:sp>
          <p:nvSpPr>
            <p:cNvPr id="94" name="Oval 93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FFFFFF"/>
                </a:solidFill>
              </a:endParaRPr>
            </a:p>
          </p:txBody>
        </p:sp>
        <p:grpSp>
          <p:nvGrpSpPr>
            <p:cNvPr id="95" name="Group 94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96" name="Freeform 95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97" name="Freeform 96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98" name="Group 97"/>
          <p:cNvGrpSpPr/>
          <p:nvPr/>
        </p:nvGrpSpPr>
        <p:grpSpPr>
          <a:xfrm>
            <a:off x="913557" y="1645314"/>
            <a:ext cx="258664" cy="232586"/>
            <a:chOff x="971601" y="1893303"/>
            <a:chExt cx="305263" cy="305263"/>
          </a:xfrm>
        </p:grpSpPr>
        <p:sp>
          <p:nvSpPr>
            <p:cNvPr id="99" name="Oval 98"/>
            <p:cNvSpPr/>
            <p:nvPr/>
          </p:nvSpPr>
          <p:spPr>
            <a:xfrm>
              <a:off x="971601" y="1893303"/>
              <a:ext cx="305263" cy="305263"/>
            </a:xfrm>
            <a:prstGeom prst="ellipse">
              <a:avLst/>
            </a:prstGeom>
            <a:solidFill>
              <a:srgbClr val="36A4D7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100" name="Freeform 99"/>
            <p:cNvSpPr>
              <a:spLocks/>
            </p:cNvSpPr>
            <p:nvPr/>
          </p:nvSpPr>
          <p:spPr bwMode="auto">
            <a:xfrm>
              <a:off x="1053833" y="1981355"/>
              <a:ext cx="149716" cy="141972"/>
            </a:xfrm>
            <a:custGeom>
              <a:avLst/>
              <a:gdLst>
                <a:gd name="T0" fmla="*/ 95 w 98"/>
                <a:gd name="T1" fmla="*/ 0 h 93"/>
                <a:gd name="T2" fmla="*/ 98 w 98"/>
                <a:gd name="T3" fmla="*/ 4 h 93"/>
                <a:gd name="T4" fmla="*/ 64 w 98"/>
                <a:gd name="T5" fmla="*/ 39 h 93"/>
                <a:gd name="T6" fmla="*/ 36 w 98"/>
                <a:gd name="T7" fmla="*/ 83 h 93"/>
                <a:gd name="T8" fmla="*/ 31 w 98"/>
                <a:gd name="T9" fmla="*/ 86 h 93"/>
                <a:gd name="T10" fmla="*/ 22 w 98"/>
                <a:gd name="T11" fmla="*/ 93 h 93"/>
                <a:gd name="T12" fmla="*/ 18 w 98"/>
                <a:gd name="T13" fmla="*/ 82 h 93"/>
                <a:gd name="T14" fmla="*/ 16 w 98"/>
                <a:gd name="T15" fmla="*/ 77 h 93"/>
                <a:gd name="T16" fmla="*/ 8 w 98"/>
                <a:gd name="T17" fmla="*/ 63 h 93"/>
                <a:gd name="T18" fmla="*/ 0 w 98"/>
                <a:gd name="T19" fmla="*/ 57 h 93"/>
                <a:gd name="T20" fmla="*/ 14 w 98"/>
                <a:gd name="T21" fmla="*/ 49 h 93"/>
                <a:gd name="T22" fmla="*/ 26 w 98"/>
                <a:gd name="T23" fmla="*/ 63 h 93"/>
                <a:gd name="T24" fmla="*/ 28 w 98"/>
                <a:gd name="T25" fmla="*/ 68 h 93"/>
                <a:gd name="T26" fmla="*/ 59 w 98"/>
                <a:gd name="T27" fmla="*/ 29 h 93"/>
                <a:gd name="T28" fmla="*/ 95 w 98"/>
                <a:gd name="T2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93">
                  <a:moveTo>
                    <a:pt x="95" y="0"/>
                  </a:moveTo>
                  <a:cubicBezTo>
                    <a:pt x="98" y="4"/>
                    <a:pt x="98" y="4"/>
                    <a:pt x="98" y="4"/>
                  </a:cubicBezTo>
                  <a:cubicBezTo>
                    <a:pt x="88" y="11"/>
                    <a:pt x="76" y="23"/>
                    <a:pt x="64" y="39"/>
                  </a:cubicBezTo>
                  <a:cubicBezTo>
                    <a:pt x="52" y="54"/>
                    <a:pt x="42" y="69"/>
                    <a:pt x="36" y="83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26" y="89"/>
                    <a:pt x="24" y="91"/>
                    <a:pt x="22" y="93"/>
                  </a:cubicBezTo>
                  <a:cubicBezTo>
                    <a:pt x="21" y="91"/>
                    <a:pt x="20" y="87"/>
                    <a:pt x="18" y="82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3" y="71"/>
                    <a:pt x="11" y="66"/>
                    <a:pt x="8" y="63"/>
                  </a:cubicBezTo>
                  <a:cubicBezTo>
                    <a:pt x="6" y="60"/>
                    <a:pt x="3" y="58"/>
                    <a:pt x="0" y="57"/>
                  </a:cubicBezTo>
                  <a:cubicBezTo>
                    <a:pt x="5" y="51"/>
                    <a:pt x="10" y="49"/>
                    <a:pt x="14" y="49"/>
                  </a:cubicBezTo>
                  <a:cubicBezTo>
                    <a:pt x="18" y="49"/>
                    <a:pt x="22" y="54"/>
                    <a:pt x="26" y="63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6" y="55"/>
                    <a:pt x="46" y="42"/>
                    <a:pt x="59" y="29"/>
                  </a:cubicBezTo>
                  <a:cubicBezTo>
                    <a:pt x="71" y="17"/>
                    <a:pt x="83" y="7"/>
                    <a:pt x="9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endParaRPr lang="en-US">
                <a:solidFill>
                  <a:srgbClr val="676767"/>
                </a:solidFill>
              </a:endParaRPr>
            </a:p>
          </p:txBody>
        </p:sp>
      </p:grpSp>
      <p:grpSp>
        <p:nvGrpSpPr>
          <p:cNvPr id="101" name="Group 100"/>
          <p:cNvGrpSpPr/>
          <p:nvPr/>
        </p:nvGrpSpPr>
        <p:grpSpPr>
          <a:xfrm>
            <a:off x="5599721" y="1364361"/>
            <a:ext cx="258664" cy="232586"/>
            <a:chOff x="971601" y="1893303"/>
            <a:chExt cx="305263" cy="305263"/>
          </a:xfrm>
        </p:grpSpPr>
        <p:sp>
          <p:nvSpPr>
            <p:cNvPr id="102" name="Oval 101"/>
            <p:cNvSpPr/>
            <p:nvPr/>
          </p:nvSpPr>
          <p:spPr>
            <a:xfrm>
              <a:off x="971601" y="1893303"/>
              <a:ext cx="305263" cy="305263"/>
            </a:xfrm>
            <a:prstGeom prst="ellipse">
              <a:avLst/>
            </a:prstGeom>
            <a:solidFill>
              <a:srgbClr val="36A4D7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103" name="Freeform 102"/>
            <p:cNvSpPr>
              <a:spLocks/>
            </p:cNvSpPr>
            <p:nvPr/>
          </p:nvSpPr>
          <p:spPr bwMode="auto">
            <a:xfrm>
              <a:off x="1053833" y="1981355"/>
              <a:ext cx="149716" cy="141972"/>
            </a:xfrm>
            <a:custGeom>
              <a:avLst/>
              <a:gdLst>
                <a:gd name="T0" fmla="*/ 95 w 98"/>
                <a:gd name="T1" fmla="*/ 0 h 93"/>
                <a:gd name="T2" fmla="*/ 98 w 98"/>
                <a:gd name="T3" fmla="*/ 4 h 93"/>
                <a:gd name="T4" fmla="*/ 64 w 98"/>
                <a:gd name="T5" fmla="*/ 39 h 93"/>
                <a:gd name="T6" fmla="*/ 36 w 98"/>
                <a:gd name="T7" fmla="*/ 83 h 93"/>
                <a:gd name="T8" fmla="*/ 31 w 98"/>
                <a:gd name="T9" fmla="*/ 86 h 93"/>
                <a:gd name="T10" fmla="*/ 22 w 98"/>
                <a:gd name="T11" fmla="*/ 93 h 93"/>
                <a:gd name="T12" fmla="*/ 18 w 98"/>
                <a:gd name="T13" fmla="*/ 82 h 93"/>
                <a:gd name="T14" fmla="*/ 16 w 98"/>
                <a:gd name="T15" fmla="*/ 77 h 93"/>
                <a:gd name="T16" fmla="*/ 8 w 98"/>
                <a:gd name="T17" fmla="*/ 63 h 93"/>
                <a:gd name="T18" fmla="*/ 0 w 98"/>
                <a:gd name="T19" fmla="*/ 57 h 93"/>
                <a:gd name="T20" fmla="*/ 14 w 98"/>
                <a:gd name="T21" fmla="*/ 49 h 93"/>
                <a:gd name="T22" fmla="*/ 26 w 98"/>
                <a:gd name="T23" fmla="*/ 63 h 93"/>
                <a:gd name="T24" fmla="*/ 28 w 98"/>
                <a:gd name="T25" fmla="*/ 68 h 93"/>
                <a:gd name="T26" fmla="*/ 59 w 98"/>
                <a:gd name="T27" fmla="*/ 29 h 93"/>
                <a:gd name="T28" fmla="*/ 95 w 98"/>
                <a:gd name="T2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93">
                  <a:moveTo>
                    <a:pt x="95" y="0"/>
                  </a:moveTo>
                  <a:cubicBezTo>
                    <a:pt x="98" y="4"/>
                    <a:pt x="98" y="4"/>
                    <a:pt x="98" y="4"/>
                  </a:cubicBezTo>
                  <a:cubicBezTo>
                    <a:pt x="88" y="11"/>
                    <a:pt x="76" y="23"/>
                    <a:pt x="64" y="39"/>
                  </a:cubicBezTo>
                  <a:cubicBezTo>
                    <a:pt x="52" y="54"/>
                    <a:pt x="42" y="69"/>
                    <a:pt x="36" y="83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26" y="89"/>
                    <a:pt x="24" y="91"/>
                    <a:pt x="22" y="93"/>
                  </a:cubicBezTo>
                  <a:cubicBezTo>
                    <a:pt x="21" y="91"/>
                    <a:pt x="20" y="87"/>
                    <a:pt x="18" y="82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3" y="71"/>
                    <a:pt x="11" y="66"/>
                    <a:pt x="8" y="63"/>
                  </a:cubicBezTo>
                  <a:cubicBezTo>
                    <a:pt x="6" y="60"/>
                    <a:pt x="3" y="58"/>
                    <a:pt x="0" y="57"/>
                  </a:cubicBezTo>
                  <a:cubicBezTo>
                    <a:pt x="5" y="51"/>
                    <a:pt x="10" y="49"/>
                    <a:pt x="14" y="49"/>
                  </a:cubicBezTo>
                  <a:cubicBezTo>
                    <a:pt x="18" y="49"/>
                    <a:pt x="22" y="54"/>
                    <a:pt x="26" y="63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6" y="55"/>
                    <a:pt x="46" y="42"/>
                    <a:pt x="59" y="29"/>
                  </a:cubicBezTo>
                  <a:cubicBezTo>
                    <a:pt x="71" y="17"/>
                    <a:pt x="83" y="7"/>
                    <a:pt x="9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endParaRPr lang="en-US">
                <a:solidFill>
                  <a:srgbClr val="676767"/>
                </a:solidFill>
              </a:endParaRPr>
            </a:p>
          </p:txBody>
        </p:sp>
      </p:grpSp>
      <p:grpSp>
        <p:nvGrpSpPr>
          <p:cNvPr id="104" name="Group 103"/>
          <p:cNvGrpSpPr/>
          <p:nvPr/>
        </p:nvGrpSpPr>
        <p:grpSpPr>
          <a:xfrm>
            <a:off x="4732634" y="2341094"/>
            <a:ext cx="334517" cy="305306"/>
            <a:chOff x="971601" y="1893303"/>
            <a:chExt cx="305263" cy="305263"/>
          </a:xfrm>
        </p:grpSpPr>
        <p:sp>
          <p:nvSpPr>
            <p:cNvPr id="105" name="Oval 104"/>
            <p:cNvSpPr/>
            <p:nvPr/>
          </p:nvSpPr>
          <p:spPr>
            <a:xfrm>
              <a:off x="971601" y="1893303"/>
              <a:ext cx="305263" cy="305263"/>
            </a:xfrm>
            <a:prstGeom prst="ellipse">
              <a:avLst/>
            </a:prstGeom>
            <a:solidFill>
              <a:srgbClr val="36A4D7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106" name="Freeform 105"/>
            <p:cNvSpPr>
              <a:spLocks/>
            </p:cNvSpPr>
            <p:nvPr/>
          </p:nvSpPr>
          <p:spPr bwMode="auto">
            <a:xfrm>
              <a:off x="1053833" y="1981355"/>
              <a:ext cx="149716" cy="141972"/>
            </a:xfrm>
            <a:custGeom>
              <a:avLst/>
              <a:gdLst>
                <a:gd name="T0" fmla="*/ 95 w 98"/>
                <a:gd name="T1" fmla="*/ 0 h 93"/>
                <a:gd name="T2" fmla="*/ 98 w 98"/>
                <a:gd name="T3" fmla="*/ 4 h 93"/>
                <a:gd name="T4" fmla="*/ 64 w 98"/>
                <a:gd name="T5" fmla="*/ 39 h 93"/>
                <a:gd name="T6" fmla="*/ 36 w 98"/>
                <a:gd name="T7" fmla="*/ 83 h 93"/>
                <a:gd name="T8" fmla="*/ 31 w 98"/>
                <a:gd name="T9" fmla="*/ 86 h 93"/>
                <a:gd name="T10" fmla="*/ 22 w 98"/>
                <a:gd name="T11" fmla="*/ 93 h 93"/>
                <a:gd name="T12" fmla="*/ 18 w 98"/>
                <a:gd name="T13" fmla="*/ 82 h 93"/>
                <a:gd name="T14" fmla="*/ 16 w 98"/>
                <a:gd name="T15" fmla="*/ 77 h 93"/>
                <a:gd name="T16" fmla="*/ 8 w 98"/>
                <a:gd name="T17" fmla="*/ 63 h 93"/>
                <a:gd name="T18" fmla="*/ 0 w 98"/>
                <a:gd name="T19" fmla="*/ 57 h 93"/>
                <a:gd name="T20" fmla="*/ 14 w 98"/>
                <a:gd name="T21" fmla="*/ 49 h 93"/>
                <a:gd name="T22" fmla="*/ 26 w 98"/>
                <a:gd name="T23" fmla="*/ 63 h 93"/>
                <a:gd name="T24" fmla="*/ 28 w 98"/>
                <a:gd name="T25" fmla="*/ 68 h 93"/>
                <a:gd name="T26" fmla="*/ 59 w 98"/>
                <a:gd name="T27" fmla="*/ 29 h 93"/>
                <a:gd name="T28" fmla="*/ 95 w 98"/>
                <a:gd name="T2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93">
                  <a:moveTo>
                    <a:pt x="95" y="0"/>
                  </a:moveTo>
                  <a:cubicBezTo>
                    <a:pt x="98" y="4"/>
                    <a:pt x="98" y="4"/>
                    <a:pt x="98" y="4"/>
                  </a:cubicBezTo>
                  <a:cubicBezTo>
                    <a:pt x="88" y="11"/>
                    <a:pt x="76" y="23"/>
                    <a:pt x="64" y="39"/>
                  </a:cubicBezTo>
                  <a:cubicBezTo>
                    <a:pt x="52" y="54"/>
                    <a:pt x="42" y="69"/>
                    <a:pt x="36" y="83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26" y="89"/>
                    <a:pt x="24" y="91"/>
                    <a:pt x="22" y="93"/>
                  </a:cubicBezTo>
                  <a:cubicBezTo>
                    <a:pt x="21" y="91"/>
                    <a:pt x="20" y="87"/>
                    <a:pt x="18" y="82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3" y="71"/>
                    <a:pt x="11" y="66"/>
                    <a:pt x="8" y="63"/>
                  </a:cubicBezTo>
                  <a:cubicBezTo>
                    <a:pt x="6" y="60"/>
                    <a:pt x="3" y="58"/>
                    <a:pt x="0" y="57"/>
                  </a:cubicBezTo>
                  <a:cubicBezTo>
                    <a:pt x="5" y="51"/>
                    <a:pt x="10" y="49"/>
                    <a:pt x="14" y="49"/>
                  </a:cubicBezTo>
                  <a:cubicBezTo>
                    <a:pt x="18" y="49"/>
                    <a:pt x="22" y="54"/>
                    <a:pt x="26" y="63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6" y="55"/>
                    <a:pt x="46" y="42"/>
                    <a:pt x="59" y="29"/>
                  </a:cubicBezTo>
                  <a:cubicBezTo>
                    <a:pt x="71" y="17"/>
                    <a:pt x="83" y="7"/>
                    <a:pt x="9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endParaRPr lang="en-US">
                <a:solidFill>
                  <a:srgbClr val="676767"/>
                </a:solidFill>
              </a:endParaRPr>
            </a:p>
          </p:txBody>
        </p:sp>
      </p:grpSp>
      <p:sp>
        <p:nvSpPr>
          <p:cNvPr id="107" name="TextBox 106"/>
          <p:cNvSpPr txBox="1"/>
          <p:nvPr/>
        </p:nvSpPr>
        <p:spPr>
          <a:xfrm>
            <a:off x="5323548" y="927130"/>
            <a:ext cx="9901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32B2DF"/>
                </a:solidFill>
                <a:latin typeface="Arial Narrow"/>
                <a:ea typeface="ＭＳ Ｐゴシック" charset="0"/>
                <a:cs typeface="Arial Narrow"/>
              </a:rPr>
              <a:t>5GHz</a:t>
            </a:r>
            <a:br>
              <a:rPr lang="en-US" sz="1200" b="1" dirty="0" smtClean="0">
                <a:solidFill>
                  <a:srgbClr val="32B2DF"/>
                </a:solidFill>
                <a:latin typeface="Arial Narrow"/>
                <a:ea typeface="ＭＳ Ｐゴシック" charset="0"/>
                <a:cs typeface="Arial Narrow"/>
              </a:rPr>
            </a:br>
            <a:r>
              <a:rPr lang="en-US" sz="1200" b="1" dirty="0" smtClean="0">
                <a:solidFill>
                  <a:srgbClr val="32B2DF"/>
                </a:solidFill>
                <a:latin typeface="Arial Narrow"/>
                <a:ea typeface="ＭＳ Ｐゴシック" charset="0"/>
                <a:cs typeface="Arial Narrow"/>
              </a:rPr>
              <a:t>Serving</a:t>
            </a:r>
            <a:endParaRPr lang="en-US" sz="1200" b="1" dirty="0">
              <a:solidFill>
                <a:srgbClr val="32B2DF"/>
              </a:solidFill>
              <a:latin typeface="Arial Narrow"/>
              <a:ea typeface="ＭＳ Ｐゴシック" charset="0"/>
              <a:cs typeface="Arial Narrow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644075" y="1135282"/>
            <a:ext cx="14968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32B2DF"/>
                </a:solidFill>
                <a:latin typeface="Arial Narrow"/>
                <a:ea typeface="ＭＳ Ｐゴシック" charset="0"/>
                <a:cs typeface="Arial Narrow"/>
              </a:rPr>
              <a:t>5Hz</a:t>
            </a:r>
            <a:br>
              <a:rPr lang="en-US" sz="1200" b="1" dirty="0" smtClean="0">
                <a:solidFill>
                  <a:srgbClr val="32B2DF"/>
                </a:solidFill>
                <a:latin typeface="Arial Narrow"/>
                <a:ea typeface="ＭＳ Ｐゴシック" charset="0"/>
                <a:cs typeface="Arial Narrow"/>
              </a:rPr>
            </a:br>
            <a:r>
              <a:rPr lang="en-US" sz="1200" b="1" dirty="0" smtClean="0">
                <a:solidFill>
                  <a:srgbClr val="32B2DF"/>
                </a:solidFill>
                <a:latin typeface="Arial Narrow"/>
                <a:ea typeface="ＭＳ Ｐゴシック" charset="0"/>
                <a:cs typeface="Arial Narrow"/>
              </a:rPr>
              <a:t>Serving</a:t>
            </a:r>
            <a:endParaRPr lang="en-US" sz="1200" b="1" dirty="0">
              <a:solidFill>
                <a:srgbClr val="32B2DF"/>
              </a:solidFill>
              <a:latin typeface="Arial Narrow"/>
              <a:ea typeface="ＭＳ Ｐゴシック" charset="0"/>
              <a:cs typeface="Arial Narrow"/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4553574" y="2604788"/>
            <a:ext cx="7095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32B2DF"/>
                </a:solidFill>
                <a:latin typeface="Arial Narrow"/>
                <a:ea typeface="ＭＳ Ｐゴシック" charset="0"/>
                <a:cs typeface="Arial Narrow"/>
              </a:rPr>
              <a:t>2.4GHz</a:t>
            </a:r>
            <a:br>
              <a:rPr lang="en-US" sz="1200" b="1" dirty="0" smtClean="0">
                <a:solidFill>
                  <a:srgbClr val="32B2DF"/>
                </a:solidFill>
                <a:latin typeface="Arial Narrow"/>
                <a:ea typeface="ＭＳ Ｐゴシック" charset="0"/>
                <a:cs typeface="Arial Narrow"/>
              </a:rPr>
            </a:br>
            <a:r>
              <a:rPr lang="en-US" sz="1200" b="1" dirty="0" smtClean="0">
                <a:solidFill>
                  <a:srgbClr val="32B2DF"/>
                </a:solidFill>
                <a:latin typeface="Arial Narrow"/>
                <a:ea typeface="ＭＳ Ｐゴシック" charset="0"/>
                <a:cs typeface="Arial Narrow"/>
              </a:rPr>
              <a:t>Serving</a:t>
            </a:r>
            <a:endParaRPr lang="en-US" sz="1200" b="1" dirty="0">
              <a:solidFill>
                <a:srgbClr val="32B2DF"/>
              </a:solidFill>
              <a:latin typeface="Arial Narrow"/>
              <a:ea typeface="ＭＳ Ｐゴシック" charset="0"/>
              <a:cs typeface="Arial Narrow"/>
            </a:endParaRPr>
          </a:p>
        </p:txBody>
      </p:sp>
      <p:grpSp>
        <p:nvGrpSpPr>
          <p:cNvPr id="110" name="Group 109"/>
          <p:cNvGrpSpPr/>
          <p:nvPr/>
        </p:nvGrpSpPr>
        <p:grpSpPr>
          <a:xfrm>
            <a:off x="4090107" y="5127267"/>
            <a:ext cx="236602" cy="212748"/>
            <a:chOff x="8129377" y="1720034"/>
            <a:chExt cx="279226" cy="279226"/>
          </a:xfrm>
        </p:grpSpPr>
        <p:sp>
          <p:nvSpPr>
            <p:cNvPr id="111" name="Oval 110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FFFFFF"/>
                </a:solidFill>
              </a:endParaRPr>
            </a:p>
          </p:txBody>
        </p:sp>
        <p:grpSp>
          <p:nvGrpSpPr>
            <p:cNvPr id="112" name="Group 111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113" name="Freeform 112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114" name="Freeform 113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115" name="Group 114"/>
          <p:cNvGrpSpPr/>
          <p:nvPr/>
        </p:nvGrpSpPr>
        <p:grpSpPr>
          <a:xfrm>
            <a:off x="4487303" y="5127267"/>
            <a:ext cx="236602" cy="212748"/>
            <a:chOff x="8129377" y="1720034"/>
            <a:chExt cx="279226" cy="279226"/>
          </a:xfrm>
        </p:grpSpPr>
        <p:sp>
          <p:nvSpPr>
            <p:cNvPr id="116" name="Oval 115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FFFFFF"/>
                </a:solidFill>
              </a:endParaRPr>
            </a:p>
          </p:txBody>
        </p:sp>
        <p:grpSp>
          <p:nvGrpSpPr>
            <p:cNvPr id="117" name="Group 116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118" name="Freeform 117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119" name="Freeform 118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120" name="Group 119"/>
          <p:cNvGrpSpPr/>
          <p:nvPr/>
        </p:nvGrpSpPr>
        <p:grpSpPr>
          <a:xfrm>
            <a:off x="4940368" y="5127267"/>
            <a:ext cx="236602" cy="212748"/>
            <a:chOff x="8129377" y="1720034"/>
            <a:chExt cx="279226" cy="279226"/>
          </a:xfrm>
        </p:grpSpPr>
        <p:sp>
          <p:nvSpPr>
            <p:cNvPr id="121" name="Oval 120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FFFFFF"/>
                </a:solidFill>
              </a:endParaRPr>
            </a:p>
          </p:txBody>
        </p:sp>
        <p:grpSp>
          <p:nvGrpSpPr>
            <p:cNvPr id="122" name="Group 121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123" name="Freeform 122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124" name="Freeform 123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125" name="Group 124"/>
          <p:cNvGrpSpPr/>
          <p:nvPr/>
        </p:nvGrpSpPr>
        <p:grpSpPr>
          <a:xfrm>
            <a:off x="5330834" y="5127267"/>
            <a:ext cx="236602" cy="212748"/>
            <a:chOff x="8129377" y="1720034"/>
            <a:chExt cx="279226" cy="279226"/>
          </a:xfrm>
        </p:grpSpPr>
        <p:sp>
          <p:nvSpPr>
            <p:cNvPr id="126" name="Oval 125"/>
            <p:cNvSpPr/>
            <p:nvPr/>
          </p:nvSpPr>
          <p:spPr>
            <a:xfrm>
              <a:off x="8129377" y="1720034"/>
              <a:ext cx="279226" cy="279226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FFFFFF"/>
                </a:solidFill>
              </a:endParaRPr>
            </a:p>
          </p:txBody>
        </p:sp>
        <p:grpSp>
          <p:nvGrpSpPr>
            <p:cNvPr id="127" name="Group 126"/>
            <p:cNvGrpSpPr/>
            <p:nvPr/>
          </p:nvGrpSpPr>
          <p:grpSpPr>
            <a:xfrm>
              <a:off x="8234764" y="1769177"/>
              <a:ext cx="72837" cy="187637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128" name="Freeform 127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129" name="Freeform 128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130" name="Group 129"/>
          <p:cNvGrpSpPr/>
          <p:nvPr/>
        </p:nvGrpSpPr>
        <p:grpSpPr>
          <a:xfrm>
            <a:off x="2333485" y="3091047"/>
            <a:ext cx="152345" cy="136986"/>
            <a:chOff x="7700626" y="3432659"/>
            <a:chExt cx="329352" cy="329352"/>
          </a:xfrm>
        </p:grpSpPr>
        <p:sp>
          <p:nvSpPr>
            <p:cNvPr id="131" name="Oval 130"/>
            <p:cNvSpPr/>
            <p:nvPr/>
          </p:nvSpPr>
          <p:spPr>
            <a:xfrm>
              <a:off x="7700626" y="3432659"/>
              <a:ext cx="329352" cy="329352"/>
            </a:xfrm>
            <a:prstGeom prst="ellipse">
              <a:avLst/>
            </a:prstGeom>
            <a:solidFill>
              <a:schemeClr val="accent5"/>
            </a:solidFill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2" name="Freeform 131"/>
            <p:cNvSpPr>
              <a:spLocks noEditPoints="1"/>
            </p:cNvSpPr>
            <p:nvPr/>
          </p:nvSpPr>
          <p:spPr bwMode="auto">
            <a:xfrm>
              <a:off x="7811207" y="3517084"/>
              <a:ext cx="108190" cy="160503"/>
            </a:xfrm>
            <a:custGeom>
              <a:avLst/>
              <a:gdLst>
                <a:gd name="T0" fmla="*/ 407 w 450"/>
                <a:gd name="T1" fmla="*/ 360 h 666"/>
                <a:gd name="T2" fmla="*/ 450 w 450"/>
                <a:gd name="T3" fmla="*/ 225 h 666"/>
                <a:gd name="T4" fmla="*/ 225 w 450"/>
                <a:gd name="T5" fmla="*/ 0 h 666"/>
                <a:gd name="T6" fmla="*/ 0 w 450"/>
                <a:gd name="T7" fmla="*/ 225 h 666"/>
                <a:gd name="T8" fmla="*/ 42 w 450"/>
                <a:gd name="T9" fmla="*/ 360 h 666"/>
                <a:gd name="T10" fmla="*/ 225 w 450"/>
                <a:gd name="T11" fmla="*/ 666 h 666"/>
                <a:gd name="T12" fmla="*/ 407 w 450"/>
                <a:gd name="T13" fmla="*/ 360 h 666"/>
                <a:gd name="T14" fmla="*/ 225 w 450"/>
                <a:gd name="T15" fmla="*/ 99 h 666"/>
                <a:gd name="T16" fmla="*/ 350 w 450"/>
                <a:gd name="T17" fmla="*/ 225 h 666"/>
                <a:gd name="T18" fmla="*/ 225 w 450"/>
                <a:gd name="T19" fmla="*/ 350 h 666"/>
                <a:gd name="T20" fmla="*/ 100 w 450"/>
                <a:gd name="T21" fmla="*/ 225 h 666"/>
                <a:gd name="T22" fmla="*/ 225 w 450"/>
                <a:gd name="T23" fmla="*/ 99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0" h="666">
                  <a:moveTo>
                    <a:pt x="407" y="360"/>
                  </a:moveTo>
                  <a:cubicBezTo>
                    <a:pt x="430" y="319"/>
                    <a:pt x="450" y="274"/>
                    <a:pt x="450" y="225"/>
                  </a:cubicBezTo>
                  <a:cubicBezTo>
                    <a:pt x="450" y="101"/>
                    <a:pt x="349" y="0"/>
                    <a:pt x="225" y="0"/>
                  </a:cubicBezTo>
                  <a:cubicBezTo>
                    <a:pt x="101" y="0"/>
                    <a:pt x="0" y="101"/>
                    <a:pt x="0" y="225"/>
                  </a:cubicBezTo>
                  <a:cubicBezTo>
                    <a:pt x="0" y="274"/>
                    <a:pt x="19" y="318"/>
                    <a:pt x="42" y="360"/>
                  </a:cubicBezTo>
                  <a:cubicBezTo>
                    <a:pt x="65" y="400"/>
                    <a:pt x="184" y="581"/>
                    <a:pt x="225" y="666"/>
                  </a:cubicBezTo>
                  <a:cubicBezTo>
                    <a:pt x="270" y="574"/>
                    <a:pt x="385" y="400"/>
                    <a:pt x="407" y="360"/>
                  </a:cubicBezTo>
                  <a:close/>
                  <a:moveTo>
                    <a:pt x="225" y="99"/>
                  </a:moveTo>
                  <a:cubicBezTo>
                    <a:pt x="294" y="99"/>
                    <a:pt x="350" y="156"/>
                    <a:pt x="350" y="225"/>
                  </a:cubicBezTo>
                  <a:cubicBezTo>
                    <a:pt x="350" y="294"/>
                    <a:pt x="294" y="350"/>
                    <a:pt x="225" y="350"/>
                  </a:cubicBezTo>
                  <a:cubicBezTo>
                    <a:pt x="156" y="350"/>
                    <a:pt x="100" y="294"/>
                    <a:pt x="100" y="225"/>
                  </a:cubicBezTo>
                  <a:cubicBezTo>
                    <a:pt x="100" y="156"/>
                    <a:pt x="156" y="99"/>
                    <a:pt x="225" y="99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676767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grpSp>
        <p:nvGrpSpPr>
          <p:cNvPr id="133" name="Group 132"/>
          <p:cNvGrpSpPr/>
          <p:nvPr/>
        </p:nvGrpSpPr>
        <p:grpSpPr>
          <a:xfrm>
            <a:off x="2550941" y="2966377"/>
            <a:ext cx="152345" cy="136986"/>
            <a:chOff x="7700626" y="3432659"/>
            <a:chExt cx="329352" cy="329352"/>
          </a:xfrm>
        </p:grpSpPr>
        <p:sp>
          <p:nvSpPr>
            <p:cNvPr id="134" name="Oval 133"/>
            <p:cNvSpPr/>
            <p:nvPr/>
          </p:nvSpPr>
          <p:spPr>
            <a:xfrm>
              <a:off x="7700626" y="3432659"/>
              <a:ext cx="329352" cy="329352"/>
            </a:xfrm>
            <a:prstGeom prst="ellipse">
              <a:avLst/>
            </a:prstGeom>
            <a:solidFill>
              <a:schemeClr val="accent5"/>
            </a:solidFill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5" name="Freeform 134"/>
            <p:cNvSpPr>
              <a:spLocks noEditPoints="1"/>
            </p:cNvSpPr>
            <p:nvPr/>
          </p:nvSpPr>
          <p:spPr bwMode="auto">
            <a:xfrm>
              <a:off x="7811207" y="3517084"/>
              <a:ext cx="108190" cy="160503"/>
            </a:xfrm>
            <a:custGeom>
              <a:avLst/>
              <a:gdLst>
                <a:gd name="T0" fmla="*/ 407 w 450"/>
                <a:gd name="T1" fmla="*/ 360 h 666"/>
                <a:gd name="T2" fmla="*/ 450 w 450"/>
                <a:gd name="T3" fmla="*/ 225 h 666"/>
                <a:gd name="T4" fmla="*/ 225 w 450"/>
                <a:gd name="T5" fmla="*/ 0 h 666"/>
                <a:gd name="T6" fmla="*/ 0 w 450"/>
                <a:gd name="T7" fmla="*/ 225 h 666"/>
                <a:gd name="T8" fmla="*/ 42 w 450"/>
                <a:gd name="T9" fmla="*/ 360 h 666"/>
                <a:gd name="T10" fmla="*/ 225 w 450"/>
                <a:gd name="T11" fmla="*/ 666 h 666"/>
                <a:gd name="T12" fmla="*/ 407 w 450"/>
                <a:gd name="T13" fmla="*/ 360 h 666"/>
                <a:gd name="T14" fmla="*/ 225 w 450"/>
                <a:gd name="T15" fmla="*/ 99 h 666"/>
                <a:gd name="T16" fmla="*/ 350 w 450"/>
                <a:gd name="T17" fmla="*/ 225 h 666"/>
                <a:gd name="T18" fmla="*/ 225 w 450"/>
                <a:gd name="T19" fmla="*/ 350 h 666"/>
                <a:gd name="T20" fmla="*/ 100 w 450"/>
                <a:gd name="T21" fmla="*/ 225 h 666"/>
                <a:gd name="T22" fmla="*/ 225 w 450"/>
                <a:gd name="T23" fmla="*/ 99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0" h="666">
                  <a:moveTo>
                    <a:pt x="407" y="360"/>
                  </a:moveTo>
                  <a:cubicBezTo>
                    <a:pt x="430" y="319"/>
                    <a:pt x="450" y="274"/>
                    <a:pt x="450" y="225"/>
                  </a:cubicBezTo>
                  <a:cubicBezTo>
                    <a:pt x="450" y="101"/>
                    <a:pt x="349" y="0"/>
                    <a:pt x="225" y="0"/>
                  </a:cubicBezTo>
                  <a:cubicBezTo>
                    <a:pt x="101" y="0"/>
                    <a:pt x="0" y="101"/>
                    <a:pt x="0" y="225"/>
                  </a:cubicBezTo>
                  <a:cubicBezTo>
                    <a:pt x="0" y="274"/>
                    <a:pt x="19" y="318"/>
                    <a:pt x="42" y="360"/>
                  </a:cubicBezTo>
                  <a:cubicBezTo>
                    <a:pt x="65" y="400"/>
                    <a:pt x="184" y="581"/>
                    <a:pt x="225" y="666"/>
                  </a:cubicBezTo>
                  <a:cubicBezTo>
                    <a:pt x="270" y="574"/>
                    <a:pt x="385" y="400"/>
                    <a:pt x="407" y="360"/>
                  </a:cubicBezTo>
                  <a:close/>
                  <a:moveTo>
                    <a:pt x="225" y="99"/>
                  </a:moveTo>
                  <a:cubicBezTo>
                    <a:pt x="294" y="99"/>
                    <a:pt x="350" y="156"/>
                    <a:pt x="350" y="225"/>
                  </a:cubicBezTo>
                  <a:cubicBezTo>
                    <a:pt x="350" y="294"/>
                    <a:pt x="294" y="350"/>
                    <a:pt x="225" y="350"/>
                  </a:cubicBezTo>
                  <a:cubicBezTo>
                    <a:pt x="156" y="350"/>
                    <a:pt x="100" y="294"/>
                    <a:pt x="100" y="225"/>
                  </a:cubicBezTo>
                  <a:cubicBezTo>
                    <a:pt x="100" y="156"/>
                    <a:pt x="156" y="99"/>
                    <a:pt x="225" y="99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676767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grpSp>
        <p:nvGrpSpPr>
          <p:cNvPr id="136" name="Group 135"/>
          <p:cNvGrpSpPr/>
          <p:nvPr/>
        </p:nvGrpSpPr>
        <p:grpSpPr>
          <a:xfrm>
            <a:off x="2773936" y="2831665"/>
            <a:ext cx="152345" cy="136986"/>
            <a:chOff x="7700626" y="3432659"/>
            <a:chExt cx="329352" cy="329352"/>
          </a:xfrm>
        </p:grpSpPr>
        <p:sp>
          <p:nvSpPr>
            <p:cNvPr id="137" name="Oval 136"/>
            <p:cNvSpPr/>
            <p:nvPr/>
          </p:nvSpPr>
          <p:spPr>
            <a:xfrm>
              <a:off x="7700626" y="3432659"/>
              <a:ext cx="329352" cy="329352"/>
            </a:xfrm>
            <a:prstGeom prst="ellipse">
              <a:avLst/>
            </a:prstGeom>
            <a:solidFill>
              <a:schemeClr val="accent5"/>
            </a:solidFill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8" name="Freeform 137"/>
            <p:cNvSpPr>
              <a:spLocks noEditPoints="1"/>
            </p:cNvSpPr>
            <p:nvPr/>
          </p:nvSpPr>
          <p:spPr bwMode="auto">
            <a:xfrm>
              <a:off x="7811207" y="3517084"/>
              <a:ext cx="108190" cy="160503"/>
            </a:xfrm>
            <a:custGeom>
              <a:avLst/>
              <a:gdLst>
                <a:gd name="T0" fmla="*/ 407 w 450"/>
                <a:gd name="T1" fmla="*/ 360 h 666"/>
                <a:gd name="T2" fmla="*/ 450 w 450"/>
                <a:gd name="T3" fmla="*/ 225 h 666"/>
                <a:gd name="T4" fmla="*/ 225 w 450"/>
                <a:gd name="T5" fmla="*/ 0 h 666"/>
                <a:gd name="T6" fmla="*/ 0 w 450"/>
                <a:gd name="T7" fmla="*/ 225 h 666"/>
                <a:gd name="T8" fmla="*/ 42 w 450"/>
                <a:gd name="T9" fmla="*/ 360 h 666"/>
                <a:gd name="T10" fmla="*/ 225 w 450"/>
                <a:gd name="T11" fmla="*/ 666 h 666"/>
                <a:gd name="T12" fmla="*/ 407 w 450"/>
                <a:gd name="T13" fmla="*/ 360 h 666"/>
                <a:gd name="T14" fmla="*/ 225 w 450"/>
                <a:gd name="T15" fmla="*/ 99 h 666"/>
                <a:gd name="T16" fmla="*/ 350 w 450"/>
                <a:gd name="T17" fmla="*/ 225 h 666"/>
                <a:gd name="T18" fmla="*/ 225 w 450"/>
                <a:gd name="T19" fmla="*/ 350 h 666"/>
                <a:gd name="T20" fmla="*/ 100 w 450"/>
                <a:gd name="T21" fmla="*/ 225 h 666"/>
                <a:gd name="T22" fmla="*/ 225 w 450"/>
                <a:gd name="T23" fmla="*/ 99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0" h="666">
                  <a:moveTo>
                    <a:pt x="407" y="360"/>
                  </a:moveTo>
                  <a:cubicBezTo>
                    <a:pt x="430" y="319"/>
                    <a:pt x="450" y="274"/>
                    <a:pt x="450" y="225"/>
                  </a:cubicBezTo>
                  <a:cubicBezTo>
                    <a:pt x="450" y="101"/>
                    <a:pt x="349" y="0"/>
                    <a:pt x="225" y="0"/>
                  </a:cubicBezTo>
                  <a:cubicBezTo>
                    <a:pt x="101" y="0"/>
                    <a:pt x="0" y="101"/>
                    <a:pt x="0" y="225"/>
                  </a:cubicBezTo>
                  <a:cubicBezTo>
                    <a:pt x="0" y="274"/>
                    <a:pt x="19" y="318"/>
                    <a:pt x="42" y="360"/>
                  </a:cubicBezTo>
                  <a:cubicBezTo>
                    <a:pt x="65" y="400"/>
                    <a:pt x="184" y="581"/>
                    <a:pt x="225" y="666"/>
                  </a:cubicBezTo>
                  <a:cubicBezTo>
                    <a:pt x="270" y="574"/>
                    <a:pt x="385" y="400"/>
                    <a:pt x="407" y="360"/>
                  </a:cubicBezTo>
                  <a:close/>
                  <a:moveTo>
                    <a:pt x="225" y="99"/>
                  </a:moveTo>
                  <a:cubicBezTo>
                    <a:pt x="294" y="99"/>
                    <a:pt x="350" y="156"/>
                    <a:pt x="350" y="225"/>
                  </a:cubicBezTo>
                  <a:cubicBezTo>
                    <a:pt x="350" y="294"/>
                    <a:pt x="294" y="350"/>
                    <a:pt x="225" y="350"/>
                  </a:cubicBezTo>
                  <a:cubicBezTo>
                    <a:pt x="156" y="350"/>
                    <a:pt x="100" y="294"/>
                    <a:pt x="100" y="225"/>
                  </a:cubicBezTo>
                  <a:cubicBezTo>
                    <a:pt x="100" y="156"/>
                    <a:pt x="156" y="99"/>
                    <a:pt x="225" y="99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676767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grpSp>
        <p:nvGrpSpPr>
          <p:cNvPr id="139" name="Group 138"/>
          <p:cNvGrpSpPr/>
          <p:nvPr/>
        </p:nvGrpSpPr>
        <p:grpSpPr>
          <a:xfrm>
            <a:off x="2983879" y="2691710"/>
            <a:ext cx="152345" cy="136986"/>
            <a:chOff x="7700626" y="3432659"/>
            <a:chExt cx="329352" cy="329352"/>
          </a:xfrm>
        </p:grpSpPr>
        <p:sp>
          <p:nvSpPr>
            <p:cNvPr id="140" name="Oval 139"/>
            <p:cNvSpPr/>
            <p:nvPr/>
          </p:nvSpPr>
          <p:spPr>
            <a:xfrm>
              <a:off x="7700626" y="3432659"/>
              <a:ext cx="329352" cy="329352"/>
            </a:xfrm>
            <a:prstGeom prst="ellipse">
              <a:avLst/>
            </a:prstGeom>
            <a:solidFill>
              <a:schemeClr val="accent5"/>
            </a:solidFill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141" name="Freeform 140"/>
            <p:cNvSpPr>
              <a:spLocks noEditPoints="1"/>
            </p:cNvSpPr>
            <p:nvPr/>
          </p:nvSpPr>
          <p:spPr bwMode="auto">
            <a:xfrm>
              <a:off x="7811207" y="3517084"/>
              <a:ext cx="108190" cy="160503"/>
            </a:xfrm>
            <a:custGeom>
              <a:avLst/>
              <a:gdLst>
                <a:gd name="T0" fmla="*/ 407 w 450"/>
                <a:gd name="T1" fmla="*/ 360 h 666"/>
                <a:gd name="T2" fmla="*/ 450 w 450"/>
                <a:gd name="T3" fmla="*/ 225 h 666"/>
                <a:gd name="T4" fmla="*/ 225 w 450"/>
                <a:gd name="T5" fmla="*/ 0 h 666"/>
                <a:gd name="T6" fmla="*/ 0 w 450"/>
                <a:gd name="T7" fmla="*/ 225 h 666"/>
                <a:gd name="T8" fmla="*/ 42 w 450"/>
                <a:gd name="T9" fmla="*/ 360 h 666"/>
                <a:gd name="T10" fmla="*/ 225 w 450"/>
                <a:gd name="T11" fmla="*/ 666 h 666"/>
                <a:gd name="T12" fmla="*/ 407 w 450"/>
                <a:gd name="T13" fmla="*/ 360 h 666"/>
                <a:gd name="T14" fmla="*/ 225 w 450"/>
                <a:gd name="T15" fmla="*/ 99 h 666"/>
                <a:gd name="T16" fmla="*/ 350 w 450"/>
                <a:gd name="T17" fmla="*/ 225 h 666"/>
                <a:gd name="T18" fmla="*/ 225 w 450"/>
                <a:gd name="T19" fmla="*/ 350 h 666"/>
                <a:gd name="T20" fmla="*/ 100 w 450"/>
                <a:gd name="T21" fmla="*/ 225 h 666"/>
                <a:gd name="T22" fmla="*/ 225 w 450"/>
                <a:gd name="T23" fmla="*/ 99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0" h="666">
                  <a:moveTo>
                    <a:pt x="407" y="360"/>
                  </a:moveTo>
                  <a:cubicBezTo>
                    <a:pt x="430" y="319"/>
                    <a:pt x="450" y="274"/>
                    <a:pt x="450" y="225"/>
                  </a:cubicBezTo>
                  <a:cubicBezTo>
                    <a:pt x="450" y="101"/>
                    <a:pt x="349" y="0"/>
                    <a:pt x="225" y="0"/>
                  </a:cubicBezTo>
                  <a:cubicBezTo>
                    <a:pt x="101" y="0"/>
                    <a:pt x="0" y="101"/>
                    <a:pt x="0" y="225"/>
                  </a:cubicBezTo>
                  <a:cubicBezTo>
                    <a:pt x="0" y="274"/>
                    <a:pt x="19" y="318"/>
                    <a:pt x="42" y="360"/>
                  </a:cubicBezTo>
                  <a:cubicBezTo>
                    <a:pt x="65" y="400"/>
                    <a:pt x="184" y="581"/>
                    <a:pt x="225" y="666"/>
                  </a:cubicBezTo>
                  <a:cubicBezTo>
                    <a:pt x="270" y="574"/>
                    <a:pt x="385" y="400"/>
                    <a:pt x="407" y="360"/>
                  </a:cubicBezTo>
                  <a:close/>
                  <a:moveTo>
                    <a:pt x="225" y="99"/>
                  </a:moveTo>
                  <a:cubicBezTo>
                    <a:pt x="294" y="99"/>
                    <a:pt x="350" y="156"/>
                    <a:pt x="350" y="225"/>
                  </a:cubicBezTo>
                  <a:cubicBezTo>
                    <a:pt x="350" y="294"/>
                    <a:pt x="294" y="350"/>
                    <a:pt x="225" y="350"/>
                  </a:cubicBezTo>
                  <a:cubicBezTo>
                    <a:pt x="156" y="350"/>
                    <a:pt x="100" y="294"/>
                    <a:pt x="100" y="225"/>
                  </a:cubicBezTo>
                  <a:cubicBezTo>
                    <a:pt x="100" y="156"/>
                    <a:pt x="156" y="99"/>
                    <a:pt x="225" y="99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676767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sp>
        <p:nvSpPr>
          <p:cNvPr id="149" name="TextBox 148"/>
          <p:cNvSpPr txBox="1"/>
          <p:nvPr/>
        </p:nvSpPr>
        <p:spPr>
          <a:xfrm>
            <a:off x="6118906" y="705558"/>
            <a:ext cx="302509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100" dirty="0" smtClean="0">
              <a:solidFill>
                <a:srgbClr val="2968AF"/>
              </a:solidFill>
              <a:latin typeface="Avenir Next Regular"/>
              <a:ea typeface="ＭＳ Ｐゴシック" charset="0"/>
              <a:cs typeface="Avenir Next Regular"/>
            </a:endParaRPr>
          </a:p>
          <a:p>
            <a:pPr marL="171450" indent="-171450" defTabSz="45720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ü"/>
            </a:pPr>
            <a:r>
              <a:rPr lang="en-US" sz="1100" dirty="0" smtClean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FRA</a:t>
            </a:r>
            <a:r>
              <a:rPr lang="en-US" sz="1100" dirty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-auto (default value) or </a:t>
            </a:r>
            <a:r>
              <a:rPr lang="en-US" sz="1100" dirty="0" smtClean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Manual </a:t>
            </a:r>
          </a:p>
          <a:p>
            <a:pPr marL="171450" indent="-171450" defTabSz="45720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ü"/>
            </a:pPr>
            <a:endParaRPr lang="en-US" sz="1100" dirty="0" smtClean="0">
              <a:solidFill>
                <a:srgbClr val="2968AF"/>
              </a:solidFill>
              <a:latin typeface="Avenir Next Regular"/>
              <a:ea typeface="ＭＳ Ｐゴシック" charset="0"/>
              <a:cs typeface="Avenir Next Regular"/>
            </a:endParaRPr>
          </a:p>
          <a:p>
            <a:pPr marL="171450" indent="-171450" defTabSz="45720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ü"/>
            </a:pPr>
            <a:r>
              <a:rPr lang="en-US" sz="1100" dirty="0" smtClean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Auto </a:t>
            </a:r>
            <a:r>
              <a:rPr lang="en-US" sz="1100" dirty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2.4 -&gt; 5GHz or Monitor </a:t>
            </a:r>
            <a:r>
              <a:rPr lang="en-US" sz="1100" dirty="0" smtClean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Mode</a:t>
            </a:r>
          </a:p>
          <a:p>
            <a:pPr marL="171450" indent="-171450" defTabSz="45720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ü"/>
            </a:pPr>
            <a:endParaRPr lang="en-US" sz="1100" dirty="0" smtClean="0">
              <a:solidFill>
                <a:srgbClr val="2968AF"/>
              </a:solidFill>
              <a:latin typeface="Avenir Next Regular"/>
              <a:ea typeface="ＭＳ Ｐゴシック" charset="0"/>
              <a:cs typeface="Avenir Next Regular"/>
            </a:endParaRPr>
          </a:p>
          <a:p>
            <a:pPr marL="171450" indent="-171450" defTabSz="45720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ü"/>
            </a:pPr>
            <a:r>
              <a:rPr lang="en-US" sz="1100" dirty="0" smtClean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Transition to 2.4 GHz if coverage drops</a:t>
            </a:r>
            <a:endParaRPr lang="en-US" sz="1100" dirty="0">
              <a:solidFill>
                <a:srgbClr val="2968AF"/>
              </a:solidFill>
              <a:latin typeface="Avenir Next Regular"/>
              <a:ea typeface="ＭＳ Ｐゴシック" charset="0"/>
              <a:cs typeface="Avenir Next Regular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100" dirty="0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100" dirty="0" smtClean="0">
              <a:solidFill>
                <a:srgbClr val="2968AF"/>
              </a:solidFill>
              <a:latin typeface="Avenir Next Regular"/>
              <a:ea typeface="ＭＳ Ｐゴシック" charset="0"/>
              <a:cs typeface="Avenir Next Regular"/>
            </a:endParaRPr>
          </a:p>
        </p:txBody>
      </p:sp>
      <p:pic>
        <p:nvPicPr>
          <p:cNvPr id="151" name="Picture 150" descr="413332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3713" y="2046649"/>
            <a:ext cx="2220682" cy="288790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57" name="Picture 15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34659" y="3774476"/>
            <a:ext cx="4702404" cy="116007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grpSp>
        <p:nvGrpSpPr>
          <p:cNvPr id="158" name="Group 157"/>
          <p:cNvGrpSpPr/>
          <p:nvPr/>
        </p:nvGrpSpPr>
        <p:grpSpPr>
          <a:xfrm>
            <a:off x="6059335" y="821523"/>
            <a:ext cx="305263" cy="305263"/>
            <a:chOff x="971601" y="1893303"/>
            <a:chExt cx="305263" cy="305263"/>
          </a:xfrm>
        </p:grpSpPr>
        <p:sp>
          <p:nvSpPr>
            <p:cNvPr id="159" name="Oval 158"/>
            <p:cNvSpPr/>
            <p:nvPr/>
          </p:nvSpPr>
          <p:spPr>
            <a:xfrm>
              <a:off x="971601" y="1893303"/>
              <a:ext cx="305263" cy="305263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160" name="Freeform 159"/>
            <p:cNvSpPr>
              <a:spLocks/>
            </p:cNvSpPr>
            <p:nvPr/>
          </p:nvSpPr>
          <p:spPr bwMode="auto">
            <a:xfrm>
              <a:off x="1053833" y="1981355"/>
              <a:ext cx="149716" cy="141972"/>
            </a:xfrm>
            <a:custGeom>
              <a:avLst/>
              <a:gdLst>
                <a:gd name="T0" fmla="*/ 95 w 98"/>
                <a:gd name="T1" fmla="*/ 0 h 93"/>
                <a:gd name="T2" fmla="*/ 98 w 98"/>
                <a:gd name="T3" fmla="*/ 4 h 93"/>
                <a:gd name="T4" fmla="*/ 64 w 98"/>
                <a:gd name="T5" fmla="*/ 39 h 93"/>
                <a:gd name="T6" fmla="*/ 36 w 98"/>
                <a:gd name="T7" fmla="*/ 83 h 93"/>
                <a:gd name="T8" fmla="*/ 31 w 98"/>
                <a:gd name="T9" fmla="*/ 86 h 93"/>
                <a:gd name="T10" fmla="*/ 22 w 98"/>
                <a:gd name="T11" fmla="*/ 93 h 93"/>
                <a:gd name="T12" fmla="*/ 18 w 98"/>
                <a:gd name="T13" fmla="*/ 82 h 93"/>
                <a:gd name="T14" fmla="*/ 16 w 98"/>
                <a:gd name="T15" fmla="*/ 77 h 93"/>
                <a:gd name="T16" fmla="*/ 8 w 98"/>
                <a:gd name="T17" fmla="*/ 63 h 93"/>
                <a:gd name="T18" fmla="*/ 0 w 98"/>
                <a:gd name="T19" fmla="*/ 57 h 93"/>
                <a:gd name="T20" fmla="*/ 14 w 98"/>
                <a:gd name="T21" fmla="*/ 49 h 93"/>
                <a:gd name="T22" fmla="*/ 26 w 98"/>
                <a:gd name="T23" fmla="*/ 63 h 93"/>
                <a:gd name="T24" fmla="*/ 28 w 98"/>
                <a:gd name="T25" fmla="*/ 68 h 93"/>
                <a:gd name="T26" fmla="*/ 59 w 98"/>
                <a:gd name="T27" fmla="*/ 29 h 93"/>
                <a:gd name="T28" fmla="*/ 95 w 98"/>
                <a:gd name="T2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93">
                  <a:moveTo>
                    <a:pt x="95" y="0"/>
                  </a:moveTo>
                  <a:cubicBezTo>
                    <a:pt x="98" y="4"/>
                    <a:pt x="98" y="4"/>
                    <a:pt x="98" y="4"/>
                  </a:cubicBezTo>
                  <a:cubicBezTo>
                    <a:pt x="88" y="11"/>
                    <a:pt x="76" y="23"/>
                    <a:pt x="64" y="39"/>
                  </a:cubicBezTo>
                  <a:cubicBezTo>
                    <a:pt x="52" y="54"/>
                    <a:pt x="42" y="69"/>
                    <a:pt x="36" y="83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26" y="89"/>
                    <a:pt x="24" y="91"/>
                    <a:pt x="22" y="93"/>
                  </a:cubicBezTo>
                  <a:cubicBezTo>
                    <a:pt x="21" y="91"/>
                    <a:pt x="20" y="87"/>
                    <a:pt x="18" y="82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3" y="71"/>
                    <a:pt x="11" y="66"/>
                    <a:pt x="8" y="63"/>
                  </a:cubicBezTo>
                  <a:cubicBezTo>
                    <a:pt x="6" y="60"/>
                    <a:pt x="3" y="58"/>
                    <a:pt x="0" y="57"/>
                  </a:cubicBezTo>
                  <a:cubicBezTo>
                    <a:pt x="5" y="51"/>
                    <a:pt x="10" y="49"/>
                    <a:pt x="14" y="49"/>
                  </a:cubicBezTo>
                  <a:cubicBezTo>
                    <a:pt x="18" y="49"/>
                    <a:pt x="22" y="54"/>
                    <a:pt x="26" y="63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6" y="55"/>
                    <a:pt x="46" y="42"/>
                    <a:pt x="59" y="29"/>
                  </a:cubicBezTo>
                  <a:cubicBezTo>
                    <a:pt x="71" y="17"/>
                    <a:pt x="83" y="7"/>
                    <a:pt x="9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endParaRPr lang="en-US">
                <a:solidFill>
                  <a:srgbClr val="676767"/>
                </a:solidFill>
              </a:endParaRPr>
            </a:p>
          </p:txBody>
        </p:sp>
      </p:grpSp>
      <p:grpSp>
        <p:nvGrpSpPr>
          <p:cNvPr id="161" name="Group 160"/>
          <p:cNvGrpSpPr/>
          <p:nvPr/>
        </p:nvGrpSpPr>
        <p:grpSpPr>
          <a:xfrm>
            <a:off x="6059335" y="1177245"/>
            <a:ext cx="305263" cy="305263"/>
            <a:chOff x="971601" y="1893303"/>
            <a:chExt cx="305263" cy="305263"/>
          </a:xfrm>
        </p:grpSpPr>
        <p:sp>
          <p:nvSpPr>
            <p:cNvPr id="162" name="Oval 161"/>
            <p:cNvSpPr/>
            <p:nvPr/>
          </p:nvSpPr>
          <p:spPr>
            <a:xfrm>
              <a:off x="971601" y="1893303"/>
              <a:ext cx="305263" cy="305263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163" name="Freeform 162"/>
            <p:cNvSpPr>
              <a:spLocks/>
            </p:cNvSpPr>
            <p:nvPr/>
          </p:nvSpPr>
          <p:spPr bwMode="auto">
            <a:xfrm>
              <a:off x="1053833" y="1981355"/>
              <a:ext cx="149716" cy="141972"/>
            </a:xfrm>
            <a:custGeom>
              <a:avLst/>
              <a:gdLst>
                <a:gd name="T0" fmla="*/ 95 w 98"/>
                <a:gd name="T1" fmla="*/ 0 h 93"/>
                <a:gd name="T2" fmla="*/ 98 w 98"/>
                <a:gd name="T3" fmla="*/ 4 h 93"/>
                <a:gd name="T4" fmla="*/ 64 w 98"/>
                <a:gd name="T5" fmla="*/ 39 h 93"/>
                <a:gd name="T6" fmla="*/ 36 w 98"/>
                <a:gd name="T7" fmla="*/ 83 h 93"/>
                <a:gd name="T8" fmla="*/ 31 w 98"/>
                <a:gd name="T9" fmla="*/ 86 h 93"/>
                <a:gd name="T10" fmla="*/ 22 w 98"/>
                <a:gd name="T11" fmla="*/ 93 h 93"/>
                <a:gd name="T12" fmla="*/ 18 w 98"/>
                <a:gd name="T13" fmla="*/ 82 h 93"/>
                <a:gd name="T14" fmla="*/ 16 w 98"/>
                <a:gd name="T15" fmla="*/ 77 h 93"/>
                <a:gd name="T16" fmla="*/ 8 w 98"/>
                <a:gd name="T17" fmla="*/ 63 h 93"/>
                <a:gd name="T18" fmla="*/ 0 w 98"/>
                <a:gd name="T19" fmla="*/ 57 h 93"/>
                <a:gd name="T20" fmla="*/ 14 w 98"/>
                <a:gd name="T21" fmla="*/ 49 h 93"/>
                <a:gd name="T22" fmla="*/ 26 w 98"/>
                <a:gd name="T23" fmla="*/ 63 h 93"/>
                <a:gd name="T24" fmla="*/ 28 w 98"/>
                <a:gd name="T25" fmla="*/ 68 h 93"/>
                <a:gd name="T26" fmla="*/ 59 w 98"/>
                <a:gd name="T27" fmla="*/ 29 h 93"/>
                <a:gd name="T28" fmla="*/ 95 w 98"/>
                <a:gd name="T2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93">
                  <a:moveTo>
                    <a:pt x="95" y="0"/>
                  </a:moveTo>
                  <a:cubicBezTo>
                    <a:pt x="98" y="4"/>
                    <a:pt x="98" y="4"/>
                    <a:pt x="98" y="4"/>
                  </a:cubicBezTo>
                  <a:cubicBezTo>
                    <a:pt x="88" y="11"/>
                    <a:pt x="76" y="23"/>
                    <a:pt x="64" y="39"/>
                  </a:cubicBezTo>
                  <a:cubicBezTo>
                    <a:pt x="52" y="54"/>
                    <a:pt x="42" y="69"/>
                    <a:pt x="36" y="83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26" y="89"/>
                    <a:pt x="24" y="91"/>
                    <a:pt x="22" y="93"/>
                  </a:cubicBezTo>
                  <a:cubicBezTo>
                    <a:pt x="21" y="91"/>
                    <a:pt x="20" y="87"/>
                    <a:pt x="18" y="82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3" y="71"/>
                    <a:pt x="11" y="66"/>
                    <a:pt x="8" y="63"/>
                  </a:cubicBezTo>
                  <a:cubicBezTo>
                    <a:pt x="6" y="60"/>
                    <a:pt x="3" y="58"/>
                    <a:pt x="0" y="57"/>
                  </a:cubicBezTo>
                  <a:cubicBezTo>
                    <a:pt x="5" y="51"/>
                    <a:pt x="10" y="49"/>
                    <a:pt x="14" y="49"/>
                  </a:cubicBezTo>
                  <a:cubicBezTo>
                    <a:pt x="18" y="49"/>
                    <a:pt x="22" y="54"/>
                    <a:pt x="26" y="63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6" y="55"/>
                    <a:pt x="46" y="42"/>
                    <a:pt x="59" y="29"/>
                  </a:cubicBezTo>
                  <a:cubicBezTo>
                    <a:pt x="71" y="17"/>
                    <a:pt x="83" y="7"/>
                    <a:pt x="9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endParaRPr lang="en-US">
                <a:solidFill>
                  <a:srgbClr val="676767"/>
                </a:solidFill>
              </a:endParaRPr>
            </a:p>
          </p:txBody>
        </p:sp>
      </p:grpSp>
      <p:grpSp>
        <p:nvGrpSpPr>
          <p:cNvPr id="164" name="Group 163"/>
          <p:cNvGrpSpPr/>
          <p:nvPr/>
        </p:nvGrpSpPr>
        <p:grpSpPr>
          <a:xfrm>
            <a:off x="6061199" y="1531709"/>
            <a:ext cx="305263" cy="305263"/>
            <a:chOff x="971601" y="1893303"/>
            <a:chExt cx="305263" cy="305263"/>
          </a:xfrm>
        </p:grpSpPr>
        <p:sp>
          <p:nvSpPr>
            <p:cNvPr id="165" name="Oval 164"/>
            <p:cNvSpPr/>
            <p:nvPr/>
          </p:nvSpPr>
          <p:spPr>
            <a:xfrm>
              <a:off x="971601" y="1893303"/>
              <a:ext cx="305263" cy="305263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166" name="Freeform 165"/>
            <p:cNvSpPr>
              <a:spLocks/>
            </p:cNvSpPr>
            <p:nvPr/>
          </p:nvSpPr>
          <p:spPr bwMode="auto">
            <a:xfrm>
              <a:off x="1053833" y="1981355"/>
              <a:ext cx="149716" cy="141972"/>
            </a:xfrm>
            <a:custGeom>
              <a:avLst/>
              <a:gdLst>
                <a:gd name="T0" fmla="*/ 95 w 98"/>
                <a:gd name="T1" fmla="*/ 0 h 93"/>
                <a:gd name="T2" fmla="*/ 98 w 98"/>
                <a:gd name="T3" fmla="*/ 4 h 93"/>
                <a:gd name="T4" fmla="*/ 64 w 98"/>
                <a:gd name="T5" fmla="*/ 39 h 93"/>
                <a:gd name="T6" fmla="*/ 36 w 98"/>
                <a:gd name="T7" fmla="*/ 83 h 93"/>
                <a:gd name="T8" fmla="*/ 31 w 98"/>
                <a:gd name="T9" fmla="*/ 86 h 93"/>
                <a:gd name="T10" fmla="*/ 22 w 98"/>
                <a:gd name="T11" fmla="*/ 93 h 93"/>
                <a:gd name="T12" fmla="*/ 18 w 98"/>
                <a:gd name="T13" fmla="*/ 82 h 93"/>
                <a:gd name="T14" fmla="*/ 16 w 98"/>
                <a:gd name="T15" fmla="*/ 77 h 93"/>
                <a:gd name="T16" fmla="*/ 8 w 98"/>
                <a:gd name="T17" fmla="*/ 63 h 93"/>
                <a:gd name="T18" fmla="*/ 0 w 98"/>
                <a:gd name="T19" fmla="*/ 57 h 93"/>
                <a:gd name="T20" fmla="*/ 14 w 98"/>
                <a:gd name="T21" fmla="*/ 49 h 93"/>
                <a:gd name="T22" fmla="*/ 26 w 98"/>
                <a:gd name="T23" fmla="*/ 63 h 93"/>
                <a:gd name="T24" fmla="*/ 28 w 98"/>
                <a:gd name="T25" fmla="*/ 68 h 93"/>
                <a:gd name="T26" fmla="*/ 59 w 98"/>
                <a:gd name="T27" fmla="*/ 29 h 93"/>
                <a:gd name="T28" fmla="*/ 95 w 98"/>
                <a:gd name="T2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93">
                  <a:moveTo>
                    <a:pt x="95" y="0"/>
                  </a:moveTo>
                  <a:cubicBezTo>
                    <a:pt x="98" y="4"/>
                    <a:pt x="98" y="4"/>
                    <a:pt x="98" y="4"/>
                  </a:cubicBezTo>
                  <a:cubicBezTo>
                    <a:pt x="88" y="11"/>
                    <a:pt x="76" y="23"/>
                    <a:pt x="64" y="39"/>
                  </a:cubicBezTo>
                  <a:cubicBezTo>
                    <a:pt x="52" y="54"/>
                    <a:pt x="42" y="69"/>
                    <a:pt x="36" y="83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26" y="89"/>
                    <a:pt x="24" y="91"/>
                    <a:pt x="22" y="93"/>
                  </a:cubicBezTo>
                  <a:cubicBezTo>
                    <a:pt x="21" y="91"/>
                    <a:pt x="20" y="87"/>
                    <a:pt x="18" y="82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3" y="71"/>
                    <a:pt x="11" y="66"/>
                    <a:pt x="8" y="63"/>
                  </a:cubicBezTo>
                  <a:cubicBezTo>
                    <a:pt x="6" y="60"/>
                    <a:pt x="3" y="58"/>
                    <a:pt x="0" y="57"/>
                  </a:cubicBezTo>
                  <a:cubicBezTo>
                    <a:pt x="5" y="51"/>
                    <a:pt x="10" y="49"/>
                    <a:pt x="14" y="49"/>
                  </a:cubicBezTo>
                  <a:cubicBezTo>
                    <a:pt x="18" y="49"/>
                    <a:pt x="22" y="54"/>
                    <a:pt x="26" y="63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6" y="55"/>
                    <a:pt x="46" y="42"/>
                    <a:pt x="59" y="29"/>
                  </a:cubicBezTo>
                  <a:cubicBezTo>
                    <a:pt x="71" y="17"/>
                    <a:pt x="83" y="7"/>
                    <a:pt x="9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endParaRPr lang="en-US">
                <a:solidFill>
                  <a:srgbClr val="67676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75668905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17 0.00093 L -0.04531 0.09753 " pathEditMode="relative" ptsTypes="AA">
                                      <p:cBhvr>
                                        <p:cTn id="6" dur="75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4.44444E-6 8.64198E-7 L -0.01319 -0.06945 L -0.0526 -0.0426 " pathEditMode="relative" ptsTypes="AAA">
                                      <p:cBhvr>
                                        <p:cTn id="8" dur="75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accel="50000" decel="5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5.27778E-6 3.7037E-7 L -0.05522 -0.00185 L -0.10001 -0.05648 L -0.17067 -0.00617 " pathEditMode="relative" ptsTypes="AAAA">
                                      <p:cBhvr>
                                        <p:cTn id="10" dur="75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5.83333E-6 3.7037E-7 L -0.04202 -0.09537 L -0.07119 -0.14475 L -0.09115 -0.14043 " pathEditMode="relative" ptsTypes="AAAA">
                                      <p:cBhvr>
                                        <p:cTn id="12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3.88889E-6 -1.85185E-6 L -0.02934 -0.06266 L -0.08871 -0.15371 " pathEditMode="relative" ptsTypes="AAA">
                                      <p:cBhvr>
                                        <p:cTn id="14" dur="75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05556E-6 -9.87654E-7 L -0.00087 0.07192 L 0.01702 0.17963 L 0.12795 0.03642 L 0.04497 -0.11419 " pathEditMode="relative" ptsTypes="AAAAA">
                                      <p:cBhvr>
                                        <p:cTn id="16" dur="75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7" presetID="0" presetClass="path" presetSubtype="0" accel="50000" decel="5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1.11111E-6 -2.34568E-6 L 0.03073 -0.0071 L 0.08924 0.07531 L 0.05156 0.12994 L 0.07604 0.2037 L 0.18108 0.07963 L 0.15417 -0.02253 " pathEditMode="relative" ptsTypes="AAAAAAA">
                                      <p:cBhvr>
                                        <p:cTn id="18" dur="75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9" presetID="0" presetClass="path" presetSubtype="0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9.72222E-6 6.79012E-6 L 0.00487 0.05093 L 0.04376 0.09198 L 0.1283 0.01019 L 0.16632 0.09106 L 0.25278 -0.02345 L 0.24983 -0.16913 " pathEditMode="relative" ptsTypes="AAAAAAA">
                                      <p:cBhvr>
                                        <p:cTn id="20" dur="7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1" presetID="0" presetClass="path" presetSubtype="0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8.33333E-7 -4.93827E-7 L 0.04739 -0.05308 L 0.01163 -0.19444 L 0.05816 -0.26203 L 0.01892 -0.36852 " pathEditMode="relative" ptsTypes="AAAAA">
                                      <p:cBhvr>
                                        <p:cTn id="22" dur="75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3" presetID="0" presetClass="path" presetSubtype="0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6.94444E-6 9.87654E-7 L -0.05035 -0.13549 L -0.07709 -0.24228 L -0.1639 -0.38858 " pathEditMode="relative" ptsTypes="AAAA">
                                      <p:cBhvr>
                                        <p:cTn id="24" dur="7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5" presetID="0" presetClass="path" presetSubtype="0" accel="50000" decel="50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3.05556E-6 -1.23457E-7 L -0.09514 -0.16481 L -0.09514 -0.16481 L -0.12257 -0.26018 L -0.22726 -0.36574 " pathEditMode="relative" ptsTypes="AAAAA">
                                      <p:cBhvr>
                                        <p:cTn id="26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7" presetID="0" presetClass="path" presetSubtype="0" accel="50000" decel="5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1.94444E-6 1.85185E-6 L -0.13611 -0.18487 L -0.21267 -0.3071 L -0.23212 -0.41605 " pathEditMode="relative" ptsTypes="AAAA">
                                      <p:cBhvr>
                                        <p:cTn id="28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9" presetID="0" presetClass="path" presetSubtype="0" accel="50000" decel="5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4.16667E-6 7.77778E-6 L -0.18784 -0.20462 L -0.25382 -0.3287 L -0.25468 -0.44289 " pathEditMode="relative" ptsTypes="AAAA">
                                      <p:cBhvr>
                                        <p:cTn id="30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350"/>
                            </p:stCondLst>
                            <p:childTnLst>
                              <p:par>
                                <p:cTn id="3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850"/>
                            </p:stCondLst>
                            <p:childTnLst>
                              <p:par>
                                <p:cTn id="53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4" dur="500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6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9" dur="500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4" dur="500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69" dur="500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71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2350"/>
                            </p:stCondLst>
                            <p:childTnLst>
                              <p:par>
                                <p:cTn id="74" presetID="0" presetClass="path" presetSubtype="0" accel="50000" decel="50000" fill="hold" nodeType="after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0.16389 -0.38858 L -0.01545 -0.57284 L -0.03941 -0.65154 L -0.04219 -0.66142 " pathEditMode="relative" ptsTypes="AAAA">
                                      <p:cBhvr>
                                        <p:cTn id="75" dur="75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6" presetID="0" presetClass="path" presetSubtype="0" accel="5000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0.22726 -0.36574 L -0.14965 -0.51821 L -0.15347 -0.59814 " pathEditMode="relative" ptsTypes="AAA">
                                      <p:cBhvr>
                                        <p:cTn id="77" dur="75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8" presetID="0" presetClass="path" presetSubtype="0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0.23211 -0.41605 L -0.16336 -0.49537 L -0.21041 -0.56852 " pathEditMode="relative" ptsTypes="AAA">
                                      <p:cBhvr>
                                        <p:cTn id="79" dur="75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5469 -0.4429 L -0.16805 -0.56451 L -0.19566 -0.64105 " pathEditMode="relative" ptsTypes="AAA">
                                      <p:cBhvr>
                                        <p:cTn id="81" dur="75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2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9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>
                            <p:stCondLst>
                              <p:cond delay="3900"/>
                            </p:stCondLst>
                            <p:childTnLst>
                              <p:par>
                                <p:cTn id="116" presetID="26" presetClass="emph" presetSubtype="0" repeatCount="2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7" dur="500" tmFilter="0, 0; .2, .5; .8, .5; 1, 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8" dur="250" autoRev="1" fill="hold"/>
                                        <p:tgtEl>
                                          <p:spTgt spid="10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19" presetID="26" presetClass="emph" presetSubtype="0" repeatCount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0" dur="500" tmFilter="0, 0; .2, .5; .8, .5; 1, 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1" dur="250" autoRev="1" fill="hold"/>
                                        <p:tgtEl>
                                          <p:spTgt spid="10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2" presetID="26" presetClass="emph" presetSubtype="0" repeatCount="2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3" dur="500" tmFilter="0, 0; .2, .5; .8, .5; 1, 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4" dur="250" autoRev="1" fill="hold"/>
                                        <p:tgtEl>
                                          <p:spTgt spid="9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5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7" dur="50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8" dur="50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26" presetClass="emph" presetSubtype="0" repeatCount="2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1" dur="500" tmFilter="0, 0; .2, .5; .8, .5; 1, 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2" dur="250" autoRev="1" fill="hold"/>
                                        <p:tgtEl>
                                          <p:spTgt spid="15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3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5" dur="5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6" dur="5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26" presetClass="emph" presetSubtype="0" repeatCount="2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9" dur="500" tmFilter="0, 0; .2, .5; .8, .5; 1, 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0" dur="250" autoRev="1" fill="hold"/>
                                        <p:tgtEl>
                                          <p:spTgt spid="16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1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3" dur="5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4" dur="5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5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26" presetClass="emph" presetSubtype="0" repeatCount="2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7" dur="500" tmFilter="0, 0; .2, .5; .8, .5; 1, 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8" dur="250" autoRev="1" fill="hold"/>
                                        <p:tgtEl>
                                          <p:spTgt spid="164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25" grpId="0"/>
      <p:bldP spid="107" grpId="0"/>
      <p:bldP spid="108" grpId="0"/>
      <p:bldP spid="10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cro </a:t>
            </a:r>
            <a:r>
              <a:rPr lang="en-US" dirty="0" smtClean="0">
                <a:sym typeface="Wingdings"/>
              </a:rPr>
              <a:t> </a:t>
            </a:r>
            <a:r>
              <a:rPr lang="en-US" dirty="0" smtClean="0"/>
              <a:t>Macro Cell Transitions</a:t>
            </a:r>
            <a:endParaRPr lang="en-US" dirty="0"/>
          </a:p>
        </p:txBody>
      </p:sp>
      <p:sp>
        <p:nvSpPr>
          <p:cNvPr id="3" name="Oval 2"/>
          <p:cNvSpPr/>
          <p:nvPr/>
        </p:nvSpPr>
        <p:spPr>
          <a:xfrm>
            <a:off x="5866242" y="1212251"/>
            <a:ext cx="2271081" cy="2270489"/>
          </a:xfrm>
          <a:prstGeom prst="ellipse">
            <a:avLst/>
          </a:prstGeom>
          <a:gradFill flip="none" rotWithShape="1">
            <a:gsLst>
              <a:gs pos="33000">
                <a:srgbClr val="FFFF00"/>
              </a:gs>
              <a:gs pos="92000">
                <a:srgbClr val="FFFFFF"/>
              </a:gs>
              <a:gs pos="73000">
                <a:srgbClr val="4BDC46">
                  <a:alpha val="85000"/>
                </a:srgbClr>
              </a:gs>
              <a:gs pos="0">
                <a:srgbClr val="FFFFFF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4" name="Oval 3"/>
          <p:cNvSpPr/>
          <p:nvPr/>
        </p:nvSpPr>
        <p:spPr>
          <a:xfrm>
            <a:off x="6357350" y="1719938"/>
            <a:ext cx="1295213" cy="1294876"/>
          </a:xfrm>
          <a:prstGeom prst="ellipse">
            <a:avLst/>
          </a:prstGeom>
          <a:gradFill flip="none" rotWithShape="1">
            <a:gsLst>
              <a:gs pos="0">
                <a:srgbClr val="FF0000"/>
              </a:gs>
              <a:gs pos="100000">
                <a:srgbClr val="FFFFFF"/>
              </a:gs>
              <a:gs pos="52000">
                <a:srgbClr val="FFFF00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9" tIns="34295" rIns="68589" bIns="34295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872790" y="2164387"/>
            <a:ext cx="820168" cy="319432"/>
            <a:chOff x="8429076" y="3051718"/>
            <a:chExt cx="907718" cy="353622"/>
          </a:xfrm>
        </p:grpSpPr>
        <p:pic>
          <p:nvPicPr>
            <p:cNvPr id="8" name="Picture 7" descr="iphone6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29076" y="3051718"/>
              <a:ext cx="185035" cy="353622"/>
            </a:xfrm>
            <a:prstGeom prst="rect">
              <a:avLst/>
            </a:prstGeom>
          </p:spPr>
        </p:pic>
        <p:sp>
          <p:nvSpPr>
            <p:cNvPr id="9" name="TextBox 8"/>
            <p:cNvSpPr txBox="1"/>
            <p:nvPr/>
          </p:nvSpPr>
          <p:spPr>
            <a:xfrm>
              <a:off x="8648204" y="3123687"/>
              <a:ext cx="688590" cy="255539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</p:spPr>
          <p:txBody>
            <a:bodyPr wrap="square" rtlCol="0">
              <a:spAutoFit/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rPr>
                <a:t>-51 </a:t>
              </a:r>
              <a:r>
                <a:rPr lang="en-US" sz="900" dirty="0" err="1">
                  <a:solidFill>
                    <a:srgbClr val="676767"/>
                  </a:solidFill>
                  <a:ea typeface="ＭＳ Ｐゴシック" charset="0"/>
                  <a:cs typeface="ＭＳ Ｐゴシック" charset="0"/>
                </a:rPr>
                <a:t>dBm</a:t>
              </a:r>
              <a:endParaRPr lang="en-US" sz="900" dirty="0">
                <a:solidFill>
                  <a:srgbClr val="676767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pic>
        <p:nvPicPr>
          <p:cNvPr id="21" name="Picture 20" descr="iphone6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4278" y="1772524"/>
            <a:ext cx="189798" cy="281763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7325052" y="1517372"/>
            <a:ext cx="655021" cy="230832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t>-65 </a:t>
            </a:r>
            <a:r>
              <a:rPr lang="en-US" sz="900" dirty="0" err="1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t>dBm</a:t>
            </a:r>
            <a:endParaRPr lang="en-US" sz="900" dirty="0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pic>
        <p:nvPicPr>
          <p:cNvPr id="27" name="Picture 26" descr="iphone6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2645" y="3988354"/>
            <a:ext cx="232850" cy="444887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6975153" y="2805237"/>
            <a:ext cx="620858" cy="230832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wrap="non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t>-51 </a:t>
            </a:r>
            <a:r>
              <a:rPr lang="en-US" sz="900" dirty="0" err="1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t>dBm</a:t>
            </a:r>
            <a:endParaRPr lang="en-US" sz="900" dirty="0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803107" y="2812980"/>
            <a:ext cx="620858" cy="230832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wrap="non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900" dirty="0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t>-51 </a:t>
            </a:r>
            <a:r>
              <a:rPr lang="en-US" sz="900" dirty="0" err="1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t>dBm</a:t>
            </a:r>
            <a:endParaRPr lang="en-US" sz="900" dirty="0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5797616" y="3014814"/>
            <a:ext cx="1241471" cy="911290"/>
            <a:chOff x="5779070" y="3118512"/>
            <a:chExt cx="1196083" cy="869842"/>
          </a:xfrm>
        </p:grpSpPr>
        <p:cxnSp>
          <p:nvCxnSpPr>
            <p:cNvPr id="31" name="Straight Arrow Connector 30"/>
            <p:cNvCxnSpPr>
              <a:stCxn id="27" idx="0"/>
            </p:cNvCxnSpPr>
            <p:nvPr/>
          </p:nvCxnSpPr>
          <p:spPr bwMode="auto">
            <a:xfrm flipV="1">
              <a:off x="5779070" y="3118512"/>
              <a:ext cx="1196083" cy="869842"/>
            </a:xfrm>
            <a:prstGeom prst="straightConnector1">
              <a:avLst/>
            </a:prstGeom>
            <a:solidFill>
              <a:srgbClr val="0183B7"/>
            </a:solidFill>
            <a:ln w="25400" cap="flat" cmpd="sng" algn="ctr">
              <a:solidFill>
                <a:schemeClr val="tx2"/>
              </a:solidFill>
              <a:prstDash val="dashDot"/>
              <a:round/>
              <a:headEnd type="none" w="med" len="med"/>
              <a:tailEnd type="arrow"/>
            </a:ln>
            <a:effectLst/>
          </p:spPr>
        </p:cxnSp>
        <p:cxnSp>
          <p:nvCxnSpPr>
            <p:cNvPr id="32" name="Straight Arrow Connector 31"/>
            <p:cNvCxnSpPr/>
            <p:nvPr/>
          </p:nvCxnSpPr>
          <p:spPr bwMode="auto">
            <a:xfrm flipV="1">
              <a:off x="5779070" y="3118513"/>
              <a:ext cx="255552" cy="869841"/>
            </a:xfrm>
            <a:prstGeom prst="straightConnector1">
              <a:avLst/>
            </a:prstGeom>
            <a:solidFill>
              <a:srgbClr val="0183B7"/>
            </a:solidFill>
            <a:ln w="25400" cap="flat" cmpd="sng" algn="ctr">
              <a:solidFill>
                <a:schemeClr val="tx2"/>
              </a:solidFill>
              <a:prstDash val="dashDot"/>
              <a:round/>
              <a:headEnd type="none" w="med" len="med"/>
              <a:tailEnd type="arrow"/>
            </a:ln>
            <a:effectLst/>
          </p:spPr>
        </p:cxnSp>
      </p:grpSp>
      <p:grpSp>
        <p:nvGrpSpPr>
          <p:cNvPr id="33" name="Group 32"/>
          <p:cNvGrpSpPr/>
          <p:nvPr/>
        </p:nvGrpSpPr>
        <p:grpSpPr>
          <a:xfrm>
            <a:off x="6243124" y="2837328"/>
            <a:ext cx="724487" cy="427809"/>
            <a:chOff x="6329581" y="2555556"/>
            <a:chExt cx="724487" cy="427809"/>
          </a:xfrm>
        </p:grpSpPr>
        <p:cxnSp>
          <p:nvCxnSpPr>
            <p:cNvPr id="34" name="Straight Arrow Connector 33"/>
            <p:cNvCxnSpPr>
              <a:stCxn id="29" idx="3"/>
            </p:cNvCxnSpPr>
            <p:nvPr/>
          </p:nvCxnSpPr>
          <p:spPr bwMode="auto">
            <a:xfrm flipV="1">
              <a:off x="6423965" y="2920653"/>
              <a:ext cx="630103" cy="7743"/>
            </a:xfrm>
            <a:prstGeom prst="straightConnector1">
              <a:avLst/>
            </a:prstGeom>
            <a:solidFill>
              <a:srgbClr val="0183B7"/>
            </a:solidFill>
            <a:ln w="25400" cap="flat" cmpd="sng" algn="ctr">
              <a:noFill/>
              <a:prstDash val="solid"/>
              <a:round/>
              <a:headEnd type="arrow"/>
              <a:tailEnd type="arrow"/>
            </a:ln>
            <a:effectLst/>
          </p:spPr>
        </p:cxnSp>
        <p:sp>
          <p:nvSpPr>
            <p:cNvPr id="35" name="TextBox 34"/>
            <p:cNvSpPr txBox="1"/>
            <p:nvPr/>
          </p:nvSpPr>
          <p:spPr>
            <a:xfrm>
              <a:off x="6329581" y="2555556"/>
              <a:ext cx="645572" cy="4278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457200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</a:pPr>
              <a:r>
                <a:rPr lang="en-US" sz="1200" b="1" dirty="0" smtClean="0">
                  <a:solidFill>
                    <a:srgbClr val="FF0000"/>
                  </a:solidFill>
                  <a:ea typeface="ＭＳ Ｐゴシック" charset="0"/>
                  <a:cs typeface="ＭＳ Ｐゴシック" charset="0"/>
                </a:rPr>
                <a:t>≥ 55 </a:t>
              </a:r>
              <a:r>
                <a:rPr lang="en-US" sz="1200" b="1" dirty="0" err="1" smtClean="0">
                  <a:solidFill>
                    <a:srgbClr val="FF0000"/>
                  </a:solidFill>
                  <a:ea typeface="ＭＳ Ｐゴシック" charset="0"/>
                  <a:cs typeface="ＭＳ Ｐゴシック" charset="0"/>
                </a:rPr>
                <a:t>dBm</a:t>
              </a:r>
              <a:r>
                <a:rPr lang="en-US" sz="1200" b="1" dirty="0" smtClean="0">
                  <a:solidFill>
                    <a:srgbClr val="FF0000"/>
                  </a:solidFill>
                  <a:ea typeface="ＭＳ Ｐゴシック" charset="0"/>
                  <a:cs typeface="ＭＳ Ｐゴシック" charset="0"/>
                </a:rPr>
                <a:t>?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5797616" y="3051273"/>
            <a:ext cx="1390088" cy="874831"/>
            <a:chOff x="5797615" y="3048519"/>
            <a:chExt cx="1665813" cy="877585"/>
          </a:xfrm>
        </p:grpSpPr>
        <p:cxnSp>
          <p:nvCxnSpPr>
            <p:cNvPr id="37" name="Straight Arrow Connector 36"/>
            <p:cNvCxnSpPr/>
            <p:nvPr/>
          </p:nvCxnSpPr>
          <p:spPr bwMode="auto">
            <a:xfrm flipH="1">
              <a:off x="5797615" y="3048519"/>
              <a:ext cx="1390088" cy="877585"/>
            </a:xfrm>
            <a:prstGeom prst="straightConnector1">
              <a:avLst/>
            </a:prstGeom>
            <a:solidFill>
              <a:srgbClr val="0183B7"/>
            </a:solidFill>
            <a:ln w="25400" cap="flat" cmpd="sng" algn="ctr">
              <a:solidFill>
                <a:schemeClr val="tx2"/>
              </a:solidFill>
              <a:prstDash val="dashDot"/>
              <a:round/>
              <a:headEnd type="none" w="med" len="med"/>
              <a:tailEnd type="arrow"/>
            </a:ln>
            <a:effectLst/>
          </p:spPr>
        </p:cxnSp>
        <p:sp>
          <p:nvSpPr>
            <p:cNvPr id="38" name="TextBox 37"/>
            <p:cNvSpPr txBox="1"/>
            <p:nvPr/>
          </p:nvSpPr>
          <p:spPr>
            <a:xfrm>
              <a:off x="6132415" y="3558749"/>
              <a:ext cx="1331013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defTabSz="457200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</a:pPr>
              <a:r>
                <a:rPr lang="en-US" sz="1200" dirty="0" smtClean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rPr>
                <a:t>Probe Response </a:t>
              </a:r>
            </a:p>
          </p:txBody>
        </p:sp>
      </p:grpSp>
      <p:sp>
        <p:nvSpPr>
          <p:cNvPr id="43" name="TextBox 42"/>
          <p:cNvSpPr txBox="1"/>
          <p:nvPr/>
        </p:nvSpPr>
        <p:spPr>
          <a:xfrm>
            <a:off x="565761" y="1438217"/>
            <a:ext cx="492873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Client Steering </a:t>
            </a: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solidFill>
                <a:srgbClr val="2968AF"/>
              </a:solidFill>
              <a:latin typeface="Avenir Next Regular"/>
              <a:ea typeface="ＭＳ Ｐゴシック" charset="0"/>
              <a:cs typeface="Avenir Next Regular"/>
            </a:endParaRPr>
          </a:p>
          <a:p>
            <a:pPr marL="285750" indent="-285750" defTabSz="45720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600" dirty="0" smtClean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802.11v BSS Transition – Default Enable</a:t>
            </a:r>
          </a:p>
          <a:p>
            <a:pPr marL="285750" indent="-285750" defTabSz="45720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600" dirty="0" smtClean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802.11k – Default Enable</a:t>
            </a:r>
          </a:p>
          <a:p>
            <a:pPr marL="285750" indent="-285750" defTabSz="45720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600" dirty="0" smtClean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Probe Suppression – Default Disable</a:t>
            </a:r>
          </a:p>
          <a:p>
            <a:pPr marL="171450" indent="-171450" defTabSz="45720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ü"/>
            </a:pPr>
            <a:endParaRPr lang="en-US" sz="1600" dirty="0">
              <a:solidFill>
                <a:srgbClr val="2968AF"/>
              </a:solidFill>
              <a:latin typeface="Avenir Next Regular"/>
              <a:ea typeface="ＭＳ Ｐゴシック" charset="0"/>
              <a:cs typeface="Avenir Next Regular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Client Types</a:t>
            </a: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2968AF"/>
              </a:solidFill>
              <a:latin typeface="Avenir Next Regular"/>
              <a:ea typeface="ＭＳ Ｐゴシック" charset="0"/>
              <a:cs typeface="Avenir Next Regular"/>
            </a:endParaRPr>
          </a:p>
          <a:p>
            <a:pPr marL="285750" indent="-285750" defTabSz="45720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600" dirty="0" smtClean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11v capable – 802.11v BSS Transition</a:t>
            </a:r>
          </a:p>
          <a:p>
            <a:pPr marL="285750" indent="-285750" defTabSz="45720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600" dirty="0" smtClean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Non-11v capable – 802.11k neighbor list + disassociation</a:t>
            </a:r>
          </a:p>
          <a:p>
            <a:pPr marL="285750" indent="-285750" defTabSz="457200" fontAlgn="base">
              <a:spcBef>
                <a:spcPct val="0"/>
              </a:spcBef>
              <a:spcAft>
                <a:spcPct val="0"/>
              </a:spcAft>
              <a:buFont typeface="Arial"/>
              <a:buChar char="•"/>
            </a:pPr>
            <a:r>
              <a:rPr lang="en-US" sz="1600" dirty="0" smtClean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No 11k or 11v support – Probe Suppression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6692958" y="4144700"/>
            <a:ext cx="209029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 smtClean="0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t>Micro – 5GHz on XOR</a:t>
            </a: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t>Macro </a:t>
            </a:r>
            <a:r>
              <a:rPr lang="en-US" sz="1050" dirty="0" smtClean="0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t>-- Dedicated </a:t>
            </a:r>
            <a:r>
              <a:rPr lang="en-US" sz="1050" dirty="0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t>5 GHz</a:t>
            </a: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050" dirty="0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2132842" y="1438217"/>
            <a:ext cx="305263" cy="305263"/>
            <a:chOff x="971601" y="1893303"/>
            <a:chExt cx="305263" cy="305263"/>
          </a:xfrm>
        </p:grpSpPr>
        <p:sp>
          <p:nvSpPr>
            <p:cNvPr id="47" name="Oval 46"/>
            <p:cNvSpPr/>
            <p:nvPr/>
          </p:nvSpPr>
          <p:spPr>
            <a:xfrm>
              <a:off x="971601" y="1893303"/>
              <a:ext cx="305263" cy="305263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1053833" y="1981355"/>
              <a:ext cx="149716" cy="141972"/>
            </a:xfrm>
            <a:custGeom>
              <a:avLst/>
              <a:gdLst>
                <a:gd name="T0" fmla="*/ 95 w 98"/>
                <a:gd name="T1" fmla="*/ 0 h 93"/>
                <a:gd name="T2" fmla="*/ 98 w 98"/>
                <a:gd name="T3" fmla="*/ 4 h 93"/>
                <a:gd name="T4" fmla="*/ 64 w 98"/>
                <a:gd name="T5" fmla="*/ 39 h 93"/>
                <a:gd name="T6" fmla="*/ 36 w 98"/>
                <a:gd name="T7" fmla="*/ 83 h 93"/>
                <a:gd name="T8" fmla="*/ 31 w 98"/>
                <a:gd name="T9" fmla="*/ 86 h 93"/>
                <a:gd name="T10" fmla="*/ 22 w 98"/>
                <a:gd name="T11" fmla="*/ 93 h 93"/>
                <a:gd name="T12" fmla="*/ 18 w 98"/>
                <a:gd name="T13" fmla="*/ 82 h 93"/>
                <a:gd name="T14" fmla="*/ 16 w 98"/>
                <a:gd name="T15" fmla="*/ 77 h 93"/>
                <a:gd name="T16" fmla="*/ 8 w 98"/>
                <a:gd name="T17" fmla="*/ 63 h 93"/>
                <a:gd name="T18" fmla="*/ 0 w 98"/>
                <a:gd name="T19" fmla="*/ 57 h 93"/>
                <a:gd name="T20" fmla="*/ 14 w 98"/>
                <a:gd name="T21" fmla="*/ 49 h 93"/>
                <a:gd name="T22" fmla="*/ 26 w 98"/>
                <a:gd name="T23" fmla="*/ 63 h 93"/>
                <a:gd name="T24" fmla="*/ 28 w 98"/>
                <a:gd name="T25" fmla="*/ 68 h 93"/>
                <a:gd name="T26" fmla="*/ 59 w 98"/>
                <a:gd name="T27" fmla="*/ 29 h 93"/>
                <a:gd name="T28" fmla="*/ 95 w 98"/>
                <a:gd name="T2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93">
                  <a:moveTo>
                    <a:pt x="95" y="0"/>
                  </a:moveTo>
                  <a:cubicBezTo>
                    <a:pt x="98" y="4"/>
                    <a:pt x="98" y="4"/>
                    <a:pt x="98" y="4"/>
                  </a:cubicBezTo>
                  <a:cubicBezTo>
                    <a:pt x="88" y="11"/>
                    <a:pt x="76" y="23"/>
                    <a:pt x="64" y="39"/>
                  </a:cubicBezTo>
                  <a:cubicBezTo>
                    <a:pt x="52" y="54"/>
                    <a:pt x="42" y="69"/>
                    <a:pt x="36" y="83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26" y="89"/>
                    <a:pt x="24" y="91"/>
                    <a:pt x="22" y="93"/>
                  </a:cubicBezTo>
                  <a:cubicBezTo>
                    <a:pt x="21" y="91"/>
                    <a:pt x="20" y="87"/>
                    <a:pt x="18" y="82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3" y="71"/>
                    <a:pt x="11" y="66"/>
                    <a:pt x="8" y="63"/>
                  </a:cubicBezTo>
                  <a:cubicBezTo>
                    <a:pt x="6" y="60"/>
                    <a:pt x="3" y="58"/>
                    <a:pt x="0" y="57"/>
                  </a:cubicBezTo>
                  <a:cubicBezTo>
                    <a:pt x="5" y="51"/>
                    <a:pt x="10" y="49"/>
                    <a:pt x="14" y="49"/>
                  </a:cubicBezTo>
                  <a:cubicBezTo>
                    <a:pt x="18" y="49"/>
                    <a:pt x="22" y="54"/>
                    <a:pt x="26" y="63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6" y="55"/>
                    <a:pt x="46" y="42"/>
                    <a:pt x="59" y="29"/>
                  </a:cubicBezTo>
                  <a:cubicBezTo>
                    <a:pt x="71" y="17"/>
                    <a:pt x="83" y="7"/>
                    <a:pt x="9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endParaRPr lang="en-US">
                <a:solidFill>
                  <a:srgbClr val="676767"/>
                </a:solidFill>
              </a:endParaRP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2132842" y="2898641"/>
            <a:ext cx="305263" cy="305263"/>
            <a:chOff x="971601" y="1893303"/>
            <a:chExt cx="305263" cy="305263"/>
          </a:xfrm>
        </p:grpSpPr>
        <p:sp>
          <p:nvSpPr>
            <p:cNvPr id="50" name="Oval 49"/>
            <p:cNvSpPr/>
            <p:nvPr/>
          </p:nvSpPr>
          <p:spPr>
            <a:xfrm>
              <a:off x="971601" y="1893303"/>
              <a:ext cx="305263" cy="305263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auto">
            <a:xfrm>
              <a:off x="1053833" y="1981355"/>
              <a:ext cx="149716" cy="141972"/>
            </a:xfrm>
            <a:custGeom>
              <a:avLst/>
              <a:gdLst>
                <a:gd name="T0" fmla="*/ 95 w 98"/>
                <a:gd name="T1" fmla="*/ 0 h 93"/>
                <a:gd name="T2" fmla="*/ 98 w 98"/>
                <a:gd name="T3" fmla="*/ 4 h 93"/>
                <a:gd name="T4" fmla="*/ 64 w 98"/>
                <a:gd name="T5" fmla="*/ 39 h 93"/>
                <a:gd name="T6" fmla="*/ 36 w 98"/>
                <a:gd name="T7" fmla="*/ 83 h 93"/>
                <a:gd name="T8" fmla="*/ 31 w 98"/>
                <a:gd name="T9" fmla="*/ 86 h 93"/>
                <a:gd name="T10" fmla="*/ 22 w 98"/>
                <a:gd name="T11" fmla="*/ 93 h 93"/>
                <a:gd name="T12" fmla="*/ 18 w 98"/>
                <a:gd name="T13" fmla="*/ 82 h 93"/>
                <a:gd name="T14" fmla="*/ 16 w 98"/>
                <a:gd name="T15" fmla="*/ 77 h 93"/>
                <a:gd name="T16" fmla="*/ 8 w 98"/>
                <a:gd name="T17" fmla="*/ 63 h 93"/>
                <a:gd name="T18" fmla="*/ 0 w 98"/>
                <a:gd name="T19" fmla="*/ 57 h 93"/>
                <a:gd name="T20" fmla="*/ 14 w 98"/>
                <a:gd name="T21" fmla="*/ 49 h 93"/>
                <a:gd name="T22" fmla="*/ 26 w 98"/>
                <a:gd name="T23" fmla="*/ 63 h 93"/>
                <a:gd name="T24" fmla="*/ 28 w 98"/>
                <a:gd name="T25" fmla="*/ 68 h 93"/>
                <a:gd name="T26" fmla="*/ 59 w 98"/>
                <a:gd name="T27" fmla="*/ 29 h 93"/>
                <a:gd name="T28" fmla="*/ 95 w 98"/>
                <a:gd name="T2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93">
                  <a:moveTo>
                    <a:pt x="95" y="0"/>
                  </a:moveTo>
                  <a:cubicBezTo>
                    <a:pt x="98" y="4"/>
                    <a:pt x="98" y="4"/>
                    <a:pt x="98" y="4"/>
                  </a:cubicBezTo>
                  <a:cubicBezTo>
                    <a:pt x="88" y="11"/>
                    <a:pt x="76" y="23"/>
                    <a:pt x="64" y="39"/>
                  </a:cubicBezTo>
                  <a:cubicBezTo>
                    <a:pt x="52" y="54"/>
                    <a:pt x="42" y="69"/>
                    <a:pt x="36" y="83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26" y="89"/>
                    <a:pt x="24" y="91"/>
                    <a:pt x="22" y="93"/>
                  </a:cubicBezTo>
                  <a:cubicBezTo>
                    <a:pt x="21" y="91"/>
                    <a:pt x="20" y="87"/>
                    <a:pt x="18" y="82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3" y="71"/>
                    <a:pt x="11" y="66"/>
                    <a:pt x="8" y="63"/>
                  </a:cubicBezTo>
                  <a:cubicBezTo>
                    <a:pt x="6" y="60"/>
                    <a:pt x="3" y="58"/>
                    <a:pt x="0" y="57"/>
                  </a:cubicBezTo>
                  <a:cubicBezTo>
                    <a:pt x="5" y="51"/>
                    <a:pt x="10" y="49"/>
                    <a:pt x="14" y="49"/>
                  </a:cubicBezTo>
                  <a:cubicBezTo>
                    <a:pt x="18" y="49"/>
                    <a:pt x="22" y="54"/>
                    <a:pt x="26" y="63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6" y="55"/>
                    <a:pt x="46" y="42"/>
                    <a:pt x="59" y="29"/>
                  </a:cubicBezTo>
                  <a:cubicBezTo>
                    <a:pt x="71" y="17"/>
                    <a:pt x="83" y="7"/>
                    <a:pt x="9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endParaRPr lang="en-US">
                <a:solidFill>
                  <a:srgbClr val="67676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3045874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6" presetClass="emph" presetSubtype="0" repeatCount="2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 tmFilter="0, 0; .2, .5; .8, .5; 1, 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2" dur="250" autoRev="1" fill="hold"/>
                                        <p:tgtEl>
                                          <p:spTgt spid="4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6" presetClass="emph" presetSubtype="0" repeatCount="2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500" tmFilter="0, 0; .2, .5; .8, .5; 1, 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0" dur="250" autoRev="1" fill="hold"/>
                                        <p:tgtEl>
                                          <p:spTgt spid="4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200"/>
                            </p:stCondLst>
                            <p:childTnLst>
                              <p:par>
                                <p:cTn id="22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58329E-7 -2.51621E-6 L 0.08303 0.00371 " pathEditMode="relative" rAng="0" ptsTypes="AA">
                                      <p:cBhvr>
                                        <p:cTn id="23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151" y="18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200"/>
                            </p:stCondLst>
                            <p:childTnLst>
                              <p:par>
                                <p:cTn id="25" presetID="42" presetClass="path" presetSubtype="0" accel="50000" decel="5000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4.24353E-6 -1.23495E-8 L 0.05714 -0.00123 " pathEditMode="relative" rAng="0" ptsTypes="AA">
                                      <p:cBhvr>
                                        <p:cTn id="26" dur="2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49" y="-6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6200"/>
                            </p:stCondLst>
                            <p:childTnLst>
                              <p:par>
                                <p:cTn id="28" presetID="22" presetClass="entr" presetSubtype="4" repeatCount="3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9200"/>
                            </p:stCondLst>
                            <p:childTnLst>
                              <p:par>
                                <p:cTn id="36" presetID="1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0200"/>
                            </p:stCondLst>
                            <p:childTnLst>
                              <p:par>
                                <p:cTn id="39" presetID="9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40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43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9" grpId="0" animBg="1"/>
      <p:bldP spid="29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4" name="Picture 9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268" y="1073121"/>
            <a:ext cx="4828032" cy="3203679"/>
          </a:xfrm>
          <a:prstGeom prst="rect">
            <a:avLst/>
          </a:prstGeom>
        </p:spPr>
      </p:pic>
      <p:sp>
        <p:nvSpPr>
          <p:cNvPr id="17" name="Freeform 16"/>
          <p:cNvSpPr/>
          <p:nvPr/>
        </p:nvSpPr>
        <p:spPr>
          <a:xfrm>
            <a:off x="200812" y="1090084"/>
            <a:ext cx="4810205" cy="3162615"/>
          </a:xfrm>
          <a:custGeom>
            <a:avLst/>
            <a:gdLst>
              <a:gd name="connsiteX0" fmla="*/ 3181190 w 4810205"/>
              <a:gd name="connsiteY0" fmla="*/ 0 h 3711388"/>
              <a:gd name="connsiteX1" fmla="*/ 0 w 4810205"/>
              <a:gd name="connsiteY1" fmla="*/ 1836484 h 3711388"/>
              <a:gd name="connsiteX2" fmla="*/ 0 w 4810205"/>
              <a:gd name="connsiteY2" fmla="*/ 2289842 h 3711388"/>
              <a:gd name="connsiteX3" fmla="*/ 2481943 w 4810205"/>
              <a:gd name="connsiteY3" fmla="*/ 3711388 h 3711388"/>
              <a:gd name="connsiteX4" fmla="*/ 3534656 w 4810205"/>
              <a:gd name="connsiteY4" fmla="*/ 3119718 h 3711388"/>
              <a:gd name="connsiteX5" fmla="*/ 3534656 w 4810205"/>
              <a:gd name="connsiteY5" fmla="*/ 2650991 h 3711388"/>
              <a:gd name="connsiteX6" fmla="*/ 3050561 w 4810205"/>
              <a:gd name="connsiteY6" fmla="*/ 2374366 h 3711388"/>
              <a:gd name="connsiteX7" fmla="*/ 4802521 w 4810205"/>
              <a:gd name="connsiteY7" fmla="*/ 1367758 h 3711388"/>
              <a:gd name="connsiteX8" fmla="*/ 4810205 w 4810205"/>
              <a:gd name="connsiteY8" fmla="*/ 952820 h 3711388"/>
              <a:gd name="connsiteX9" fmla="*/ 3250346 w 4810205"/>
              <a:gd name="connsiteY9" fmla="*/ 0 h 3711388"/>
              <a:gd name="connsiteX10" fmla="*/ 3181190 w 4810205"/>
              <a:gd name="connsiteY10" fmla="*/ 0 h 3711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810205" h="3711388">
                <a:moveTo>
                  <a:pt x="3181190" y="0"/>
                </a:moveTo>
                <a:lnTo>
                  <a:pt x="0" y="1836484"/>
                </a:lnTo>
                <a:lnTo>
                  <a:pt x="0" y="2289842"/>
                </a:lnTo>
                <a:lnTo>
                  <a:pt x="2481943" y="3711388"/>
                </a:lnTo>
                <a:lnTo>
                  <a:pt x="3534656" y="3119718"/>
                </a:lnTo>
                <a:lnTo>
                  <a:pt x="3534656" y="2650991"/>
                </a:lnTo>
                <a:lnTo>
                  <a:pt x="3050561" y="2374366"/>
                </a:lnTo>
                <a:lnTo>
                  <a:pt x="4802521" y="1367758"/>
                </a:lnTo>
                <a:lnTo>
                  <a:pt x="4810205" y="952820"/>
                </a:lnTo>
                <a:lnTo>
                  <a:pt x="3250346" y="0"/>
                </a:lnTo>
                <a:lnTo>
                  <a:pt x="3181190" y="0"/>
                </a:lnTo>
                <a:close/>
              </a:path>
            </a:pathLst>
          </a:custGeom>
          <a:solidFill>
            <a:schemeClr val="accent4">
              <a:alpha val="4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timize </a:t>
            </a:r>
            <a:r>
              <a:rPr lang="en-US" dirty="0" smtClean="0"/>
              <a:t>Wi</a:t>
            </a:r>
            <a:r>
              <a:rPr lang="en-US" dirty="0"/>
              <a:t>-</a:t>
            </a:r>
            <a:r>
              <a:rPr lang="en-US" dirty="0" smtClean="0"/>
              <a:t>Fi with </a:t>
            </a:r>
            <a:r>
              <a:rPr lang="en-US" dirty="0" err="1" smtClean="0"/>
              <a:t>CleanAir</a:t>
            </a:r>
            <a:r>
              <a:rPr lang="en-US" dirty="0"/>
              <a:t/>
            </a:r>
            <a:br>
              <a:rPr lang="en-US" dirty="0"/>
            </a:br>
            <a:r>
              <a:rPr lang="en-US" sz="2000" dirty="0" smtClean="0">
                <a:solidFill>
                  <a:srgbClr val="2968AF"/>
                </a:solidFill>
              </a:rPr>
              <a:t>Quickly </a:t>
            </a:r>
            <a:r>
              <a:rPr lang="en-US" sz="2000" dirty="0">
                <a:solidFill>
                  <a:srgbClr val="2968AF"/>
                </a:solidFill>
              </a:rPr>
              <a:t>Identify </a:t>
            </a:r>
            <a:r>
              <a:rPr lang="en-US" sz="2000" dirty="0" smtClean="0">
                <a:solidFill>
                  <a:srgbClr val="2968AF"/>
                </a:solidFill>
              </a:rPr>
              <a:t>and </a:t>
            </a:r>
            <a:r>
              <a:rPr lang="en-US" sz="2000" dirty="0">
                <a:solidFill>
                  <a:srgbClr val="2968AF"/>
                </a:solidFill>
              </a:rPr>
              <a:t>Mitigate Wi-Fi Impacting </a:t>
            </a:r>
            <a:r>
              <a:rPr lang="en-US" sz="2000" dirty="0" smtClean="0">
                <a:solidFill>
                  <a:srgbClr val="2968AF"/>
                </a:solidFill>
              </a:rPr>
              <a:t>Interference</a:t>
            </a:r>
            <a:endParaRPr lang="en-US" sz="2000" dirty="0">
              <a:solidFill>
                <a:schemeClr val="accent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76127" y="4327268"/>
            <a:ext cx="167919" cy="34141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378774" y="4327268"/>
            <a:ext cx="167919" cy="34141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140" name="Rectangle 139"/>
          <p:cNvSpPr/>
          <p:nvPr/>
        </p:nvSpPr>
        <p:spPr>
          <a:xfrm>
            <a:off x="581421" y="4327268"/>
            <a:ext cx="167919" cy="34141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141" name="Rectangle 140"/>
          <p:cNvSpPr/>
          <p:nvPr/>
        </p:nvSpPr>
        <p:spPr>
          <a:xfrm>
            <a:off x="986715" y="4327268"/>
            <a:ext cx="167919" cy="34141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142" name="Rectangle 141"/>
          <p:cNvSpPr/>
          <p:nvPr/>
        </p:nvSpPr>
        <p:spPr>
          <a:xfrm>
            <a:off x="2202597" y="4327268"/>
            <a:ext cx="167919" cy="34141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143" name="Rectangle 142"/>
          <p:cNvSpPr/>
          <p:nvPr/>
        </p:nvSpPr>
        <p:spPr>
          <a:xfrm>
            <a:off x="784068" y="4327268"/>
            <a:ext cx="167919" cy="34141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4" name="Rectangle 143"/>
          <p:cNvSpPr/>
          <p:nvPr/>
        </p:nvSpPr>
        <p:spPr>
          <a:xfrm>
            <a:off x="1189362" y="4327268"/>
            <a:ext cx="167919" cy="34141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6" name="Rectangle 145"/>
          <p:cNvSpPr/>
          <p:nvPr/>
        </p:nvSpPr>
        <p:spPr>
          <a:xfrm>
            <a:off x="1392009" y="4327268"/>
            <a:ext cx="167919" cy="34141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147" name="Rectangle 146"/>
          <p:cNvSpPr/>
          <p:nvPr/>
        </p:nvSpPr>
        <p:spPr>
          <a:xfrm>
            <a:off x="3823773" y="4327268"/>
            <a:ext cx="167919" cy="34141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148" name="Rectangle 147"/>
          <p:cNvSpPr/>
          <p:nvPr/>
        </p:nvSpPr>
        <p:spPr>
          <a:xfrm>
            <a:off x="1594656" y="4327268"/>
            <a:ext cx="167919" cy="34141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149" name="Rectangle 148"/>
          <p:cNvSpPr/>
          <p:nvPr/>
        </p:nvSpPr>
        <p:spPr>
          <a:xfrm>
            <a:off x="2810538" y="4327268"/>
            <a:ext cx="167919" cy="34141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150" name="Rectangle 149"/>
          <p:cNvSpPr/>
          <p:nvPr/>
        </p:nvSpPr>
        <p:spPr>
          <a:xfrm>
            <a:off x="1999950" y="4327268"/>
            <a:ext cx="167919" cy="34141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152" name="Rectangle 151"/>
          <p:cNvSpPr/>
          <p:nvPr/>
        </p:nvSpPr>
        <p:spPr>
          <a:xfrm>
            <a:off x="2405244" y="4327268"/>
            <a:ext cx="167919" cy="34141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154" name="Rectangle 153"/>
          <p:cNvSpPr/>
          <p:nvPr/>
        </p:nvSpPr>
        <p:spPr>
          <a:xfrm>
            <a:off x="2607891" y="4327268"/>
            <a:ext cx="167919" cy="34141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156" name="Rectangle 155"/>
          <p:cNvSpPr/>
          <p:nvPr/>
        </p:nvSpPr>
        <p:spPr>
          <a:xfrm>
            <a:off x="3013185" y="4327268"/>
            <a:ext cx="167919" cy="34141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157" name="Rectangle 156"/>
          <p:cNvSpPr/>
          <p:nvPr/>
        </p:nvSpPr>
        <p:spPr>
          <a:xfrm>
            <a:off x="3215832" y="4327268"/>
            <a:ext cx="167919" cy="34141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158" name="Rectangle 157"/>
          <p:cNvSpPr/>
          <p:nvPr/>
        </p:nvSpPr>
        <p:spPr>
          <a:xfrm>
            <a:off x="3418479" y="4327268"/>
            <a:ext cx="167919" cy="34141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159" name="Rectangle 158"/>
          <p:cNvSpPr/>
          <p:nvPr/>
        </p:nvSpPr>
        <p:spPr>
          <a:xfrm>
            <a:off x="3621126" y="4327268"/>
            <a:ext cx="167919" cy="34141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160" name="Rectangle 159"/>
          <p:cNvSpPr/>
          <p:nvPr/>
        </p:nvSpPr>
        <p:spPr>
          <a:xfrm>
            <a:off x="4026420" y="4327268"/>
            <a:ext cx="167919" cy="34141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162" name="Rectangle 161"/>
          <p:cNvSpPr/>
          <p:nvPr/>
        </p:nvSpPr>
        <p:spPr>
          <a:xfrm>
            <a:off x="4229074" y="4327268"/>
            <a:ext cx="167919" cy="34141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5511344" y="4737652"/>
            <a:ext cx="3271910" cy="2429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230" name="Rectangle 229"/>
          <p:cNvSpPr/>
          <p:nvPr/>
        </p:nvSpPr>
        <p:spPr>
          <a:xfrm>
            <a:off x="784068" y="4327268"/>
            <a:ext cx="167919" cy="341419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231" name="Isosceles Triangle 230"/>
          <p:cNvSpPr/>
          <p:nvPr/>
        </p:nvSpPr>
        <p:spPr>
          <a:xfrm flipV="1">
            <a:off x="4209315" y="4162675"/>
            <a:ext cx="202270" cy="131202"/>
          </a:xfrm>
          <a:prstGeom prst="triangle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232" name="TextBox 231"/>
          <p:cNvSpPr txBox="1"/>
          <p:nvPr/>
        </p:nvSpPr>
        <p:spPr>
          <a:xfrm>
            <a:off x="325768" y="4665470"/>
            <a:ext cx="123416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676767"/>
                </a:solidFill>
                <a:ea typeface="ＭＳ Ｐゴシック" charset="0"/>
                <a:cs typeface="Arial Narrow"/>
              </a:rPr>
              <a:t>Channel 48</a:t>
            </a:r>
            <a:endParaRPr lang="en-US" sz="1400" dirty="0">
              <a:solidFill>
                <a:srgbClr val="676767"/>
              </a:solidFill>
              <a:ea typeface="ＭＳ Ｐゴシック" charset="0"/>
              <a:cs typeface="Arial Narrow"/>
            </a:endParaRPr>
          </a:p>
        </p:txBody>
      </p:sp>
      <p:grpSp>
        <p:nvGrpSpPr>
          <p:cNvPr id="253" name="Group 252"/>
          <p:cNvGrpSpPr/>
          <p:nvPr/>
        </p:nvGrpSpPr>
        <p:grpSpPr>
          <a:xfrm>
            <a:off x="2078227" y="-77928"/>
            <a:ext cx="2854217" cy="3074970"/>
            <a:chOff x="2052090" y="-104619"/>
            <a:chExt cx="2746441" cy="3112333"/>
          </a:xfrm>
        </p:grpSpPr>
        <p:sp>
          <p:nvSpPr>
            <p:cNvPr id="18" name="Oval 17"/>
            <p:cNvSpPr/>
            <p:nvPr/>
          </p:nvSpPr>
          <p:spPr>
            <a:xfrm>
              <a:off x="2052090" y="1515140"/>
              <a:ext cx="1492574" cy="1492574"/>
            </a:xfrm>
            <a:prstGeom prst="ellipse">
              <a:avLst/>
            </a:prstGeom>
            <a:solidFill>
              <a:srgbClr val="FF0000">
                <a:alpha val="59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FFFFFF"/>
                </a:solidFill>
              </a:endParaRPr>
            </a:p>
          </p:txBody>
        </p:sp>
        <p:sp>
          <p:nvSpPr>
            <p:cNvPr id="248" name="Pie 247"/>
            <p:cNvSpPr/>
            <p:nvPr/>
          </p:nvSpPr>
          <p:spPr>
            <a:xfrm>
              <a:off x="2139416" y="-104619"/>
              <a:ext cx="2384877" cy="2269165"/>
            </a:xfrm>
            <a:prstGeom prst="pie">
              <a:avLst>
                <a:gd name="adj1" fmla="val 1846249"/>
                <a:gd name="adj2" fmla="val 8999216"/>
              </a:avLst>
            </a:prstGeom>
            <a:solidFill>
              <a:srgbClr val="FF0000">
                <a:alpha val="59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52" name="Freeform 251"/>
            <p:cNvSpPr/>
            <p:nvPr/>
          </p:nvSpPr>
          <p:spPr>
            <a:xfrm>
              <a:off x="3389705" y="1189334"/>
              <a:ext cx="1408826" cy="1634762"/>
            </a:xfrm>
            <a:custGeom>
              <a:avLst/>
              <a:gdLst>
                <a:gd name="connsiteX0" fmla="*/ 228398 w 1595148"/>
                <a:gd name="connsiteY0" fmla="*/ 0 h 1922208"/>
                <a:gd name="connsiteX1" fmla="*/ 1595148 w 1595148"/>
                <a:gd name="connsiteY1" fmla="*/ 822443 h 1922208"/>
                <a:gd name="connsiteX2" fmla="*/ 1591840 w 1595148"/>
                <a:gd name="connsiteY2" fmla="*/ 825568 h 1922208"/>
                <a:gd name="connsiteX3" fmla="*/ 1583187 w 1595148"/>
                <a:gd name="connsiteY3" fmla="*/ 1252425 h 1922208"/>
                <a:gd name="connsiteX4" fmla="*/ 437700 w 1595148"/>
                <a:gd name="connsiteY4" fmla="*/ 1916058 h 1922208"/>
                <a:gd name="connsiteX5" fmla="*/ 435707 w 1595148"/>
                <a:gd name="connsiteY5" fmla="*/ 1917940 h 1922208"/>
                <a:gd name="connsiteX6" fmla="*/ 435286 w 1595148"/>
                <a:gd name="connsiteY6" fmla="*/ 1917456 h 1922208"/>
                <a:gd name="connsiteX7" fmla="*/ 427083 w 1595148"/>
                <a:gd name="connsiteY7" fmla="*/ 1922208 h 1922208"/>
                <a:gd name="connsiteX8" fmla="*/ 433855 w 1595148"/>
                <a:gd name="connsiteY8" fmla="*/ 1915809 h 1922208"/>
                <a:gd name="connsiteX9" fmla="*/ 348300 w 1595148"/>
                <a:gd name="connsiteY9" fmla="*/ 1817387 h 1922208"/>
                <a:gd name="connsiteX10" fmla="*/ 228398 w 1595148"/>
                <a:gd name="connsiteY10" fmla="*/ 0 h 1922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95148" h="1922208">
                  <a:moveTo>
                    <a:pt x="228398" y="0"/>
                  </a:moveTo>
                  <a:lnTo>
                    <a:pt x="1595148" y="822443"/>
                  </a:lnTo>
                  <a:lnTo>
                    <a:pt x="1591840" y="825568"/>
                  </a:lnTo>
                  <a:lnTo>
                    <a:pt x="1583187" y="1252425"/>
                  </a:lnTo>
                  <a:lnTo>
                    <a:pt x="437700" y="1916058"/>
                  </a:lnTo>
                  <a:lnTo>
                    <a:pt x="435707" y="1917940"/>
                  </a:lnTo>
                  <a:lnTo>
                    <a:pt x="435286" y="1917456"/>
                  </a:lnTo>
                  <a:lnTo>
                    <a:pt x="427083" y="1922208"/>
                  </a:lnTo>
                  <a:lnTo>
                    <a:pt x="433855" y="1915809"/>
                  </a:lnTo>
                  <a:lnTo>
                    <a:pt x="348300" y="1817387"/>
                  </a:lnTo>
                  <a:cubicBezTo>
                    <a:pt x="-64776" y="1300225"/>
                    <a:pt x="-117646" y="575062"/>
                    <a:pt x="228398" y="0"/>
                  </a:cubicBezTo>
                  <a:close/>
                </a:path>
              </a:pathLst>
            </a:custGeom>
            <a:solidFill>
              <a:srgbClr val="FF0000">
                <a:alpha val="59000"/>
              </a:srgb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260108" y="2057819"/>
            <a:ext cx="1501330" cy="913301"/>
            <a:chOff x="1120656" y="2370689"/>
            <a:chExt cx="1156079" cy="703276"/>
          </a:xfrm>
        </p:grpSpPr>
        <p:sp>
          <p:nvSpPr>
            <p:cNvPr id="208" name="Freeform 14"/>
            <p:cNvSpPr>
              <a:spLocks noEditPoints="1"/>
            </p:cNvSpPr>
            <p:nvPr/>
          </p:nvSpPr>
          <p:spPr bwMode="auto">
            <a:xfrm>
              <a:off x="1120656" y="2991053"/>
              <a:ext cx="82684" cy="82912"/>
            </a:xfrm>
            <a:custGeom>
              <a:avLst/>
              <a:gdLst>
                <a:gd name="T0" fmla="*/ 384 w 511"/>
                <a:gd name="T1" fmla="*/ 0 h 511"/>
                <a:gd name="T2" fmla="*/ 127 w 511"/>
                <a:gd name="T3" fmla="*/ 0 h 511"/>
                <a:gd name="T4" fmla="*/ 0 w 511"/>
                <a:gd name="T5" fmla="*/ 127 h 511"/>
                <a:gd name="T6" fmla="*/ 0 w 511"/>
                <a:gd name="T7" fmla="*/ 384 h 511"/>
                <a:gd name="T8" fmla="*/ 127 w 511"/>
                <a:gd name="T9" fmla="*/ 511 h 511"/>
                <a:gd name="T10" fmla="*/ 384 w 511"/>
                <a:gd name="T11" fmla="*/ 511 h 511"/>
                <a:gd name="T12" fmla="*/ 511 w 511"/>
                <a:gd name="T13" fmla="*/ 384 h 511"/>
                <a:gd name="T14" fmla="*/ 511 w 511"/>
                <a:gd name="T15" fmla="*/ 127 h 511"/>
                <a:gd name="T16" fmla="*/ 384 w 511"/>
                <a:gd name="T17" fmla="*/ 0 h 511"/>
                <a:gd name="T18" fmla="*/ 275 w 511"/>
                <a:gd name="T19" fmla="*/ 85 h 511"/>
                <a:gd name="T20" fmla="*/ 236 w 511"/>
                <a:gd name="T21" fmla="*/ 85 h 511"/>
                <a:gd name="T22" fmla="*/ 236 w 511"/>
                <a:gd name="T23" fmla="*/ 45 h 511"/>
                <a:gd name="T24" fmla="*/ 275 w 511"/>
                <a:gd name="T25" fmla="*/ 45 h 511"/>
                <a:gd name="T26" fmla="*/ 275 w 511"/>
                <a:gd name="T27" fmla="*/ 85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1" h="511">
                  <a:moveTo>
                    <a:pt x="384" y="0"/>
                  </a:moveTo>
                  <a:cubicBezTo>
                    <a:pt x="127" y="0"/>
                    <a:pt x="127" y="0"/>
                    <a:pt x="127" y="0"/>
                  </a:cubicBezTo>
                  <a:cubicBezTo>
                    <a:pt x="57" y="0"/>
                    <a:pt x="0" y="57"/>
                    <a:pt x="0" y="127"/>
                  </a:cubicBezTo>
                  <a:cubicBezTo>
                    <a:pt x="0" y="384"/>
                    <a:pt x="0" y="384"/>
                    <a:pt x="0" y="384"/>
                  </a:cubicBezTo>
                  <a:cubicBezTo>
                    <a:pt x="0" y="454"/>
                    <a:pt x="57" y="511"/>
                    <a:pt x="127" y="511"/>
                  </a:cubicBezTo>
                  <a:cubicBezTo>
                    <a:pt x="384" y="511"/>
                    <a:pt x="384" y="511"/>
                    <a:pt x="384" y="511"/>
                  </a:cubicBezTo>
                  <a:cubicBezTo>
                    <a:pt x="454" y="511"/>
                    <a:pt x="511" y="454"/>
                    <a:pt x="511" y="384"/>
                  </a:cubicBezTo>
                  <a:cubicBezTo>
                    <a:pt x="511" y="127"/>
                    <a:pt x="511" y="127"/>
                    <a:pt x="511" y="127"/>
                  </a:cubicBezTo>
                  <a:cubicBezTo>
                    <a:pt x="511" y="57"/>
                    <a:pt x="454" y="0"/>
                    <a:pt x="384" y="0"/>
                  </a:cubicBezTo>
                  <a:close/>
                  <a:moveTo>
                    <a:pt x="275" y="85"/>
                  </a:moveTo>
                  <a:cubicBezTo>
                    <a:pt x="236" y="85"/>
                    <a:pt x="236" y="85"/>
                    <a:pt x="236" y="85"/>
                  </a:cubicBezTo>
                  <a:cubicBezTo>
                    <a:pt x="236" y="45"/>
                    <a:pt x="236" y="45"/>
                    <a:pt x="236" y="45"/>
                  </a:cubicBezTo>
                  <a:cubicBezTo>
                    <a:pt x="275" y="45"/>
                    <a:pt x="275" y="45"/>
                    <a:pt x="275" y="45"/>
                  </a:cubicBezTo>
                  <a:lnTo>
                    <a:pt x="275" y="85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0096D6"/>
                </a:solidFill>
                <a:ea typeface="ＭＳ Ｐゴシック" charset="0"/>
                <a:cs typeface="ＭＳ Ｐゴシック" charset="0"/>
              </a:endParaRPr>
            </a:p>
          </p:txBody>
        </p:sp>
        <p:grpSp>
          <p:nvGrpSpPr>
            <p:cNvPr id="236" name="Group 235"/>
            <p:cNvGrpSpPr/>
            <p:nvPr/>
          </p:nvGrpSpPr>
          <p:grpSpPr>
            <a:xfrm>
              <a:off x="2089328" y="2370689"/>
              <a:ext cx="187407" cy="188013"/>
              <a:chOff x="6003191" y="4235559"/>
              <a:chExt cx="493776" cy="495372"/>
            </a:xfrm>
            <a:solidFill>
              <a:schemeClr val="accent4"/>
            </a:solidFill>
          </p:grpSpPr>
          <p:sp>
            <p:nvSpPr>
              <p:cNvPr id="237" name="Freeform 14"/>
              <p:cNvSpPr>
                <a:spLocks noEditPoints="1"/>
              </p:cNvSpPr>
              <p:nvPr/>
            </p:nvSpPr>
            <p:spPr bwMode="auto">
              <a:xfrm>
                <a:off x="6141153" y="4374017"/>
                <a:ext cx="217853" cy="218456"/>
              </a:xfrm>
              <a:custGeom>
                <a:avLst/>
                <a:gdLst>
                  <a:gd name="T0" fmla="*/ 384 w 511"/>
                  <a:gd name="T1" fmla="*/ 0 h 511"/>
                  <a:gd name="T2" fmla="*/ 127 w 511"/>
                  <a:gd name="T3" fmla="*/ 0 h 511"/>
                  <a:gd name="T4" fmla="*/ 0 w 511"/>
                  <a:gd name="T5" fmla="*/ 127 h 511"/>
                  <a:gd name="T6" fmla="*/ 0 w 511"/>
                  <a:gd name="T7" fmla="*/ 384 h 511"/>
                  <a:gd name="T8" fmla="*/ 127 w 511"/>
                  <a:gd name="T9" fmla="*/ 511 h 511"/>
                  <a:gd name="T10" fmla="*/ 384 w 511"/>
                  <a:gd name="T11" fmla="*/ 511 h 511"/>
                  <a:gd name="T12" fmla="*/ 511 w 511"/>
                  <a:gd name="T13" fmla="*/ 384 h 511"/>
                  <a:gd name="T14" fmla="*/ 511 w 511"/>
                  <a:gd name="T15" fmla="*/ 127 h 511"/>
                  <a:gd name="T16" fmla="*/ 384 w 511"/>
                  <a:gd name="T17" fmla="*/ 0 h 511"/>
                  <a:gd name="T18" fmla="*/ 275 w 511"/>
                  <a:gd name="T19" fmla="*/ 85 h 511"/>
                  <a:gd name="T20" fmla="*/ 236 w 511"/>
                  <a:gd name="T21" fmla="*/ 85 h 511"/>
                  <a:gd name="T22" fmla="*/ 236 w 511"/>
                  <a:gd name="T23" fmla="*/ 45 h 511"/>
                  <a:gd name="T24" fmla="*/ 275 w 511"/>
                  <a:gd name="T25" fmla="*/ 45 h 511"/>
                  <a:gd name="T26" fmla="*/ 275 w 511"/>
                  <a:gd name="T27" fmla="*/ 8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1" h="511">
                    <a:moveTo>
                      <a:pt x="384" y="0"/>
                    </a:moveTo>
                    <a:cubicBezTo>
                      <a:pt x="127" y="0"/>
                      <a:pt x="127" y="0"/>
                      <a:pt x="127" y="0"/>
                    </a:cubicBezTo>
                    <a:cubicBezTo>
                      <a:pt x="57" y="0"/>
                      <a:pt x="0" y="57"/>
                      <a:pt x="0" y="127"/>
                    </a:cubicBezTo>
                    <a:cubicBezTo>
                      <a:pt x="0" y="384"/>
                      <a:pt x="0" y="384"/>
                      <a:pt x="0" y="384"/>
                    </a:cubicBezTo>
                    <a:cubicBezTo>
                      <a:pt x="0" y="454"/>
                      <a:pt x="57" y="511"/>
                      <a:pt x="127" y="511"/>
                    </a:cubicBezTo>
                    <a:cubicBezTo>
                      <a:pt x="384" y="511"/>
                      <a:pt x="384" y="511"/>
                      <a:pt x="384" y="511"/>
                    </a:cubicBezTo>
                    <a:cubicBezTo>
                      <a:pt x="454" y="511"/>
                      <a:pt x="511" y="454"/>
                      <a:pt x="511" y="384"/>
                    </a:cubicBezTo>
                    <a:cubicBezTo>
                      <a:pt x="511" y="127"/>
                      <a:pt x="511" y="127"/>
                      <a:pt x="511" y="127"/>
                    </a:cubicBezTo>
                    <a:cubicBezTo>
                      <a:pt x="511" y="57"/>
                      <a:pt x="454" y="0"/>
                      <a:pt x="384" y="0"/>
                    </a:cubicBezTo>
                    <a:close/>
                    <a:moveTo>
                      <a:pt x="275" y="85"/>
                    </a:moveTo>
                    <a:cubicBezTo>
                      <a:pt x="236" y="85"/>
                      <a:pt x="236" y="85"/>
                      <a:pt x="236" y="85"/>
                    </a:cubicBezTo>
                    <a:cubicBezTo>
                      <a:pt x="236" y="45"/>
                      <a:pt x="236" y="45"/>
                      <a:pt x="236" y="45"/>
                    </a:cubicBezTo>
                    <a:cubicBezTo>
                      <a:pt x="275" y="45"/>
                      <a:pt x="275" y="45"/>
                      <a:pt x="275" y="45"/>
                    </a:cubicBezTo>
                    <a:lnTo>
                      <a:pt x="275" y="85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96D6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38" name="Freeform 237"/>
              <p:cNvSpPr>
                <a:spLocks noEditPoints="1"/>
              </p:cNvSpPr>
              <p:nvPr/>
            </p:nvSpPr>
            <p:spPr bwMode="auto">
              <a:xfrm>
                <a:off x="6003191" y="4235559"/>
                <a:ext cx="493776" cy="495372"/>
              </a:xfrm>
              <a:custGeom>
                <a:avLst/>
                <a:gdLst>
                  <a:gd name="T0" fmla="*/ 885 w 1159"/>
                  <a:gd name="T1" fmla="*/ 0 h 1159"/>
                  <a:gd name="T2" fmla="*/ 274 w 1159"/>
                  <a:gd name="T3" fmla="*/ 0 h 1159"/>
                  <a:gd name="T4" fmla="*/ 0 w 1159"/>
                  <a:gd name="T5" fmla="*/ 274 h 1159"/>
                  <a:gd name="T6" fmla="*/ 0 w 1159"/>
                  <a:gd name="T7" fmla="*/ 885 h 1159"/>
                  <a:gd name="T8" fmla="*/ 274 w 1159"/>
                  <a:gd name="T9" fmla="*/ 1159 h 1159"/>
                  <a:gd name="T10" fmla="*/ 885 w 1159"/>
                  <a:gd name="T11" fmla="*/ 1159 h 1159"/>
                  <a:gd name="T12" fmla="*/ 1159 w 1159"/>
                  <a:gd name="T13" fmla="*/ 885 h 1159"/>
                  <a:gd name="T14" fmla="*/ 1159 w 1159"/>
                  <a:gd name="T15" fmla="*/ 274 h 1159"/>
                  <a:gd name="T16" fmla="*/ 885 w 1159"/>
                  <a:gd name="T17" fmla="*/ 0 h 1159"/>
                  <a:gd name="T18" fmla="*/ 867 w 1159"/>
                  <a:gd name="T19" fmla="*/ 708 h 1159"/>
                  <a:gd name="T20" fmla="*/ 708 w 1159"/>
                  <a:gd name="T21" fmla="*/ 867 h 1159"/>
                  <a:gd name="T22" fmla="*/ 451 w 1159"/>
                  <a:gd name="T23" fmla="*/ 867 h 1159"/>
                  <a:gd name="T24" fmla="*/ 292 w 1159"/>
                  <a:gd name="T25" fmla="*/ 708 h 1159"/>
                  <a:gd name="T26" fmla="*/ 292 w 1159"/>
                  <a:gd name="T27" fmla="*/ 451 h 1159"/>
                  <a:gd name="T28" fmla="*/ 451 w 1159"/>
                  <a:gd name="T29" fmla="*/ 292 h 1159"/>
                  <a:gd name="T30" fmla="*/ 708 w 1159"/>
                  <a:gd name="T31" fmla="*/ 292 h 1159"/>
                  <a:gd name="T32" fmla="*/ 867 w 1159"/>
                  <a:gd name="T33" fmla="*/ 451 h 1159"/>
                  <a:gd name="T34" fmla="*/ 867 w 1159"/>
                  <a:gd name="T35" fmla="*/ 708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59" h="1159">
                    <a:moveTo>
                      <a:pt x="885" y="0"/>
                    </a:moveTo>
                    <a:cubicBezTo>
                      <a:pt x="274" y="0"/>
                      <a:pt x="274" y="0"/>
                      <a:pt x="274" y="0"/>
                    </a:cubicBezTo>
                    <a:cubicBezTo>
                      <a:pt x="123" y="0"/>
                      <a:pt x="0" y="123"/>
                      <a:pt x="0" y="274"/>
                    </a:cubicBezTo>
                    <a:cubicBezTo>
                      <a:pt x="0" y="885"/>
                      <a:pt x="0" y="885"/>
                      <a:pt x="0" y="885"/>
                    </a:cubicBezTo>
                    <a:cubicBezTo>
                      <a:pt x="0" y="1036"/>
                      <a:pt x="123" y="1159"/>
                      <a:pt x="274" y="1159"/>
                    </a:cubicBezTo>
                    <a:cubicBezTo>
                      <a:pt x="885" y="1159"/>
                      <a:pt x="885" y="1159"/>
                      <a:pt x="885" y="1159"/>
                    </a:cubicBezTo>
                    <a:cubicBezTo>
                      <a:pt x="1036" y="1159"/>
                      <a:pt x="1159" y="1036"/>
                      <a:pt x="1159" y="885"/>
                    </a:cubicBezTo>
                    <a:cubicBezTo>
                      <a:pt x="1159" y="274"/>
                      <a:pt x="1159" y="274"/>
                      <a:pt x="1159" y="274"/>
                    </a:cubicBezTo>
                    <a:cubicBezTo>
                      <a:pt x="1159" y="123"/>
                      <a:pt x="1036" y="0"/>
                      <a:pt x="885" y="0"/>
                    </a:cubicBezTo>
                    <a:close/>
                    <a:moveTo>
                      <a:pt x="867" y="708"/>
                    </a:moveTo>
                    <a:cubicBezTo>
                      <a:pt x="867" y="796"/>
                      <a:pt x="796" y="867"/>
                      <a:pt x="708" y="867"/>
                    </a:cubicBezTo>
                    <a:cubicBezTo>
                      <a:pt x="451" y="867"/>
                      <a:pt x="451" y="867"/>
                      <a:pt x="451" y="867"/>
                    </a:cubicBezTo>
                    <a:cubicBezTo>
                      <a:pt x="363" y="867"/>
                      <a:pt x="292" y="796"/>
                      <a:pt x="292" y="708"/>
                    </a:cubicBezTo>
                    <a:cubicBezTo>
                      <a:pt x="292" y="451"/>
                      <a:pt x="292" y="451"/>
                      <a:pt x="292" y="451"/>
                    </a:cubicBezTo>
                    <a:cubicBezTo>
                      <a:pt x="292" y="363"/>
                      <a:pt x="363" y="292"/>
                      <a:pt x="451" y="292"/>
                    </a:cubicBezTo>
                    <a:cubicBezTo>
                      <a:pt x="708" y="292"/>
                      <a:pt x="708" y="292"/>
                      <a:pt x="708" y="292"/>
                    </a:cubicBezTo>
                    <a:cubicBezTo>
                      <a:pt x="796" y="292"/>
                      <a:pt x="867" y="363"/>
                      <a:pt x="867" y="451"/>
                    </a:cubicBezTo>
                    <a:lnTo>
                      <a:pt x="867" y="708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96D6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sp>
        <p:nvSpPr>
          <p:cNvPr id="255" name="Rectangle 254"/>
          <p:cNvSpPr/>
          <p:nvPr/>
        </p:nvSpPr>
        <p:spPr>
          <a:xfrm>
            <a:off x="1797303" y="4327268"/>
            <a:ext cx="167919" cy="341419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256" name="Oval 255"/>
          <p:cNvSpPr/>
          <p:nvPr/>
        </p:nvSpPr>
        <p:spPr>
          <a:xfrm>
            <a:off x="391883" y="2573978"/>
            <a:ext cx="289470" cy="28947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FFFFFF"/>
                </a:solidFill>
              </a:rPr>
              <a:t>48</a:t>
            </a:r>
          </a:p>
        </p:txBody>
      </p:sp>
      <p:sp>
        <p:nvSpPr>
          <p:cNvPr id="258" name="Oval 257"/>
          <p:cNvSpPr/>
          <p:nvPr/>
        </p:nvSpPr>
        <p:spPr>
          <a:xfrm>
            <a:off x="1821450" y="3537536"/>
            <a:ext cx="289470" cy="28947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FFFFFF"/>
                </a:solidFill>
              </a:rPr>
              <a:t>48</a:t>
            </a:r>
          </a:p>
        </p:txBody>
      </p:sp>
      <p:sp>
        <p:nvSpPr>
          <p:cNvPr id="259" name="Oval 258"/>
          <p:cNvSpPr/>
          <p:nvPr/>
        </p:nvSpPr>
        <p:spPr>
          <a:xfrm>
            <a:off x="3169439" y="3722363"/>
            <a:ext cx="289470" cy="28947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FFFFFF"/>
                </a:solidFill>
              </a:rPr>
              <a:t>48</a:t>
            </a:r>
          </a:p>
        </p:txBody>
      </p:sp>
      <p:sp>
        <p:nvSpPr>
          <p:cNvPr id="260" name="Oval 259"/>
          <p:cNvSpPr/>
          <p:nvPr/>
        </p:nvSpPr>
        <p:spPr>
          <a:xfrm>
            <a:off x="2546153" y="3171311"/>
            <a:ext cx="289470" cy="28947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FFFFFF"/>
                </a:solidFill>
              </a:rPr>
              <a:t>48</a:t>
            </a:r>
          </a:p>
        </p:txBody>
      </p:sp>
      <p:sp>
        <p:nvSpPr>
          <p:cNvPr id="261" name="Oval 260"/>
          <p:cNvSpPr/>
          <p:nvPr/>
        </p:nvSpPr>
        <p:spPr>
          <a:xfrm>
            <a:off x="1693444" y="1812322"/>
            <a:ext cx="289470" cy="28947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FFFFFF"/>
                </a:solidFill>
              </a:rPr>
              <a:t>48</a:t>
            </a:r>
          </a:p>
        </p:txBody>
      </p:sp>
      <p:sp>
        <p:nvSpPr>
          <p:cNvPr id="262" name="Oval 261"/>
          <p:cNvSpPr/>
          <p:nvPr/>
        </p:nvSpPr>
        <p:spPr>
          <a:xfrm>
            <a:off x="3529864" y="1028371"/>
            <a:ext cx="289470" cy="28947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FFFFFF"/>
                </a:solidFill>
              </a:rPr>
              <a:t>48</a:t>
            </a:r>
          </a:p>
        </p:txBody>
      </p:sp>
      <p:sp>
        <p:nvSpPr>
          <p:cNvPr id="263" name="Oval 262"/>
          <p:cNvSpPr/>
          <p:nvPr/>
        </p:nvSpPr>
        <p:spPr>
          <a:xfrm>
            <a:off x="4761562" y="1588005"/>
            <a:ext cx="289470" cy="28947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FFFFFF"/>
                </a:solidFill>
              </a:rPr>
              <a:t>48</a:t>
            </a:r>
          </a:p>
        </p:txBody>
      </p:sp>
      <p:sp>
        <p:nvSpPr>
          <p:cNvPr id="264" name="Oval 263"/>
          <p:cNvSpPr/>
          <p:nvPr/>
        </p:nvSpPr>
        <p:spPr>
          <a:xfrm>
            <a:off x="2914678" y="2345090"/>
            <a:ext cx="289470" cy="289470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FFFFFF"/>
                </a:solidFill>
              </a:rPr>
              <a:t>48</a:t>
            </a:r>
          </a:p>
        </p:txBody>
      </p:sp>
      <p:grpSp>
        <p:nvGrpSpPr>
          <p:cNvPr id="56" name="Group 55"/>
          <p:cNvGrpSpPr/>
          <p:nvPr/>
        </p:nvGrpSpPr>
        <p:grpSpPr>
          <a:xfrm>
            <a:off x="2914678" y="1033235"/>
            <a:ext cx="2136354" cy="1606189"/>
            <a:chOff x="3366266" y="1180771"/>
            <a:chExt cx="2136354" cy="1606189"/>
          </a:xfrm>
        </p:grpSpPr>
        <p:sp>
          <p:nvSpPr>
            <p:cNvPr id="265" name="Oval 264"/>
            <p:cNvSpPr/>
            <p:nvPr/>
          </p:nvSpPr>
          <p:spPr>
            <a:xfrm>
              <a:off x="3981452" y="1180771"/>
              <a:ext cx="289470" cy="289470"/>
            </a:xfrm>
            <a:prstGeom prst="ellipse">
              <a:avLst/>
            </a:prstGeom>
            <a:solidFill>
              <a:srgbClr val="C00000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FFFFFF"/>
                  </a:solidFill>
                </a:rPr>
                <a:t>48</a:t>
              </a:r>
            </a:p>
          </p:txBody>
        </p:sp>
        <p:sp>
          <p:nvSpPr>
            <p:cNvPr id="266" name="Oval 265"/>
            <p:cNvSpPr/>
            <p:nvPr/>
          </p:nvSpPr>
          <p:spPr>
            <a:xfrm>
              <a:off x="5213150" y="1735541"/>
              <a:ext cx="289470" cy="289470"/>
            </a:xfrm>
            <a:prstGeom prst="ellipse">
              <a:avLst/>
            </a:prstGeom>
            <a:solidFill>
              <a:srgbClr val="C00000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FFFFFF"/>
                  </a:solidFill>
                </a:rPr>
                <a:t>48</a:t>
              </a:r>
            </a:p>
          </p:txBody>
        </p:sp>
        <p:sp>
          <p:nvSpPr>
            <p:cNvPr id="267" name="Oval 266"/>
            <p:cNvSpPr/>
            <p:nvPr/>
          </p:nvSpPr>
          <p:spPr>
            <a:xfrm>
              <a:off x="3366266" y="2497490"/>
              <a:ext cx="289470" cy="289470"/>
            </a:xfrm>
            <a:prstGeom prst="ellipse">
              <a:avLst/>
            </a:prstGeom>
            <a:solidFill>
              <a:srgbClr val="C00000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smtClean="0">
                  <a:solidFill>
                    <a:srgbClr val="FFFFFF"/>
                  </a:solidFill>
                </a:rPr>
                <a:t>48</a:t>
              </a:r>
            </a:p>
          </p:txBody>
        </p:sp>
      </p:grpSp>
      <p:grpSp>
        <p:nvGrpSpPr>
          <p:cNvPr id="101" name="Group 100"/>
          <p:cNvGrpSpPr/>
          <p:nvPr/>
        </p:nvGrpSpPr>
        <p:grpSpPr>
          <a:xfrm>
            <a:off x="3485254" y="1904200"/>
            <a:ext cx="440890" cy="440890"/>
            <a:chOff x="5745421" y="3506296"/>
            <a:chExt cx="440890" cy="440890"/>
          </a:xfrm>
        </p:grpSpPr>
        <p:sp>
          <p:nvSpPr>
            <p:cNvPr id="102" name="Oval 101"/>
            <p:cNvSpPr/>
            <p:nvPr/>
          </p:nvSpPr>
          <p:spPr>
            <a:xfrm>
              <a:off x="5745421" y="3506296"/>
              <a:ext cx="440890" cy="440890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FFFFFF"/>
                </a:solidFill>
              </a:endParaRPr>
            </a:p>
          </p:txBody>
        </p:sp>
        <p:grpSp>
          <p:nvGrpSpPr>
            <p:cNvPr id="103" name="Group 102"/>
            <p:cNvGrpSpPr/>
            <p:nvPr/>
          </p:nvGrpSpPr>
          <p:grpSpPr>
            <a:xfrm>
              <a:off x="5911824" y="3583891"/>
              <a:ext cx="115007" cy="296274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104" name="Freeform 83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105" name="Freeform 84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sp>
        <p:nvSpPr>
          <p:cNvPr id="92" name="TextBox 91"/>
          <p:cNvSpPr txBox="1"/>
          <p:nvPr/>
        </p:nvSpPr>
        <p:spPr>
          <a:xfrm>
            <a:off x="5310205" y="1170947"/>
            <a:ext cx="383379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45720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ü"/>
            </a:pPr>
            <a:r>
              <a:rPr lang="en-US" sz="1600" dirty="0" smtClean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Interference on 20/40/80/160 MHz </a:t>
            </a:r>
          </a:p>
          <a:p>
            <a:pPr marL="285750" indent="-285750" defTabSz="45720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ü"/>
            </a:pPr>
            <a:r>
              <a:rPr lang="en-US" sz="1600" dirty="0" smtClean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Air </a:t>
            </a:r>
            <a:r>
              <a:rPr lang="en-US" sz="1600" dirty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Quality and Interference by AP/radio on WLC</a:t>
            </a:r>
          </a:p>
          <a:p>
            <a:pPr marL="285750" indent="-285750" defTabSz="45720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ü"/>
            </a:pPr>
            <a:r>
              <a:rPr lang="en-US" sz="1600" dirty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AQ Threshold trap </a:t>
            </a:r>
            <a:r>
              <a:rPr lang="en-US" sz="1600" dirty="0" smtClean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and Interference </a:t>
            </a:r>
            <a:r>
              <a:rPr lang="en-US" sz="1600" dirty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Device trap (per radio) </a:t>
            </a:r>
            <a:endParaRPr lang="en-US" sz="1600" dirty="0" smtClean="0">
              <a:solidFill>
                <a:srgbClr val="2968AF"/>
              </a:solidFill>
              <a:latin typeface="Avenir Next Regular"/>
              <a:ea typeface="ＭＳ Ｐゴシック" charset="0"/>
              <a:cs typeface="Avenir Next Regular"/>
            </a:endParaRPr>
          </a:p>
          <a:p>
            <a:pPr marL="285750" indent="-285750" defTabSz="457200" fontAlgn="base">
              <a:spcBef>
                <a:spcPct val="0"/>
              </a:spcBef>
              <a:spcAft>
                <a:spcPct val="0"/>
              </a:spcAft>
              <a:buFont typeface="Wingdings" charset="2"/>
              <a:buChar char="ü"/>
            </a:pPr>
            <a:r>
              <a:rPr lang="en-US" sz="1600" dirty="0" err="1" smtClean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CleanAir</a:t>
            </a:r>
            <a:r>
              <a:rPr lang="en-US" sz="1600" dirty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-enabled </a:t>
            </a:r>
            <a:r>
              <a:rPr lang="en-US" sz="1600" dirty="0" smtClean="0">
                <a:solidFill>
                  <a:srgbClr val="2968AF"/>
                </a:solidFill>
                <a:latin typeface="Avenir Next Regular"/>
                <a:ea typeface="ＭＳ Ｐゴシック" charset="0"/>
                <a:cs typeface="Avenir Next Regular"/>
              </a:rPr>
              <a:t>RRM</a:t>
            </a:r>
            <a:endParaRPr lang="en-US" sz="1600" dirty="0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solidFill>
                <a:srgbClr val="2968AF"/>
              </a:solidFill>
              <a:latin typeface="Avenir Next Regular"/>
              <a:ea typeface="ＭＳ Ｐゴシック" charset="0"/>
              <a:cs typeface="Avenir Next Regular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solidFill>
                <a:srgbClr val="2968AF"/>
              </a:solidFill>
              <a:latin typeface="Avenir Next Regular"/>
              <a:ea typeface="ＭＳ Ｐゴシック" charset="0"/>
              <a:cs typeface="Avenir Next Regular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solidFill>
                <a:srgbClr val="2968AF"/>
              </a:solidFill>
              <a:latin typeface="Avenir Next Regular"/>
              <a:ea typeface="ＭＳ Ｐゴシック" charset="0"/>
              <a:cs typeface="Avenir Next Regular"/>
            </a:endParaRPr>
          </a:p>
        </p:txBody>
      </p:sp>
      <p:pic>
        <p:nvPicPr>
          <p:cNvPr id="106" name="Picture 10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45521" y="2846531"/>
            <a:ext cx="2678570" cy="211647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05630" y="4011833"/>
            <a:ext cx="1877624" cy="92454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grpSp>
        <p:nvGrpSpPr>
          <p:cNvPr id="107" name="Group 106"/>
          <p:cNvGrpSpPr/>
          <p:nvPr/>
        </p:nvGrpSpPr>
        <p:grpSpPr>
          <a:xfrm>
            <a:off x="5329466" y="1152324"/>
            <a:ext cx="305263" cy="305263"/>
            <a:chOff x="971601" y="1893303"/>
            <a:chExt cx="305263" cy="305263"/>
          </a:xfrm>
        </p:grpSpPr>
        <p:sp>
          <p:nvSpPr>
            <p:cNvPr id="108" name="Oval 107"/>
            <p:cNvSpPr/>
            <p:nvPr/>
          </p:nvSpPr>
          <p:spPr>
            <a:xfrm>
              <a:off x="971601" y="1893303"/>
              <a:ext cx="305263" cy="305263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109" name="Freeform 108"/>
            <p:cNvSpPr>
              <a:spLocks/>
            </p:cNvSpPr>
            <p:nvPr/>
          </p:nvSpPr>
          <p:spPr bwMode="auto">
            <a:xfrm>
              <a:off x="1053833" y="1981355"/>
              <a:ext cx="149716" cy="141972"/>
            </a:xfrm>
            <a:custGeom>
              <a:avLst/>
              <a:gdLst>
                <a:gd name="T0" fmla="*/ 95 w 98"/>
                <a:gd name="T1" fmla="*/ 0 h 93"/>
                <a:gd name="T2" fmla="*/ 98 w 98"/>
                <a:gd name="T3" fmla="*/ 4 h 93"/>
                <a:gd name="T4" fmla="*/ 64 w 98"/>
                <a:gd name="T5" fmla="*/ 39 h 93"/>
                <a:gd name="T6" fmla="*/ 36 w 98"/>
                <a:gd name="T7" fmla="*/ 83 h 93"/>
                <a:gd name="T8" fmla="*/ 31 w 98"/>
                <a:gd name="T9" fmla="*/ 86 h 93"/>
                <a:gd name="T10" fmla="*/ 22 w 98"/>
                <a:gd name="T11" fmla="*/ 93 h 93"/>
                <a:gd name="T12" fmla="*/ 18 w 98"/>
                <a:gd name="T13" fmla="*/ 82 h 93"/>
                <a:gd name="T14" fmla="*/ 16 w 98"/>
                <a:gd name="T15" fmla="*/ 77 h 93"/>
                <a:gd name="T16" fmla="*/ 8 w 98"/>
                <a:gd name="T17" fmla="*/ 63 h 93"/>
                <a:gd name="T18" fmla="*/ 0 w 98"/>
                <a:gd name="T19" fmla="*/ 57 h 93"/>
                <a:gd name="T20" fmla="*/ 14 w 98"/>
                <a:gd name="T21" fmla="*/ 49 h 93"/>
                <a:gd name="T22" fmla="*/ 26 w 98"/>
                <a:gd name="T23" fmla="*/ 63 h 93"/>
                <a:gd name="T24" fmla="*/ 28 w 98"/>
                <a:gd name="T25" fmla="*/ 68 h 93"/>
                <a:gd name="T26" fmla="*/ 59 w 98"/>
                <a:gd name="T27" fmla="*/ 29 h 93"/>
                <a:gd name="T28" fmla="*/ 95 w 98"/>
                <a:gd name="T2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93">
                  <a:moveTo>
                    <a:pt x="95" y="0"/>
                  </a:moveTo>
                  <a:cubicBezTo>
                    <a:pt x="98" y="4"/>
                    <a:pt x="98" y="4"/>
                    <a:pt x="98" y="4"/>
                  </a:cubicBezTo>
                  <a:cubicBezTo>
                    <a:pt x="88" y="11"/>
                    <a:pt x="76" y="23"/>
                    <a:pt x="64" y="39"/>
                  </a:cubicBezTo>
                  <a:cubicBezTo>
                    <a:pt x="52" y="54"/>
                    <a:pt x="42" y="69"/>
                    <a:pt x="36" y="83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26" y="89"/>
                    <a:pt x="24" y="91"/>
                    <a:pt x="22" y="93"/>
                  </a:cubicBezTo>
                  <a:cubicBezTo>
                    <a:pt x="21" y="91"/>
                    <a:pt x="20" y="87"/>
                    <a:pt x="18" y="82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3" y="71"/>
                    <a:pt x="11" y="66"/>
                    <a:pt x="8" y="63"/>
                  </a:cubicBezTo>
                  <a:cubicBezTo>
                    <a:pt x="6" y="60"/>
                    <a:pt x="3" y="58"/>
                    <a:pt x="0" y="57"/>
                  </a:cubicBezTo>
                  <a:cubicBezTo>
                    <a:pt x="5" y="51"/>
                    <a:pt x="10" y="49"/>
                    <a:pt x="14" y="49"/>
                  </a:cubicBezTo>
                  <a:cubicBezTo>
                    <a:pt x="18" y="49"/>
                    <a:pt x="22" y="54"/>
                    <a:pt x="26" y="63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6" y="55"/>
                    <a:pt x="46" y="42"/>
                    <a:pt x="59" y="29"/>
                  </a:cubicBezTo>
                  <a:cubicBezTo>
                    <a:pt x="71" y="17"/>
                    <a:pt x="83" y="7"/>
                    <a:pt x="9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endParaRPr lang="en-US">
                <a:solidFill>
                  <a:srgbClr val="676767"/>
                </a:solidFill>
              </a:endParaRPr>
            </a:p>
          </p:txBody>
        </p:sp>
      </p:grpSp>
      <p:grpSp>
        <p:nvGrpSpPr>
          <p:cNvPr id="110" name="Group 109"/>
          <p:cNvGrpSpPr/>
          <p:nvPr/>
        </p:nvGrpSpPr>
        <p:grpSpPr>
          <a:xfrm>
            <a:off x="5358712" y="1905861"/>
            <a:ext cx="305263" cy="305263"/>
            <a:chOff x="971601" y="1893303"/>
            <a:chExt cx="305263" cy="305263"/>
          </a:xfrm>
        </p:grpSpPr>
        <p:sp>
          <p:nvSpPr>
            <p:cNvPr id="111" name="Oval 110"/>
            <p:cNvSpPr/>
            <p:nvPr/>
          </p:nvSpPr>
          <p:spPr>
            <a:xfrm>
              <a:off x="971601" y="1893303"/>
              <a:ext cx="305263" cy="305263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112" name="Freeform 111"/>
            <p:cNvSpPr>
              <a:spLocks/>
            </p:cNvSpPr>
            <p:nvPr/>
          </p:nvSpPr>
          <p:spPr bwMode="auto">
            <a:xfrm>
              <a:off x="1053833" y="1981355"/>
              <a:ext cx="149716" cy="141972"/>
            </a:xfrm>
            <a:custGeom>
              <a:avLst/>
              <a:gdLst>
                <a:gd name="T0" fmla="*/ 95 w 98"/>
                <a:gd name="T1" fmla="*/ 0 h 93"/>
                <a:gd name="T2" fmla="*/ 98 w 98"/>
                <a:gd name="T3" fmla="*/ 4 h 93"/>
                <a:gd name="T4" fmla="*/ 64 w 98"/>
                <a:gd name="T5" fmla="*/ 39 h 93"/>
                <a:gd name="T6" fmla="*/ 36 w 98"/>
                <a:gd name="T7" fmla="*/ 83 h 93"/>
                <a:gd name="T8" fmla="*/ 31 w 98"/>
                <a:gd name="T9" fmla="*/ 86 h 93"/>
                <a:gd name="T10" fmla="*/ 22 w 98"/>
                <a:gd name="T11" fmla="*/ 93 h 93"/>
                <a:gd name="T12" fmla="*/ 18 w 98"/>
                <a:gd name="T13" fmla="*/ 82 h 93"/>
                <a:gd name="T14" fmla="*/ 16 w 98"/>
                <a:gd name="T15" fmla="*/ 77 h 93"/>
                <a:gd name="T16" fmla="*/ 8 w 98"/>
                <a:gd name="T17" fmla="*/ 63 h 93"/>
                <a:gd name="T18" fmla="*/ 0 w 98"/>
                <a:gd name="T19" fmla="*/ 57 h 93"/>
                <a:gd name="T20" fmla="*/ 14 w 98"/>
                <a:gd name="T21" fmla="*/ 49 h 93"/>
                <a:gd name="T22" fmla="*/ 26 w 98"/>
                <a:gd name="T23" fmla="*/ 63 h 93"/>
                <a:gd name="T24" fmla="*/ 28 w 98"/>
                <a:gd name="T25" fmla="*/ 68 h 93"/>
                <a:gd name="T26" fmla="*/ 59 w 98"/>
                <a:gd name="T27" fmla="*/ 29 h 93"/>
                <a:gd name="T28" fmla="*/ 95 w 98"/>
                <a:gd name="T2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93">
                  <a:moveTo>
                    <a:pt x="95" y="0"/>
                  </a:moveTo>
                  <a:cubicBezTo>
                    <a:pt x="98" y="4"/>
                    <a:pt x="98" y="4"/>
                    <a:pt x="98" y="4"/>
                  </a:cubicBezTo>
                  <a:cubicBezTo>
                    <a:pt x="88" y="11"/>
                    <a:pt x="76" y="23"/>
                    <a:pt x="64" y="39"/>
                  </a:cubicBezTo>
                  <a:cubicBezTo>
                    <a:pt x="52" y="54"/>
                    <a:pt x="42" y="69"/>
                    <a:pt x="36" y="83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26" y="89"/>
                    <a:pt x="24" y="91"/>
                    <a:pt x="22" y="93"/>
                  </a:cubicBezTo>
                  <a:cubicBezTo>
                    <a:pt x="21" y="91"/>
                    <a:pt x="20" y="87"/>
                    <a:pt x="18" y="82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3" y="71"/>
                    <a:pt x="11" y="66"/>
                    <a:pt x="8" y="63"/>
                  </a:cubicBezTo>
                  <a:cubicBezTo>
                    <a:pt x="6" y="60"/>
                    <a:pt x="3" y="58"/>
                    <a:pt x="0" y="57"/>
                  </a:cubicBezTo>
                  <a:cubicBezTo>
                    <a:pt x="5" y="51"/>
                    <a:pt x="10" y="49"/>
                    <a:pt x="14" y="49"/>
                  </a:cubicBezTo>
                  <a:cubicBezTo>
                    <a:pt x="18" y="49"/>
                    <a:pt x="22" y="54"/>
                    <a:pt x="26" y="63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6" y="55"/>
                    <a:pt x="46" y="42"/>
                    <a:pt x="59" y="29"/>
                  </a:cubicBezTo>
                  <a:cubicBezTo>
                    <a:pt x="71" y="17"/>
                    <a:pt x="83" y="7"/>
                    <a:pt x="9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endParaRPr lang="en-US">
                <a:solidFill>
                  <a:srgbClr val="676767"/>
                </a:solidFill>
              </a:endParaRPr>
            </a:p>
          </p:txBody>
        </p:sp>
      </p:grpSp>
      <p:grpSp>
        <p:nvGrpSpPr>
          <p:cNvPr id="113" name="Group 112"/>
          <p:cNvGrpSpPr/>
          <p:nvPr/>
        </p:nvGrpSpPr>
        <p:grpSpPr>
          <a:xfrm>
            <a:off x="5346766" y="2397064"/>
            <a:ext cx="305263" cy="305263"/>
            <a:chOff x="971601" y="1893303"/>
            <a:chExt cx="305263" cy="305263"/>
          </a:xfrm>
        </p:grpSpPr>
        <p:sp>
          <p:nvSpPr>
            <p:cNvPr id="114" name="Oval 113"/>
            <p:cNvSpPr/>
            <p:nvPr/>
          </p:nvSpPr>
          <p:spPr>
            <a:xfrm>
              <a:off x="971601" y="1893303"/>
              <a:ext cx="305263" cy="305263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115" name="Freeform 114"/>
            <p:cNvSpPr>
              <a:spLocks/>
            </p:cNvSpPr>
            <p:nvPr/>
          </p:nvSpPr>
          <p:spPr bwMode="auto">
            <a:xfrm>
              <a:off x="1053833" y="1981355"/>
              <a:ext cx="149716" cy="141972"/>
            </a:xfrm>
            <a:custGeom>
              <a:avLst/>
              <a:gdLst>
                <a:gd name="T0" fmla="*/ 95 w 98"/>
                <a:gd name="T1" fmla="*/ 0 h 93"/>
                <a:gd name="T2" fmla="*/ 98 w 98"/>
                <a:gd name="T3" fmla="*/ 4 h 93"/>
                <a:gd name="T4" fmla="*/ 64 w 98"/>
                <a:gd name="T5" fmla="*/ 39 h 93"/>
                <a:gd name="T6" fmla="*/ 36 w 98"/>
                <a:gd name="T7" fmla="*/ 83 h 93"/>
                <a:gd name="T8" fmla="*/ 31 w 98"/>
                <a:gd name="T9" fmla="*/ 86 h 93"/>
                <a:gd name="T10" fmla="*/ 22 w 98"/>
                <a:gd name="T11" fmla="*/ 93 h 93"/>
                <a:gd name="T12" fmla="*/ 18 w 98"/>
                <a:gd name="T13" fmla="*/ 82 h 93"/>
                <a:gd name="T14" fmla="*/ 16 w 98"/>
                <a:gd name="T15" fmla="*/ 77 h 93"/>
                <a:gd name="T16" fmla="*/ 8 w 98"/>
                <a:gd name="T17" fmla="*/ 63 h 93"/>
                <a:gd name="T18" fmla="*/ 0 w 98"/>
                <a:gd name="T19" fmla="*/ 57 h 93"/>
                <a:gd name="T20" fmla="*/ 14 w 98"/>
                <a:gd name="T21" fmla="*/ 49 h 93"/>
                <a:gd name="T22" fmla="*/ 26 w 98"/>
                <a:gd name="T23" fmla="*/ 63 h 93"/>
                <a:gd name="T24" fmla="*/ 28 w 98"/>
                <a:gd name="T25" fmla="*/ 68 h 93"/>
                <a:gd name="T26" fmla="*/ 59 w 98"/>
                <a:gd name="T27" fmla="*/ 29 h 93"/>
                <a:gd name="T28" fmla="*/ 95 w 98"/>
                <a:gd name="T2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93">
                  <a:moveTo>
                    <a:pt x="95" y="0"/>
                  </a:moveTo>
                  <a:cubicBezTo>
                    <a:pt x="98" y="4"/>
                    <a:pt x="98" y="4"/>
                    <a:pt x="98" y="4"/>
                  </a:cubicBezTo>
                  <a:cubicBezTo>
                    <a:pt x="88" y="11"/>
                    <a:pt x="76" y="23"/>
                    <a:pt x="64" y="39"/>
                  </a:cubicBezTo>
                  <a:cubicBezTo>
                    <a:pt x="52" y="54"/>
                    <a:pt x="42" y="69"/>
                    <a:pt x="36" y="83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26" y="89"/>
                    <a:pt x="24" y="91"/>
                    <a:pt x="22" y="93"/>
                  </a:cubicBezTo>
                  <a:cubicBezTo>
                    <a:pt x="21" y="91"/>
                    <a:pt x="20" y="87"/>
                    <a:pt x="18" y="82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3" y="71"/>
                    <a:pt x="11" y="66"/>
                    <a:pt x="8" y="63"/>
                  </a:cubicBezTo>
                  <a:cubicBezTo>
                    <a:pt x="6" y="60"/>
                    <a:pt x="3" y="58"/>
                    <a:pt x="0" y="57"/>
                  </a:cubicBezTo>
                  <a:cubicBezTo>
                    <a:pt x="5" y="51"/>
                    <a:pt x="10" y="49"/>
                    <a:pt x="14" y="49"/>
                  </a:cubicBezTo>
                  <a:cubicBezTo>
                    <a:pt x="18" y="49"/>
                    <a:pt x="22" y="54"/>
                    <a:pt x="26" y="63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6" y="55"/>
                    <a:pt x="46" y="42"/>
                    <a:pt x="59" y="29"/>
                  </a:cubicBezTo>
                  <a:cubicBezTo>
                    <a:pt x="71" y="17"/>
                    <a:pt x="83" y="7"/>
                    <a:pt x="9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endParaRPr lang="en-US">
                <a:solidFill>
                  <a:srgbClr val="676767"/>
                </a:solidFill>
              </a:endParaRPr>
            </a:p>
          </p:txBody>
        </p:sp>
      </p:grpSp>
      <p:grpSp>
        <p:nvGrpSpPr>
          <p:cNvPr id="116" name="Group 115"/>
          <p:cNvGrpSpPr/>
          <p:nvPr/>
        </p:nvGrpSpPr>
        <p:grpSpPr>
          <a:xfrm>
            <a:off x="5358480" y="1475196"/>
            <a:ext cx="305263" cy="305263"/>
            <a:chOff x="971601" y="1893303"/>
            <a:chExt cx="305263" cy="305263"/>
          </a:xfrm>
        </p:grpSpPr>
        <p:sp>
          <p:nvSpPr>
            <p:cNvPr id="117" name="Oval 116"/>
            <p:cNvSpPr/>
            <p:nvPr/>
          </p:nvSpPr>
          <p:spPr>
            <a:xfrm>
              <a:off x="971601" y="1893303"/>
              <a:ext cx="305263" cy="305263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sz="800" dirty="0">
                <a:solidFill>
                  <a:srgbClr val="FFFFFF"/>
                </a:solidFill>
              </a:endParaRPr>
            </a:p>
          </p:txBody>
        </p:sp>
        <p:sp>
          <p:nvSpPr>
            <p:cNvPr id="118" name="Freeform 117"/>
            <p:cNvSpPr>
              <a:spLocks/>
            </p:cNvSpPr>
            <p:nvPr/>
          </p:nvSpPr>
          <p:spPr bwMode="auto">
            <a:xfrm>
              <a:off x="1053833" y="1981355"/>
              <a:ext cx="149716" cy="141972"/>
            </a:xfrm>
            <a:custGeom>
              <a:avLst/>
              <a:gdLst>
                <a:gd name="T0" fmla="*/ 95 w 98"/>
                <a:gd name="T1" fmla="*/ 0 h 93"/>
                <a:gd name="T2" fmla="*/ 98 w 98"/>
                <a:gd name="T3" fmla="*/ 4 h 93"/>
                <a:gd name="T4" fmla="*/ 64 w 98"/>
                <a:gd name="T5" fmla="*/ 39 h 93"/>
                <a:gd name="T6" fmla="*/ 36 w 98"/>
                <a:gd name="T7" fmla="*/ 83 h 93"/>
                <a:gd name="T8" fmla="*/ 31 w 98"/>
                <a:gd name="T9" fmla="*/ 86 h 93"/>
                <a:gd name="T10" fmla="*/ 22 w 98"/>
                <a:gd name="T11" fmla="*/ 93 h 93"/>
                <a:gd name="T12" fmla="*/ 18 w 98"/>
                <a:gd name="T13" fmla="*/ 82 h 93"/>
                <a:gd name="T14" fmla="*/ 16 w 98"/>
                <a:gd name="T15" fmla="*/ 77 h 93"/>
                <a:gd name="T16" fmla="*/ 8 w 98"/>
                <a:gd name="T17" fmla="*/ 63 h 93"/>
                <a:gd name="T18" fmla="*/ 0 w 98"/>
                <a:gd name="T19" fmla="*/ 57 h 93"/>
                <a:gd name="T20" fmla="*/ 14 w 98"/>
                <a:gd name="T21" fmla="*/ 49 h 93"/>
                <a:gd name="T22" fmla="*/ 26 w 98"/>
                <a:gd name="T23" fmla="*/ 63 h 93"/>
                <a:gd name="T24" fmla="*/ 28 w 98"/>
                <a:gd name="T25" fmla="*/ 68 h 93"/>
                <a:gd name="T26" fmla="*/ 59 w 98"/>
                <a:gd name="T27" fmla="*/ 29 h 93"/>
                <a:gd name="T28" fmla="*/ 95 w 98"/>
                <a:gd name="T29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8" h="93">
                  <a:moveTo>
                    <a:pt x="95" y="0"/>
                  </a:moveTo>
                  <a:cubicBezTo>
                    <a:pt x="98" y="4"/>
                    <a:pt x="98" y="4"/>
                    <a:pt x="98" y="4"/>
                  </a:cubicBezTo>
                  <a:cubicBezTo>
                    <a:pt x="88" y="11"/>
                    <a:pt x="76" y="23"/>
                    <a:pt x="64" y="39"/>
                  </a:cubicBezTo>
                  <a:cubicBezTo>
                    <a:pt x="52" y="54"/>
                    <a:pt x="42" y="69"/>
                    <a:pt x="36" y="83"/>
                  </a:cubicBezTo>
                  <a:cubicBezTo>
                    <a:pt x="31" y="86"/>
                    <a:pt x="31" y="86"/>
                    <a:pt x="31" y="86"/>
                  </a:cubicBezTo>
                  <a:cubicBezTo>
                    <a:pt x="26" y="89"/>
                    <a:pt x="24" y="91"/>
                    <a:pt x="22" y="93"/>
                  </a:cubicBezTo>
                  <a:cubicBezTo>
                    <a:pt x="21" y="91"/>
                    <a:pt x="20" y="87"/>
                    <a:pt x="18" y="82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3" y="71"/>
                    <a:pt x="11" y="66"/>
                    <a:pt x="8" y="63"/>
                  </a:cubicBezTo>
                  <a:cubicBezTo>
                    <a:pt x="6" y="60"/>
                    <a:pt x="3" y="58"/>
                    <a:pt x="0" y="57"/>
                  </a:cubicBezTo>
                  <a:cubicBezTo>
                    <a:pt x="5" y="51"/>
                    <a:pt x="10" y="49"/>
                    <a:pt x="14" y="49"/>
                  </a:cubicBezTo>
                  <a:cubicBezTo>
                    <a:pt x="18" y="49"/>
                    <a:pt x="22" y="54"/>
                    <a:pt x="26" y="63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36" y="55"/>
                    <a:pt x="46" y="42"/>
                    <a:pt x="59" y="29"/>
                  </a:cubicBezTo>
                  <a:cubicBezTo>
                    <a:pt x="71" y="17"/>
                    <a:pt x="83" y="7"/>
                    <a:pt x="95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ts val="300"/>
                </a:spcAft>
              </a:pPr>
              <a:endParaRPr lang="en-US">
                <a:solidFill>
                  <a:srgbClr val="676767"/>
                </a:solidFill>
              </a:endParaRPr>
            </a:p>
          </p:txBody>
        </p:sp>
      </p:grpSp>
      <p:grpSp>
        <p:nvGrpSpPr>
          <p:cNvPr id="79" name="Group 78"/>
          <p:cNvGrpSpPr/>
          <p:nvPr/>
        </p:nvGrpSpPr>
        <p:grpSpPr>
          <a:xfrm>
            <a:off x="79160" y="2508680"/>
            <a:ext cx="290806" cy="261487"/>
            <a:chOff x="11022921" y="-2056847"/>
            <a:chExt cx="904242" cy="904242"/>
          </a:xfrm>
        </p:grpSpPr>
        <p:sp>
          <p:nvSpPr>
            <p:cNvPr id="80" name="Oval 79"/>
            <p:cNvSpPr/>
            <p:nvPr/>
          </p:nvSpPr>
          <p:spPr>
            <a:xfrm>
              <a:off x="11022921" y="-2056847"/>
              <a:ext cx="904242" cy="904242"/>
            </a:xfrm>
            <a:prstGeom prst="ellipse">
              <a:avLst/>
            </a:prstGeom>
            <a:solidFill>
              <a:schemeClr val="bg2"/>
            </a:solidFill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81" name="Group 80"/>
            <p:cNvGrpSpPr/>
            <p:nvPr/>
          </p:nvGrpSpPr>
          <p:grpSpPr>
            <a:xfrm>
              <a:off x="11228154" y="-1852412"/>
              <a:ext cx="493776" cy="495372"/>
              <a:chOff x="6003191" y="4235559"/>
              <a:chExt cx="493776" cy="495372"/>
            </a:xfrm>
            <a:solidFill>
              <a:schemeClr val="accent4"/>
            </a:solidFill>
          </p:grpSpPr>
          <p:sp>
            <p:nvSpPr>
              <p:cNvPr id="82" name="Freeform 14"/>
              <p:cNvSpPr>
                <a:spLocks noEditPoints="1"/>
              </p:cNvSpPr>
              <p:nvPr/>
            </p:nvSpPr>
            <p:spPr bwMode="auto">
              <a:xfrm>
                <a:off x="6141153" y="4374017"/>
                <a:ext cx="217853" cy="218456"/>
              </a:xfrm>
              <a:custGeom>
                <a:avLst/>
                <a:gdLst>
                  <a:gd name="T0" fmla="*/ 384 w 511"/>
                  <a:gd name="T1" fmla="*/ 0 h 511"/>
                  <a:gd name="T2" fmla="*/ 127 w 511"/>
                  <a:gd name="T3" fmla="*/ 0 h 511"/>
                  <a:gd name="T4" fmla="*/ 0 w 511"/>
                  <a:gd name="T5" fmla="*/ 127 h 511"/>
                  <a:gd name="T6" fmla="*/ 0 w 511"/>
                  <a:gd name="T7" fmla="*/ 384 h 511"/>
                  <a:gd name="T8" fmla="*/ 127 w 511"/>
                  <a:gd name="T9" fmla="*/ 511 h 511"/>
                  <a:gd name="T10" fmla="*/ 384 w 511"/>
                  <a:gd name="T11" fmla="*/ 511 h 511"/>
                  <a:gd name="T12" fmla="*/ 511 w 511"/>
                  <a:gd name="T13" fmla="*/ 384 h 511"/>
                  <a:gd name="T14" fmla="*/ 511 w 511"/>
                  <a:gd name="T15" fmla="*/ 127 h 511"/>
                  <a:gd name="T16" fmla="*/ 384 w 511"/>
                  <a:gd name="T17" fmla="*/ 0 h 511"/>
                  <a:gd name="T18" fmla="*/ 275 w 511"/>
                  <a:gd name="T19" fmla="*/ 85 h 511"/>
                  <a:gd name="T20" fmla="*/ 236 w 511"/>
                  <a:gd name="T21" fmla="*/ 85 h 511"/>
                  <a:gd name="T22" fmla="*/ 236 w 511"/>
                  <a:gd name="T23" fmla="*/ 45 h 511"/>
                  <a:gd name="T24" fmla="*/ 275 w 511"/>
                  <a:gd name="T25" fmla="*/ 45 h 511"/>
                  <a:gd name="T26" fmla="*/ 275 w 511"/>
                  <a:gd name="T27" fmla="*/ 8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1" h="511">
                    <a:moveTo>
                      <a:pt x="384" y="0"/>
                    </a:moveTo>
                    <a:cubicBezTo>
                      <a:pt x="127" y="0"/>
                      <a:pt x="127" y="0"/>
                      <a:pt x="127" y="0"/>
                    </a:cubicBezTo>
                    <a:cubicBezTo>
                      <a:pt x="57" y="0"/>
                      <a:pt x="0" y="57"/>
                      <a:pt x="0" y="127"/>
                    </a:cubicBezTo>
                    <a:cubicBezTo>
                      <a:pt x="0" y="384"/>
                      <a:pt x="0" y="384"/>
                      <a:pt x="0" y="384"/>
                    </a:cubicBezTo>
                    <a:cubicBezTo>
                      <a:pt x="0" y="454"/>
                      <a:pt x="57" y="511"/>
                      <a:pt x="127" y="511"/>
                    </a:cubicBezTo>
                    <a:cubicBezTo>
                      <a:pt x="384" y="511"/>
                      <a:pt x="384" y="511"/>
                      <a:pt x="384" y="511"/>
                    </a:cubicBezTo>
                    <a:cubicBezTo>
                      <a:pt x="454" y="511"/>
                      <a:pt x="511" y="454"/>
                      <a:pt x="511" y="384"/>
                    </a:cubicBezTo>
                    <a:cubicBezTo>
                      <a:pt x="511" y="127"/>
                      <a:pt x="511" y="127"/>
                      <a:pt x="511" y="127"/>
                    </a:cubicBezTo>
                    <a:cubicBezTo>
                      <a:pt x="511" y="57"/>
                      <a:pt x="454" y="0"/>
                      <a:pt x="384" y="0"/>
                    </a:cubicBezTo>
                    <a:close/>
                    <a:moveTo>
                      <a:pt x="275" y="85"/>
                    </a:moveTo>
                    <a:cubicBezTo>
                      <a:pt x="236" y="85"/>
                      <a:pt x="236" y="85"/>
                      <a:pt x="236" y="85"/>
                    </a:cubicBezTo>
                    <a:cubicBezTo>
                      <a:pt x="236" y="45"/>
                      <a:pt x="236" y="45"/>
                      <a:pt x="236" y="45"/>
                    </a:cubicBezTo>
                    <a:cubicBezTo>
                      <a:pt x="275" y="45"/>
                      <a:pt x="275" y="45"/>
                      <a:pt x="275" y="45"/>
                    </a:cubicBezTo>
                    <a:lnTo>
                      <a:pt x="275" y="85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96D6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83" name="Freeform 82"/>
              <p:cNvSpPr>
                <a:spLocks noEditPoints="1"/>
              </p:cNvSpPr>
              <p:nvPr/>
            </p:nvSpPr>
            <p:spPr bwMode="auto">
              <a:xfrm>
                <a:off x="6003191" y="4235559"/>
                <a:ext cx="493776" cy="495372"/>
              </a:xfrm>
              <a:custGeom>
                <a:avLst/>
                <a:gdLst>
                  <a:gd name="T0" fmla="*/ 885 w 1159"/>
                  <a:gd name="T1" fmla="*/ 0 h 1159"/>
                  <a:gd name="T2" fmla="*/ 274 w 1159"/>
                  <a:gd name="T3" fmla="*/ 0 h 1159"/>
                  <a:gd name="T4" fmla="*/ 0 w 1159"/>
                  <a:gd name="T5" fmla="*/ 274 h 1159"/>
                  <a:gd name="T6" fmla="*/ 0 w 1159"/>
                  <a:gd name="T7" fmla="*/ 885 h 1159"/>
                  <a:gd name="T8" fmla="*/ 274 w 1159"/>
                  <a:gd name="T9" fmla="*/ 1159 h 1159"/>
                  <a:gd name="T10" fmla="*/ 885 w 1159"/>
                  <a:gd name="T11" fmla="*/ 1159 h 1159"/>
                  <a:gd name="T12" fmla="*/ 1159 w 1159"/>
                  <a:gd name="T13" fmla="*/ 885 h 1159"/>
                  <a:gd name="T14" fmla="*/ 1159 w 1159"/>
                  <a:gd name="T15" fmla="*/ 274 h 1159"/>
                  <a:gd name="T16" fmla="*/ 885 w 1159"/>
                  <a:gd name="T17" fmla="*/ 0 h 1159"/>
                  <a:gd name="T18" fmla="*/ 867 w 1159"/>
                  <a:gd name="T19" fmla="*/ 708 h 1159"/>
                  <a:gd name="T20" fmla="*/ 708 w 1159"/>
                  <a:gd name="T21" fmla="*/ 867 h 1159"/>
                  <a:gd name="T22" fmla="*/ 451 w 1159"/>
                  <a:gd name="T23" fmla="*/ 867 h 1159"/>
                  <a:gd name="T24" fmla="*/ 292 w 1159"/>
                  <a:gd name="T25" fmla="*/ 708 h 1159"/>
                  <a:gd name="T26" fmla="*/ 292 w 1159"/>
                  <a:gd name="T27" fmla="*/ 451 h 1159"/>
                  <a:gd name="T28" fmla="*/ 451 w 1159"/>
                  <a:gd name="T29" fmla="*/ 292 h 1159"/>
                  <a:gd name="T30" fmla="*/ 708 w 1159"/>
                  <a:gd name="T31" fmla="*/ 292 h 1159"/>
                  <a:gd name="T32" fmla="*/ 867 w 1159"/>
                  <a:gd name="T33" fmla="*/ 451 h 1159"/>
                  <a:gd name="T34" fmla="*/ 867 w 1159"/>
                  <a:gd name="T35" fmla="*/ 708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59" h="1159">
                    <a:moveTo>
                      <a:pt x="885" y="0"/>
                    </a:moveTo>
                    <a:cubicBezTo>
                      <a:pt x="274" y="0"/>
                      <a:pt x="274" y="0"/>
                      <a:pt x="274" y="0"/>
                    </a:cubicBezTo>
                    <a:cubicBezTo>
                      <a:pt x="123" y="0"/>
                      <a:pt x="0" y="123"/>
                      <a:pt x="0" y="274"/>
                    </a:cubicBezTo>
                    <a:cubicBezTo>
                      <a:pt x="0" y="885"/>
                      <a:pt x="0" y="885"/>
                      <a:pt x="0" y="885"/>
                    </a:cubicBezTo>
                    <a:cubicBezTo>
                      <a:pt x="0" y="1036"/>
                      <a:pt x="123" y="1159"/>
                      <a:pt x="274" y="1159"/>
                    </a:cubicBezTo>
                    <a:cubicBezTo>
                      <a:pt x="885" y="1159"/>
                      <a:pt x="885" y="1159"/>
                      <a:pt x="885" y="1159"/>
                    </a:cubicBezTo>
                    <a:cubicBezTo>
                      <a:pt x="1036" y="1159"/>
                      <a:pt x="1159" y="1036"/>
                      <a:pt x="1159" y="885"/>
                    </a:cubicBezTo>
                    <a:cubicBezTo>
                      <a:pt x="1159" y="274"/>
                      <a:pt x="1159" y="274"/>
                      <a:pt x="1159" y="274"/>
                    </a:cubicBezTo>
                    <a:cubicBezTo>
                      <a:pt x="1159" y="123"/>
                      <a:pt x="1036" y="0"/>
                      <a:pt x="885" y="0"/>
                    </a:cubicBezTo>
                    <a:close/>
                    <a:moveTo>
                      <a:pt x="867" y="708"/>
                    </a:moveTo>
                    <a:cubicBezTo>
                      <a:pt x="867" y="796"/>
                      <a:pt x="796" y="867"/>
                      <a:pt x="708" y="867"/>
                    </a:cubicBezTo>
                    <a:cubicBezTo>
                      <a:pt x="451" y="867"/>
                      <a:pt x="451" y="867"/>
                      <a:pt x="451" y="867"/>
                    </a:cubicBezTo>
                    <a:cubicBezTo>
                      <a:pt x="363" y="867"/>
                      <a:pt x="292" y="796"/>
                      <a:pt x="292" y="708"/>
                    </a:cubicBezTo>
                    <a:cubicBezTo>
                      <a:pt x="292" y="451"/>
                      <a:pt x="292" y="451"/>
                      <a:pt x="292" y="451"/>
                    </a:cubicBezTo>
                    <a:cubicBezTo>
                      <a:pt x="292" y="363"/>
                      <a:pt x="363" y="292"/>
                      <a:pt x="451" y="292"/>
                    </a:cubicBezTo>
                    <a:cubicBezTo>
                      <a:pt x="708" y="292"/>
                      <a:pt x="708" y="292"/>
                      <a:pt x="708" y="292"/>
                    </a:cubicBezTo>
                    <a:cubicBezTo>
                      <a:pt x="796" y="292"/>
                      <a:pt x="867" y="363"/>
                      <a:pt x="867" y="451"/>
                    </a:cubicBezTo>
                    <a:lnTo>
                      <a:pt x="867" y="708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96D6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84" name="Group 83"/>
          <p:cNvGrpSpPr/>
          <p:nvPr/>
        </p:nvGrpSpPr>
        <p:grpSpPr>
          <a:xfrm>
            <a:off x="1404314" y="1927075"/>
            <a:ext cx="290806" cy="261487"/>
            <a:chOff x="11022921" y="-2056847"/>
            <a:chExt cx="904242" cy="904242"/>
          </a:xfrm>
        </p:grpSpPr>
        <p:sp>
          <p:nvSpPr>
            <p:cNvPr id="85" name="Oval 84"/>
            <p:cNvSpPr/>
            <p:nvPr/>
          </p:nvSpPr>
          <p:spPr>
            <a:xfrm>
              <a:off x="11022921" y="-2056847"/>
              <a:ext cx="904242" cy="904242"/>
            </a:xfrm>
            <a:prstGeom prst="ellipse">
              <a:avLst/>
            </a:prstGeom>
            <a:solidFill>
              <a:schemeClr val="bg2"/>
            </a:solidFill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86" name="Group 85"/>
            <p:cNvGrpSpPr/>
            <p:nvPr/>
          </p:nvGrpSpPr>
          <p:grpSpPr>
            <a:xfrm>
              <a:off x="11228154" y="-1852412"/>
              <a:ext cx="493776" cy="495372"/>
              <a:chOff x="6003191" y="4235559"/>
              <a:chExt cx="493776" cy="495372"/>
            </a:xfrm>
            <a:solidFill>
              <a:schemeClr val="accent4"/>
            </a:solidFill>
          </p:grpSpPr>
          <p:sp>
            <p:nvSpPr>
              <p:cNvPr id="87" name="Freeform 14"/>
              <p:cNvSpPr>
                <a:spLocks noEditPoints="1"/>
              </p:cNvSpPr>
              <p:nvPr/>
            </p:nvSpPr>
            <p:spPr bwMode="auto">
              <a:xfrm>
                <a:off x="6141153" y="4374017"/>
                <a:ext cx="217853" cy="218456"/>
              </a:xfrm>
              <a:custGeom>
                <a:avLst/>
                <a:gdLst>
                  <a:gd name="T0" fmla="*/ 384 w 511"/>
                  <a:gd name="T1" fmla="*/ 0 h 511"/>
                  <a:gd name="T2" fmla="*/ 127 w 511"/>
                  <a:gd name="T3" fmla="*/ 0 h 511"/>
                  <a:gd name="T4" fmla="*/ 0 w 511"/>
                  <a:gd name="T5" fmla="*/ 127 h 511"/>
                  <a:gd name="T6" fmla="*/ 0 w 511"/>
                  <a:gd name="T7" fmla="*/ 384 h 511"/>
                  <a:gd name="T8" fmla="*/ 127 w 511"/>
                  <a:gd name="T9" fmla="*/ 511 h 511"/>
                  <a:gd name="T10" fmla="*/ 384 w 511"/>
                  <a:gd name="T11" fmla="*/ 511 h 511"/>
                  <a:gd name="T12" fmla="*/ 511 w 511"/>
                  <a:gd name="T13" fmla="*/ 384 h 511"/>
                  <a:gd name="T14" fmla="*/ 511 w 511"/>
                  <a:gd name="T15" fmla="*/ 127 h 511"/>
                  <a:gd name="T16" fmla="*/ 384 w 511"/>
                  <a:gd name="T17" fmla="*/ 0 h 511"/>
                  <a:gd name="T18" fmla="*/ 275 w 511"/>
                  <a:gd name="T19" fmla="*/ 85 h 511"/>
                  <a:gd name="T20" fmla="*/ 236 w 511"/>
                  <a:gd name="T21" fmla="*/ 85 h 511"/>
                  <a:gd name="T22" fmla="*/ 236 w 511"/>
                  <a:gd name="T23" fmla="*/ 45 h 511"/>
                  <a:gd name="T24" fmla="*/ 275 w 511"/>
                  <a:gd name="T25" fmla="*/ 45 h 511"/>
                  <a:gd name="T26" fmla="*/ 275 w 511"/>
                  <a:gd name="T27" fmla="*/ 8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1" h="511">
                    <a:moveTo>
                      <a:pt x="384" y="0"/>
                    </a:moveTo>
                    <a:cubicBezTo>
                      <a:pt x="127" y="0"/>
                      <a:pt x="127" y="0"/>
                      <a:pt x="127" y="0"/>
                    </a:cubicBezTo>
                    <a:cubicBezTo>
                      <a:pt x="57" y="0"/>
                      <a:pt x="0" y="57"/>
                      <a:pt x="0" y="127"/>
                    </a:cubicBezTo>
                    <a:cubicBezTo>
                      <a:pt x="0" y="384"/>
                      <a:pt x="0" y="384"/>
                      <a:pt x="0" y="384"/>
                    </a:cubicBezTo>
                    <a:cubicBezTo>
                      <a:pt x="0" y="454"/>
                      <a:pt x="57" y="511"/>
                      <a:pt x="127" y="511"/>
                    </a:cubicBezTo>
                    <a:cubicBezTo>
                      <a:pt x="384" y="511"/>
                      <a:pt x="384" y="511"/>
                      <a:pt x="384" y="511"/>
                    </a:cubicBezTo>
                    <a:cubicBezTo>
                      <a:pt x="454" y="511"/>
                      <a:pt x="511" y="454"/>
                      <a:pt x="511" y="384"/>
                    </a:cubicBezTo>
                    <a:cubicBezTo>
                      <a:pt x="511" y="127"/>
                      <a:pt x="511" y="127"/>
                      <a:pt x="511" y="127"/>
                    </a:cubicBezTo>
                    <a:cubicBezTo>
                      <a:pt x="511" y="57"/>
                      <a:pt x="454" y="0"/>
                      <a:pt x="384" y="0"/>
                    </a:cubicBezTo>
                    <a:close/>
                    <a:moveTo>
                      <a:pt x="275" y="85"/>
                    </a:moveTo>
                    <a:cubicBezTo>
                      <a:pt x="236" y="85"/>
                      <a:pt x="236" y="85"/>
                      <a:pt x="236" y="85"/>
                    </a:cubicBezTo>
                    <a:cubicBezTo>
                      <a:pt x="236" y="45"/>
                      <a:pt x="236" y="45"/>
                      <a:pt x="236" y="45"/>
                    </a:cubicBezTo>
                    <a:cubicBezTo>
                      <a:pt x="275" y="45"/>
                      <a:pt x="275" y="45"/>
                      <a:pt x="275" y="45"/>
                    </a:cubicBezTo>
                    <a:lnTo>
                      <a:pt x="275" y="85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96D6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88" name="Freeform 87"/>
              <p:cNvSpPr>
                <a:spLocks noEditPoints="1"/>
              </p:cNvSpPr>
              <p:nvPr/>
            </p:nvSpPr>
            <p:spPr bwMode="auto">
              <a:xfrm>
                <a:off x="6003191" y="4235559"/>
                <a:ext cx="493776" cy="495372"/>
              </a:xfrm>
              <a:custGeom>
                <a:avLst/>
                <a:gdLst>
                  <a:gd name="T0" fmla="*/ 885 w 1159"/>
                  <a:gd name="T1" fmla="*/ 0 h 1159"/>
                  <a:gd name="T2" fmla="*/ 274 w 1159"/>
                  <a:gd name="T3" fmla="*/ 0 h 1159"/>
                  <a:gd name="T4" fmla="*/ 0 w 1159"/>
                  <a:gd name="T5" fmla="*/ 274 h 1159"/>
                  <a:gd name="T6" fmla="*/ 0 w 1159"/>
                  <a:gd name="T7" fmla="*/ 885 h 1159"/>
                  <a:gd name="T8" fmla="*/ 274 w 1159"/>
                  <a:gd name="T9" fmla="*/ 1159 h 1159"/>
                  <a:gd name="T10" fmla="*/ 885 w 1159"/>
                  <a:gd name="T11" fmla="*/ 1159 h 1159"/>
                  <a:gd name="T12" fmla="*/ 1159 w 1159"/>
                  <a:gd name="T13" fmla="*/ 885 h 1159"/>
                  <a:gd name="T14" fmla="*/ 1159 w 1159"/>
                  <a:gd name="T15" fmla="*/ 274 h 1159"/>
                  <a:gd name="T16" fmla="*/ 885 w 1159"/>
                  <a:gd name="T17" fmla="*/ 0 h 1159"/>
                  <a:gd name="T18" fmla="*/ 867 w 1159"/>
                  <a:gd name="T19" fmla="*/ 708 h 1159"/>
                  <a:gd name="T20" fmla="*/ 708 w 1159"/>
                  <a:gd name="T21" fmla="*/ 867 h 1159"/>
                  <a:gd name="T22" fmla="*/ 451 w 1159"/>
                  <a:gd name="T23" fmla="*/ 867 h 1159"/>
                  <a:gd name="T24" fmla="*/ 292 w 1159"/>
                  <a:gd name="T25" fmla="*/ 708 h 1159"/>
                  <a:gd name="T26" fmla="*/ 292 w 1159"/>
                  <a:gd name="T27" fmla="*/ 451 h 1159"/>
                  <a:gd name="T28" fmla="*/ 451 w 1159"/>
                  <a:gd name="T29" fmla="*/ 292 h 1159"/>
                  <a:gd name="T30" fmla="*/ 708 w 1159"/>
                  <a:gd name="T31" fmla="*/ 292 h 1159"/>
                  <a:gd name="T32" fmla="*/ 867 w 1159"/>
                  <a:gd name="T33" fmla="*/ 451 h 1159"/>
                  <a:gd name="T34" fmla="*/ 867 w 1159"/>
                  <a:gd name="T35" fmla="*/ 708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59" h="1159">
                    <a:moveTo>
                      <a:pt x="885" y="0"/>
                    </a:moveTo>
                    <a:cubicBezTo>
                      <a:pt x="274" y="0"/>
                      <a:pt x="274" y="0"/>
                      <a:pt x="274" y="0"/>
                    </a:cubicBezTo>
                    <a:cubicBezTo>
                      <a:pt x="123" y="0"/>
                      <a:pt x="0" y="123"/>
                      <a:pt x="0" y="274"/>
                    </a:cubicBezTo>
                    <a:cubicBezTo>
                      <a:pt x="0" y="885"/>
                      <a:pt x="0" y="885"/>
                      <a:pt x="0" y="885"/>
                    </a:cubicBezTo>
                    <a:cubicBezTo>
                      <a:pt x="0" y="1036"/>
                      <a:pt x="123" y="1159"/>
                      <a:pt x="274" y="1159"/>
                    </a:cubicBezTo>
                    <a:cubicBezTo>
                      <a:pt x="885" y="1159"/>
                      <a:pt x="885" y="1159"/>
                      <a:pt x="885" y="1159"/>
                    </a:cubicBezTo>
                    <a:cubicBezTo>
                      <a:pt x="1036" y="1159"/>
                      <a:pt x="1159" y="1036"/>
                      <a:pt x="1159" y="885"/>
                    </a:cubicBezTo>
                    <a:cubicBezTo>
                      <a:pt x="1159" y="274"/>
                      <a:pt x="1159" y="274"/>
                      <a:pt x="1159" y="274"/>
                    </a:cubicBezTo>
                    <a:cubicBezTo>
                      <a:pt x="1159" y="123"/>
                      <a:pt x="1036" y="0"/>
                      <a:pt x="885" y="0"/>
                    </a:cubicBezTo>
                    <a:close/>
                    <a:moveTo>
                      <a:pt x="867" y="708"/>
                    </a:moveTo>
                    <a:cubicBezTo>
                      <a:pt x="867" y="796"/>
                      <a:pt x="796" y="867"/>
                      <a:pt x="708" y="867"/>
                    </a:cubicBezTo>
                    <a:cubicBezTo>
                      <a:pt x="451" y="867"/>
                      <a:pt x="451" y="867"/>
                      <a:pt x="451" y="867"/>
                    </a:cubicBezTo>
                    <a:cubicBezTo>
                      <a:pt x="363" y="867"/>
                      <a:pt x="292" y="796"/>
                      <a:pt x="292" y="708"/>
                    </a:cubicBezTo>
                    <a:cubicBezTo>
                      <a:pt x="292" y="451"/>
                      <a:pt x="292" y="451"/>
                      <a:pt x="292" y="451"/>
                    </a:cubicBezTo>
                    <a:cubicBezTo>
                      <a:pt x="292" y="363"/>
                      <a:pt x="363" y="292"/>
                      <a:pt x="451" y="292"/>
                    </a:cubicBezTo>
                    <a:cubicBezTo>
                      <a:pt x="708" y="292"/>
                      <a:pt x="708" y="292"/>
                      <a:pt x="708" y="292"/>
                    </a:cubicBezTo>
                    <a:cubicBezTo>
                      <a:pt x="796" y="292"/>
                      <a:pt x="867" y="363"/>
                      <a:pt x="867" y="451"/>
                    </a:cubicBezTo>
                    <a:lnTo>
                      <a:pt x="867" y="708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96D6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89" name="Group 88"/>
          <p:cNvGrpSpPr/>
          <p:nvPr/>
        </p:nvGrpSpPr>
        <p:grpSpPr>
          <a:xfrm>
            <a:off x="3231304" y="1033235"/>
            <a:ext cx="290806" cy="261487"/>
            <a:chOff x="11022921" y="-2056847"/>
            <a:chExt cx="904242" cy="904242"/>
          </a:xfrm>
        </p:grpSpPr>
        <p:sp>
          <p:nvSpPr>
            <p:cNvPr id="90" name="Oval 89"/>
            <p:cNvSpPr/>
            <p:nvPr/>
          </p:nvSpPr>
          <p:spPr>
            <a:xfrm>
              <a:off x="11022921" y="-2056847"/>
              <a:ext cx="904242" cy="904242"/>
            </a:xfrm>
            <a:prstGeom prst="ellipse">
              <a:avLst/>
            </a:prstGeom>
            <a:solidFill>
              <a:schemeClr val="bg2"/>
            </a:solidFill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91" name="Group 90"/>
            <p:cNvGrpSpPr/>
            <p:nvPr/>
          </p:nvGrpSpPr>
          <p:grpSpPr>
            <a:xfrm>
              <a:off x="11228154" y="-1852412"/>
              <a:ext cx="493776" cy="495372"/>
              <a:chOff x="6003191" y="4235559"/>
              <a:chExt cx="493776" cy="495372"/>
            </a:xfrm>
            <a:solidFill>
              <a:schemeClr val="accent4"/>
            </a:solidFill>
          </p:grpSpPr>
          <p:sp>
            <p:nvSpPr>
              <p:cNvPr id="119" name="Freeform 14"/>
              <p:cNvSpPr>
                <a:spLocks noEditPoints="1"/>
              </p:cNvSpPr>
              <p:nvPr/>
            </p:nvSpPr>
            <p:spPr bwMode="auto">
              <a:xfrm>
                <a:off x="6141153" y="4374017"/>
                <a:ext cx="217853" cy="218456"/>
              </a:xfrm>
              <a:custGeom>
                <a:avLst/>
                <a:gdLst>
                  <a:gd name="T0" fmla="*/ 384 w 511"/>
                  <a:gd name="T1" fmla="*/ 0 h 511"/>
                  <a:gd name="T2" fmla="*/ 127 w 511"/>
                  <a:gd name="T3" fmla="*/ 0 h 511"/>
                  <a:gd name="T4" fmla="*/ 0 w 511"/>
                  <a:gd name="T5" fmla="*/ 127 h 511"/>
                  <a:gd name="T6" fmla="*/ 0 w 511"/>
                  <a:gd name="T7" fmla="*/ 384 h 511"/>
                  <a:gd name="T8" fmla="*/ 127 w 511"/>
                  <a:gd name="T9" fmla="*/ 511 h 511"/>
                  <a:gd name="T10" fmla="*/ 384 w 511"/>
                  <a:gd name="T11" fmla="*/ 511 h 511"/>
                  <a:gd name="T12" fmla="*/ 511 w 511"/>
                  <a:gd name="T13" fmla="*/ 384 h 511"/>
                  <a:gd name="T14" fmla="*/ 511 w 511"/>
                  <a:gd name="T15" fmla="*/ 127 h 511"/>
                  <a:gd name="T16" fmla="*/ 384 w 511"/>
                  <a:gd name="T17" fmla="*/ 0 h 511"/>
                  <a:gd name="T18" fmla="*/ 275 w 511"/>
                  <a:gd name="T19" fmla="*/ 85 h 511"/>
                  <a:gd name="T20" fmla="*/ 236 w 511"/>
                  <a:gd name="T21" fmla="*/ 85 h 511"/>
                  <a:gd name="T22" fmla="*/ 236 w 511"/>
                  <a:gd name="T23" fmla="*/ 45 h 511"/>
                  <a:gd name="T24" fmla="*/ 275 w 511"/>
                  <a:gd name="T25" fmla="*/ 45 h 511"/>
                  <a:gd name="T26" fmla="*/ 275 w 511"/>
                  <a:gd name="T27" fmla="*/ 8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1" h="511">
                    <a:moveTo>
                      <a:pt x="384" y="0"/>
                    </a:moveTo>
                    <a:cubicBezTo>
                      <a:pt x="127" y="0"/>
                      <a:pt x="127" y="0"/>
                      <a:pt x="127" y="0"/>
                    </a:cubicBezTo>
                    <a:cubicBezTo>
                      <a:pt x="57" y="0"/>
                      <a:pt x="0" y="57"/>
                      <a:pt x="0" y="127"/>
                    </a:cubicBezTo>
                    <a:cubicBezTo>
                      <a:pt x="0" y="384"/>
                      <a:pt x="0" y="384"/>
                      <a:pt x="0" y="384"/>
                    </a:cubicBezTo>
                    <a:cubicBezTo>
                      <a:pt x="0" y="454"/>
                      <a:pt x="57" y="511"/>
                      <a:pt x="127" y="511"/>
                    </a:cubicBezTo>
                    <a:cubicBezTo>
                      <a:pt x="384" y="511"/>
                      <a:pt x="384" y="511"/>
                      <a:pt x="384" y="511"/>
                    </a:cubicBezTo>
                    <a:cubicBezTo>
                      <a:pt x="454" y="511"/>
                      <a:pt x="511" y="454"/>
                      <a:pt x="511" y="384"/>
                    </a:cubicBezTo>
                    <a:cubicBezTo>
                      <a:pt x="511" y="127"/>
                      <a:pt x="511" y="127"/>
                      <a:pt x="511" y="127"/>
                    </a:cubicBezTo>
                    <a:cubicBezTo>
                      <a:pt x="511" y="57"/>
                      <a:pt x="454" y="0"/>
                      <a:pt x="384" y="0"/>
                    </a:cubicBezTo>
                    <a:close/>
                    <a:moveTo>
                      <a:pt x="275" y="85"/>
                    </a:moveTo>
                    <a:cubicBezTo>
                      <a:pt x="236" y="85"/>
                      <a:pt x="236" y="85"/>
                      <a:pt x="236" y="85"/>
                    </a:cubicBezTo>
                    <a:cubicBezTo>
                      <a:pt x="236" y="45"/>
                      <a:pt x="236" y="45"/>
                      <a:pt x="236" y="45"/>
                    </a:cubicBezTo>
                    <a:cubicBezTo>
                      <a:pt x="275" y="45"/>
                      <a:pt x="275" y="45"/>
                      <a:pt x="275" y="45"/>
                    </a:cubicBezTo>
                    <a:lnTo>
                      <a:pt x="275" y="85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96D6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120" name="Freeform 119"/>
              <p:cNvSpPr>
                <a:spLocks noEditPoints="1"/>
              </p:cNvSpPr>
              <p:nvPr/>
            </p:nvSpPr>
            <p:spPr bwMode="auto">
              <a:xfrm>
                <a:off x="6003191" y="4235559"/>
                <a:ext cx="493776" cy="495372"/>
              </a:xfrm>
              <a:custGeom>
                <a:avLst/>
                <a:gdLst>
                  <a:gd name="T0" fmla="*/ 885 w 1159"/>
                  <a:gd name="T1" fmla="*/ 0 h 1159"/>
                  <a:gd name="T2" fmla="*/ 274 w 1159"/>
                  <a:gd name="T3" fmla="*/ 0 h 1159"/>
                  <a:gd name="T4" fmla="*/ 0 w 1159"/>
                  <a:gd name="T5" fmla="*/ 274 h 1159"/>
                  <a:gd name="T6" fmla="*/ 0 w 1159"/>
                  <a:gd name="T7" fmla="*/ 885 h 1159"/>
                  <a:gd name="T8" fmla="*/ 274 w 1159"/>
                  <a:gd name="T9" fmla="*/ 1159 h 1159"/>
                  <a:gd name="T10" fmla="*/ 885 w 1159"/>
                  <a:gd name="T11" fmla="*/ 1159 h 1159"/>
                  <a:gd name="T12" fmla="*/ 1159 w 1159"/>
                  <a:gd name="T13" fmla="*/ 885 h 1159"/>
                  <a:gd name="T14" fmla="*/ 1159 w 1159"/>
                  <a:gd name="T15" fmla="*/ 274 h 1159"/>
                  <a:gd name="T16" fmla="*/ 885 w 1159"/>
                  <a:gd name="T17" fmla="*/ 0 h 1159"/>
                  <a:gd name="T18" fmla="*/ 867 w 1159"/>
                  <a:gd name="T19" fmla="*/ 708 h 1159"/>
                  <a:gd name="T20" fmla="*/ 708 w 1159"/>
                  <a:gd name="T21" fmla="*/ 867 h 1159"/>
                  <a:gd name="T22" fmla="*/ 451 w 1159"/>
                  <a:gd name="T23" fmla="*/ 867 h 1159"/>
                  <a:gd name="T24" fmla="*/ 292 w 1159"/>
                  <a:gd name="T25" fmla="*/ 708 h 1159"/>
                  <a:gd name="T26" fmla="*/ 292 w 1159"/>
                  <a:gd name="T27" fmla="*/ 451 h 1159"/>
                  <a:gd name="T28" fmla="*/ 451 w 1159"/>
                  <a:gd name="T29" fmla="*/ 292 h 1159"/>
                  <a:gd name="T30" fmla="*/ 708 w 1159"/>
                  <a:gd name="T31" fmla="*/ 292 h 1159"/>
                  <a:gd name="T32" fmla="*/ 867 w 1159"/>
                  <a:gd name="T33" fmla="*/ 451 h 1159"/>
                  <a:gd name="T34" fmla="*/ 867 w 1159"/>
                  <a:gd name="T35" fmla="*/ 708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59" h="1159">
                    <a:moveTo>
                      <a:pt x="885" y="0"/>
                    </a:moveTo>
                    <a:cubicBezTo>
                      <a:pt x="274" y="0"/>
                      <a:pt x="274" y="0"/>
                      <a:pt x="274" y="0"/>
                    </a:cubicBezTo>
                    <a:cubicBezTo>
                      <a:pt x="123" y="0"/>
                      <a:pt x="0" y="123"/>
                      <a:pt x="0" y="274"/>
                    </a:cubicBezTo>
                    <a:cubicBezTo>
                      <a:pt x="0" y="885"/>
                      <a:pt x="0" y="885"/>
                      <a:pt x="0" y="885"/>
                    </a:cubicBezTo>
                    <a:cubicBezTo>
                      <a:pt x="0" y="1036"/>
                      <a:pt x="123" y="1159"/>
                      <a:pt x="274" y="1159"/>
                    </a:cubicBezTo>
                    <a:cubicBezTo>
                      <a:pt x="885" y="1159"/>
                      <a:pt x="885" y="1159"/>
                      <a:pt x="885" y="1159"/>
                    </a:cubicBezTo>
                    <a:cubicBezTo>
                      <a:pt x="1036" y="1159"/>
                      <a:pt x="1159" y="1036"/>
                      <a:pt x="1159" y="885"/>
                    </a:cubicBezTo>
                    <a:cubicBezTo>
                      <a:pt x="1159" y="274"/>
                      <a:pt x="1159" y="274"/>
                      <a:pt x="1159" y="274"/>
                    </a:cubicBezTo>
                    <a:cubicBezTo>
                      <a:pt x="1159" y="123"/>
                      <a:pt x="1036" y="0"/>
                      <a:pt x="885" y="0"/>
                    </a:cubicBezTo>
                    <a:close/>
                    <a:moveTo>
                      <a:pt x="867" y="708"/>
                    </a:moveTo>
                    <a:cubicBezTo>
                      <a:pt x="867" y="796"/>
                      <a:pt x="796" y="867"/>
                      <a:pt x="708" y="867"/>
                    </a:cubicBezTo>
                    <a:cubicBezTo>
                      <a:pt x="451" y="867"/>
                      <a:pt x="451" y="867"/>
                      <a:pt x="451" y="867"/>
                    </a:cubicBezTo>
                    <a:cubicBezTo>
                      <a:pt x="363" y="867"/>
                      <a:pt x="292" y="796"/>
                      <a:pt x="292" y="708"/>
                    </a:cubicBezTo>
                    <a:cubicBezTo>
                      <a:pt x="292" y="451"/>
                      <a:pt x="292" y="451"/>
                      <a:pt x="292" y="451"/>
                    </a:cubicBezTo>
                    <a:cubicBezTo>
                      <a:pt x="292" y="363"/>
                      <a:pt x="363" y="292"/>
                      <a:pt x="451" y="292"/>
                    </a:cubicBezTo>
                    <a:cubicBezTo>
                      <a:pt x="708" y="292"/>
                      <a:pt x="708" y="292"/>
                      <a:pt x="708" y="292"/>
                    </a:cubicBezTo>
                    <a:cubicBezTo>
                      <a:pt x="796" y="292"/>
                      <a:pt x="867" y="363"/>
                      <a:pt x="867" y="451"/>
                    </a:cubicBezTo>
                    <a:lnTo>
                      <a:pt x="867" y="708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96D6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121" name="Group 120"/>
          <p:cNvGrpSpPr/>
          <p:nvPr/>
        </p:nvGrpSpPr>
        <p:grpSpPr>
          <a:xfrm>
            <a:off x="3024036" y="2058028"/>
            <a:ext cx="290806" cy="261487"/>
            <a:chOff x="11022921" y="-2056847"/>
            <a:chExt cx="904242" cy="904242"/>
          </a:xfrm>
        </p:grpSpPr>
        <p:sp>
          <p:nvSpPr>
            <p:cNvPr id="122" name="Oval 121"/>
            <p:cNvSpPr/>
            <p:nvPr/>
          </p:nvSpPr>
          <p:spPr>
            <a:xfrm>
              <a:off x="11022921" y="-2056847"/>
              <a:ext cx="904242" cy="904242"/>
            </a:xfrm>
            <a:prstGeom prst="ellipse">
              <a:avLst/>
            </a:prstGeom>
            <a:solidFill>
              <a:schemeClr val="bg2"/>
            </a:solidFill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123" name="Group 122"/>
            <p:cNvGrpSpPr/>
            <p:nvPr/>
          </p:nvGrpSpPr>
          <p:grpSpPr>
            <a:xfrm>
              <a:off x="11228154" y="-1852412"/>
              <a:ext cx="493776" cy="495372"/>
              <a:chOff x="6003191" y="4235559"/>
              <a:chExt cx="493776" cy="495372"/>
            </a:xfrm>
            <a:solidFill>
              <a:schemeClr val="accent4"/>
            </a:solidFill>
          </p:grpSpPr>
          <p:sp>
            <p:nvSpPr>
              <p:cNvPr id="124" name="Freeform 14"/>
              <p:cNvSpPr>
                <a:spLocks noEditPoints="1"/>
              </p:cNvSpPr>
              <p:nvPr/>
            </p:nvSpPr>
            <p:spPr bwMode="auto">
              <a:xfrm>
                <a:off x="6141153" y="4374017"/>
                <a:ext cx="217853" cy="218456"/>
              </a:xfrm>
              <a:custGeom>
                <a:avLst/>
                <a:gdLst>
                  <a:gd name="T0" fmla="*/ 384 w 511"/>
                  <a:gd name="T1" fmla="*/ 0 h 511"/>
                  <a:gd name="T2" fmla="*/ 127 w 511"/>
                  <a:gd name="T3" fmla="*/ 0 h 511"/>
                  <a:gd name="T4" fmla="*/ 0 w 511"/>
                  <a:gd name="T5" fmla="*/ 127 h 511"/>
                  <a:gd name="T6" fmla="*/ 0 w 511"/>
                  <a:gd name="T7" fmla="*/ 384 h 511"/>
                  <a:gd name="T8" fmla="*/ 127 w 511"/>
                  <a:gd name="T9" fmla="*/ 511 h 511"/>
                  <a:gd name="T10" fmla="*/ 384 w 511"/>
                  <a:gd name="T11" fmla="*/ 511 h 511"/>
                  <a:gd name="T12" fmla="*/ 511 w 511"/>
                  <a:gd name="T13" fmla="*/ 384 h 511"/>
                  <a:gd name="T14" fmla="*/ 511 w 511"/>
                  <a:gd name="T15" fmla="*/ 127 h 511"/>
                  <a:gd name="T16" fmla="*/ 384 w 511"/>
                  <a:gd name="T17" fmla="*/ 0 h 511"/>
                  <a:gd name="T18" fmla="*/ 275 w 511"/>
                  <a:gd name="T19" fmla="*/ 85 h 511"/>
                  <a:gd name="T20" fmla="*/ 236 w 511"/>
                  <a:gd name="T21" fmla="*/ 85 h 511"/>
                  <a:gd name="T22" fmla="*/ 236 w 511"/>
                  <a:gd name="T23" fmla="*/ 45 h 511"/>
                  <a:gd name="T24" fmla="*/ 275 w 511"/>
                  <a:gd name="T25" fmla="*/ 45 h 511"/>
                  <a:gd name="T26" fmla="*/ 275 w 511"/>
                  <a:gd name="T27" fmla="*/ 8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1" h="511">
                    <a:moveTo>
                      <a:pt x="384" y="0"/>
                    </a:moveTo>
                    <a:cubicBezTo>
                      <a:pt x="127" y="0"/>
                      <a:pt x="127" y="0"/>
                      <a:pt x="127" y="0"/>
                    </a:cubicBezTo>
                    <a:cubicBezTo>
                      <a:pt x="57" y="0"/>
                      <a:pt x="0" y="57"/>
                      <a:pt x="0" y="127"/>
                    </a:cubicBezTo>
                    <a:cubicBezTo>
                      <a:pt x="0" y="384"/>
                      <a:pt x="0" y="384"/>
                      <a:pt x="0" y="384"/>
                    </a:cubicBezTo>
                    <a:cubicBezTo>
                      <a:pt x="0" y="454"/>
                      <a:pt x="57" y="511"/>
                      <a:pt x="127" y="511"/>
                    </a:cubicBezTo>
                    <a:cubicBezTo>
                      <a:pt x="384" y="511"/>
                      <a:pt x="384" y="511"/>
                      <a:pt x="384" y="511"/>
                    </a:cubicBezTo>
                    <a:cubicBezTo>
                      <a:pt x="454" y="511"/>
                      <a:pt x="511" y="454"/>
                      <a:pt x="511" y="384"/>
                    </a:cubicBezTo>
                    <a:cubicBezTo>
                      <a:pt x="511" y="127"/>
                      <a:pt x="511" y="127"/>
                      <a:pt x="511" y="127"/>
                    </a:cubicBezTo>
                    <a:cubicBezTo>
                      <a:pt x="511" y="57"/>
                      <a:pt x="454" y="0"/>
                      <a:pt x="384" y="0"/>
                    </a:cubicBezTo>
                    <a:close/>
                    <a:moveTo>
                      <a:pt x="275" y="85"/>
                    </a:moveTo>
                    <a:cubicBezTo>
                      <a:pt x="236" y="85"/>
                      <a:pt x="236" y="85"/>
                      <a:pt x="236" y="85"/>
                    </a:cubicBezTo>
                    <a:cubicBezTo>
                      <a:pt x="236" y="45"/>
                      <a:pt x="236" y="45"/>
                      <a:pt x="236" y="45"/>
                    </a:cubicBezTo>
                    <a:cubicBezTo>
                      <a:pt x="275" y="45"/>
                      <a:pt x="275" y="45"/>
                      <a:pt x="275" y="45"/>
                    </a:cubicBezTo>
                    <a:lnTo>
                      <a:pt x="275" y="85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96D6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125" name="Freeform 124"/>
              <p:cNvSpPr>
                <a:spLocks noEditPoints="1"/>
              </p:cNvSpPr>
              <p:nvPr/>
            </p:nvSpPr>
            <p:spPr bwMode="auto">
              <a:xfrm>
                <a:off x="6003191" y="4235559"/>
                <a:ext cx="493776" cy="495372"/>
              </a:xfrm>
              <a:custGeom>
                <a:avLst/>
                <a:gdLst>
                  <a:gd name="T0" fmla="*/ 885 w 1159"/>
                  <a:gd name="T1" fmla="*/ 0 h 1159"/>
                  <a:gd name="T2" fmla="*/ 274 w 1159"/>
                  <a:gd name="T3" fmla="*/ 0 h 1159"/>
                  <a:gd name="T4" fmla="*/ 0 w 1159"/>
                  <a:gd name="T5" fmla="*/ 274 h 1159"/>
                  <a:gd name="T6" fmla="*/ 0 w 1159"/>
                  <a:gd name="T7" fmla="*/ 885 h 1159"/>
                  <a:gd name="T8" fmla="*/ 274 w 1159"/>
                  <a:gd name="T9" fmla="*/ 1159 h 1159"/>
                  <a:gd name="T10" fmla="*/ 885 w 1159"/>
                  <a:gd name="T11" fmla="*/ 1159 h 1159"/>
                  <a:gd name="T12" fmla="*/ 1159 w 1159"/>
                  <a:gd name="T13" fmla="*/ 885 h 1159"/>
                  <a:gd name="T14" fmla="*/ 1159 w 1159"/>
                  <a:gd name="T15" fmla="*/ 274 h 1159"/>
                  <a:gd name="T16" fmla="*/ 885 w 1159"/>
                  <a:gd name="T17" fmla="*/ 0 h 1159"/>
                  <a:gd name="T18" fmla="*/ 867 w 1159"/>
                  <a:gd name="T19" fmla="*/ 708 h 1159"/>
                  <a:gd name="T20" fmla="*/ 708 w 1159"/>
                  <a:gd name="T21" fmla="*/ 867 h 1159"/>
                  <a:gd name="T22" fmla="*/ 451 w 1159"/>
                  <a:gd name="T23" fmla="*/ 867 h 1159"/>
                  <a:gd name="T24" fmla="*/ 292 w 1159"/>
                  <a:gd name="T25" fmla="*/ 708 h 1159"/>
                  <a:gd name="T26" fmla="*/ 292 w 1159"/>
                  <a:gd name="T27" fmla="*/ 451 h 1159"/>
                  <a:gd name="T28" fmla="*/ 451 w 1159"/>
                  <a:gd name="T29" fmla="*/ 292 h 1159"/>
                  <a:gd name="T30" fmla="*/ 708 w 1159"/>
                  <a:gd name="T31" fmla="*/ 292 h 1159"/>
                  <a:gd name="T32" fmla="*/ 867 w 1159"/>
                  <a:gd name="T33" fmla="*/ 451 h 1159"/>
                  <a:gd name="T34" fmla="*/ 867 w 1159"/>
                  <a:gd name="T35" fmla="*/ 708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59" h="1159">
                    <a:moveTo>
                      <a:pt x="885" y="0"/>
                    </a:moveTo>
                    <a:cubicBezTo>
                      <a:pt x="274" y="0"/>
                      <a:pt x="274" y="0"/>
                      <a:pt x="274" y="0"/>
                    </a:cubicBezTo>
                    <a:cubicBezTo>
                      <a:pt x="123" y="0"/>
                      <a:pt x="0" y="123"/>
                      <a:pt x="0" y="274"/>
                    </a:cubicBezTo>
                    <a:cubicBezTo>
                      <a:pt x="0" y="885"/>
                      <a:pt x="0" y="885"/>
                      <a:pt x="0" y="885"/>
                    </a:cubicBezTo>
                    <a:cubicBezTo>
                      <a:pt x="0" y="1036"/>
                      <a:pt x="123" y="1159"/>
                      <a:pt x="274" y="1159"/>
                    </a:cubicBezTo>
                    <a:cubicBezTo>
                      <a:pt x="885" y="1159"/>
                      <a:pt x="885" y="1159"/>
                      <a:pt x="885" y="1159"/>
                    </a:cubicBezTo>
                    <a:cubicBezTo>
                      <a:pt x="1036" y="1159"/>
                      <a:pt x="1159" y="1036"/>
                      <a:pt x="1159" y="885"/>
                    </a:cubicBezTo>
                    <a:cubicBezTo>
                      <a:pt x="1159" y="274"/>
                      <a:pt x="1159" y="274"/>
                      <a:pt x="1159" y="274"/>
                    </a:cubicBezTo>
                    <a:cubicBezTo>
                      <a:pt x="1159" y="123"/>
                      <a:pt x="1036" y="0"/>
                      <a:pt x="885" y="0"/>
                    </a:cubicBezTo>
                    <a:close/>
                    <a:moveTo>
                      <a:pt x="867" y="708"/>
                    </a:moveTo>
                    <a:cubicBezTo>
                      <a:pt x="867" y="796"/>
                      <a:pt x="796" y="867"/>
                      <a:pt x="708" y="867"/>
                    </a:cubicBezTo>
                    <a:cubicBezTo>
                      <a:pt x="451" y="867"/>
                      <a:pt x="451" y="867"/>
                      <a:pt x="451" y="867"/>
                    </a:cubicBezTo>
                    <a:cubicBezTo>
                      <a:pt x="363" y="867"/>
                      <a:pt x="292" y="796"/>
                      <a:pt x="292" y="708"/>
                    </a:cubicBezTo>
                    <a:cubicBezTo>
                      <a:pt x="292" y="451"/>
                      <a:pt x="292" y="451"/>
                      <a:pt x="292" y="451"/>
                    </a:cubicBezTo>
                    <a:cubicBezTo>
                      <a:pt x="292" y="363"/>
                      <a:pt x="363" y="292"/>
                      <a:pt x="451" y="292"/>
                    </a:cubicBezTo>
                    <a:cubicBezTo>
                      <a:pt x="708" y="292"/>
                      <a:pt x="708" y="292"/>
                      <a:pt x="708" y="292"/>
                    </a:cubicBezTo>
                    <a:cubicBezTo>
                      <a:pt x="796" y="292"/>
                      <a:pt x="867" y="363"/>
                      <a:pt x="867" y="451"/>
                    </a:cubicBezTo>
                    <a:lnTo>
                      <a:pt x="867" y="708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96D6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126" name="Group 125"/>
          <p:cNvGrpSpPr/>
          <p:nvPr/>
        </p:nvGrpSpPr>
        <p:grpSpPr>
          <a:xfrm>
            <a:off x="4704455" y="1874398"/>
            <a:ext cx="290806" cy="261487"/>
            <a:chOff x="11022921" y="-2056847"/>
            <a:chExt cx="904242" cy="904242"/>
          </a:xfrm>
        </p:grpSpPr>
        <p:sp>
          <p:nvSpPr>
            <p:cNvPr id="127" name="Oval 126"/>
            <p:cNvSpPr/>
            <p:nvPr/>
          </p:nvSpPr>
          <p:spPr>
            <a:xfrm>
              <a:off x="11022921" y="-2056847"/>
              <a:ext cx="904242" cy="904242"/>
            </a:xfrm>
            <a:prstGeom prst="ellipse">
              <a:avLst/>
            </a:prstGeom>
            <a:solidFill>
              <a:schemeClr val="bg2"/>
            </a:solidFill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128" name="Group 127"/>
            <p:cNvGrpSpPr/>
            <p:nvPr/>
          </p:nvGrpSpPr>
          <p:grpSpPr>
            <a:xfrm>
              <a:off x="11228154" y="-1852412"/>
              <a:ext cx="493776" cy="495372"/>
              <a:chOff x="6003191" y="4235559"/>
              <a:chExt cx="493776" cy="495372"/>
            </a:xfrm>
            <a:solidFill>
              <a:schemeClr val="accent4"/>
            </a:solidFill>
          </p:grpSpPr>
          <p:sp>
            <p:nvSpPr>
              <p:cNvPr id="129" name="Freeform 14"/>
              <p:cNvSpPr>
                <a:spLocks noEditPoints="1"/>
              </p:cNvSpPr>
              <p:nvPr/>
            </p:nvSpPr>
            <p:spPr bwMode="auto">
              <a:xfrm>
                <a:off x="6141153" y="4374017"/>
                <a:ext cx="217853" cy="218456"/>
              </a:xfrm>
              <a:custGeom>
                <a:avLst/>
                <a:gdLst>
                  <a:gd name="T0" fmla="*/ 384 w 511"/>
                  <a:gd name="T1" fmla="*/ 0 h 511"/>
                  <a:gd name="T2" fmla="*/ 127 w 511"/>
                  <a:gd name="T3" fmla="*/ 0 h 511"/>
                  <a:gd name="T4" fmla="*/ 0 w 511"/>
                  <a:gd name="T5" fmla="*/ 127 h 511"/>
                  <a:gd name="T6" fmla="*/ 0 w 511"/>
                  <a:gd name="T7" fmla="*/ 384 h 511"/>
                  <a:gd name="T8" fmla="*/ 127 w 511"/>
                  <a:gd name="T9" fmla="*/ 511 h 511"/>
                  <a:gd name="T10" fmla="*/ 384 w 511"/>
                  <a:gd name="T11" fmla="*/ 511 h 511"/>
                  <a:gd name="T12" fmla="*/ 511 w 511"/>
                  <a:gd name="T13" fmla="*/ 384 h 511"/>
                  <a:gd name="T14" fmla="*/ 511 w 511"/>
                  <a:gd name="T15" fmla="*/ 127 h 511"/>
                  <a:gd name="T16" fmla="*/ 384 w 511"/>
                  <a:gd name="T17" fmla="*/ 0 h 511"/>
                  <a:gd name="T18" fmla="*/ 275 w 511"/>
                  <a:gd name="T19" fmla="*/ 85 h 511"/>
                  <a:gd name="T20" fmla="*/ 236 w 511"/>
                  <a:gd name="T21" fmla="*/ 85 h 511"/>
                  <a:gd name="T22" fmla="*/ 236 w 511"/>
                  <a:gd name="T23" fmla="*/ 45 h 511"/>
                  <a:gd name="T24" fmla="*/ 275 w 511"/>
                  <a:gd name="T25" fmla="*/ 45 h 511"/>
                  <a:gd name="T26" fmla="*/ 275 w 511"/>
                  <a:gd name="T27" fmla="*/ 8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1" h="511">
                    <a:moveTo>
                      <a:pt x="384" y="0"/>
                    </a:moveTo>
                    <a:cubicBezTo>
                      <a:pt x="127" y="0"/>
                      <a:pt x="127" y="0"/>
                      <a:pt x="127" y="0"/>
                    </a:cubicBezTo>
                    <a:cubicBezTo>
                      <a:pt x="57" y="0"/>
                      <a:pt x="0" y="57"/>
                      <a:pt x="0" y="127"/>
                    </a:cubicBezTo>
                    <a:cubicBezTo>
                      <a:pt x="0" y="384"/>
                      <a:pt x="0" y="384"/>
                      <a:pt x="0" y="384"/>
                    </a:cubicBezTo>
                    <a:cubicBezTo>
                      <a:pt x="0" y="454"/>
                      <a:pt x="57" y="511"/>
                      <a:pt x="127" y="511"/>
                    </a:cubicBezTo>
                    <a:cubicBezTo>
                      <a:pt x="384" y="511"/>
                      <a:pt x="384" y="511"/>
                      <a:pt x="384" y="511"/>
                    </a:cubicBezTo>
                    <a:cubicBezTo>
                      <a:pt x="454" y="511"/>
                      <a:pt x="511" y="454"/>
                      <a:pt x="511" y="384"/>
                    </a:cubicBezTo>
                    <a:cubicBezTo>
                      <a:pt x="511" y="127"/>
                      <a:pt x="511" y="127"/>
                      <a:pt x="511" y="127"/>
                    </a:cubicBezTo>
                    <a:cubicBezTo>
                      <a:pt x="511" y="57"/>
                      <a:pt x="454" y="0"/>
                      <a:pt x="384" y="0"/>
                    </a:cubicBezTo>
                    <a:close/>
                    <a:moveTo>
                      <a:pt x="275" y="85"/>
                    </a:moveTo>
                    <a:cubicBezTo>
                      <a:pt x="236" y="85"/>
                      <a:pt x="236" y="85"/>
                      <a:pt x="236" y="85"/>
                    </a:cubicBezTo>
                    <a:cubicBezTo>
                      <a:pt x="236" y="45"/>
                      <a:pt x="236" y="45"/>
                      <a:pt x="236" y="45"/>
                    </a:cubicBezTo>
                    <a:cubicBezTo>
                      <a:pt x="275" y="45"/>
                      <a:pt x="275" y="45"/>
                      <a:pt x="275" y="45"/>
                    </a:cubicBezTo>
                    <a:lnTo>
                      <a:pt x="275" y="85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96D6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130" name="Freeform 129"/>
              <p:cNvSpPr>
                <a:spLocks noEditPoints="1"/>
              </p:cNvSpPr>
              <p:nvPr/>
            </p:nvSpPr>
            <p:spPr bwMode="auto">
              <a:xfrm>
                <a:off x="6003191" y="4235559"/>
                <a:ext cx="493776" cy="495372"/>
              </a:xfrm>
              <a:custGeom>
                <a:avLst/>
                <a:gdLst>
                  <a:gd name="T0" fmla="*/ 885 w 1159"/>
                  <a:gd name="T1" fmla="*/ 0 h 1159"/>
                  <a:gd name="T2" fmla="*/ 274 w 1159"/>
                  <a:gd name="T3" fmla="*/ 0 h 1159"/>
                  <a:gd name="T4" fmla="*/ 0 w 1159"/>
                  <a:gd name="T5" fmla="*/ 274 h 1159"/>
                  <a:gd name="T6" fmla="*/ 0 w 1159"/>
                  <a:gd name="T7" fmla="*/ 885 h 1159"/>
                  <a:gd name="T8" fmla="*/ 274 w 1159"/>
                  <a:gd name="T9" fmla="*/ 1159 h 1159"/>
                  <a:gd name="T10" fmla="*/ 885 w 1159"/>
                  <a:gd name="T11" fmla="*/ 1159 h 1159"/>
                  <a:gd name="T12" fmla="*/ 1159 w 1159"/>
                  <a:gd name="T13" fmla="*/ 885 h 1159"/>
                  <a:gd name="T14" fmla="*/ 1159 w 1159"/>
                  <a:gd name="T15" fmla="*/ 274 h 1159"/>
                  <a:gd name="T16" fmla="*/ 885 w 1159"/>
                  <a:gd name="T17" fmla="*/ 0 h 1159"/>
                  <a:gd name="T18" fmla="*/ 867 w 1159"/>
                  <a:gd name="T19" fmla="*/ 708 h 1159"/>
                  <a:gd name="T20" fmla="*/ 708 w 1159"/>
                  <a:gd name="T21" fmla="*/ 867 h 1159"/>
                  <a:gd name="T22" fmla="*/ 451 w 1159"/>
                  <a:gd name="T23" fmla="*/ 867 h 1159"/>
                  <a:gd name="T24" fmla="*/ 292 w 1159"/>
                  <a:gd name="T25" fmla="*/ 708 h 1159"/>
                  <a:gd name="T26" fmla="*/ 292 w 1159"/>
                  <a:gd name="T27" fmla="*/ 451 h 1159"/>
                  <a:gd name="T28" fmla="*/ 451 w 1159"/>
                  <a:gd name="T29" fmla="*/ 292 h 1159"/>
                  <a:gd name="T30" fmla="*/ 708 w 1159"/>
                  <a:gd name="T31" fmla="*/ 292 h 1159"/>
                  <a:gd name="T32" fmla="*/ 867 w 1159"/>
                  <a:gd name="T33" fmla="*/ 451 h 1159"/>
                  <a:gd name="T34" fmla="*/ 867 w 1159"/>
                  <a:gd name="T35" fmla="*/ 708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59" h="1159">
                    <a:moveTo>
                      <a:pt x="885" y="0"/>
                    </a:moveTo>
                    <a:cubicBezTo>
                      <a:pt x="274" y="0"/>
                      <a:pt x="274" y="0"/>
                      <a:pt x="274" y="0"/>
                    </a:cubicBezTo>
                    <a:cubicBezTo>
                      <a:pt x="123" y="0"/>
                      <a:pt x="0" y="123"/>
                      <a:pt x="0" y="274"/>
                    </a:cubicBezTo>
                    <a:cubicBezTo>
                      <a:pt x="0" y="885"/>
                      <a:pt x="0" y="885"/>
                      <a:pt x="0" y="885"/>
                    </a:cubicBezTo>
                    <a:cubicBezTo>
                      <a:pt x="0" y="1036"/>
                      <a:pt x="123" y="1159"/>
                      <a:pt x="274" y="1159"/>
                    </a:cubicBezTo>
                    <a:cubicBezTo>
                      <a:pt x="885" y="1159"/>
                      <a:pt x="885" y="1159"/>
                      <a:pt x="885" y="1159"/>
                    </a:cubicBezTo>
                    <a:cubicBezTo>
                      <a:pt x="1036" y="1159"/>
                      <a:pt x="1159" y="1036"/>
                      <a:pt x="1159" y="885"/>
                    </a:cubicBezTo>
                    <a:cubicBezTo>
                      <a:pt x="1159" y="274"/>
                      <a:pt x="1159" y="274"/>
                      <a:pt x="1159" y="274"/>
                    </a:cubicBezTo>
                    <a:cubicBezTo>
                      <a:pt x="1159" y="123"/>
                      <a:pt x="1036" y="0"/>
                      <a:pt x="885" y="0"/>
                    </a:cubicBezTo>
                    <a:close/>
                    <a:moveTo>
                      <a:pt x="867" y="708"/>
                    </a:moveTo>
                    <a:cubicBezTo>
                      <a:pt x="867" y="796"/>
                      <a:pt x="796" y="867"/>
                      <a:pt x="708" y="867"/>
                    </a:cubicBezTo>
                    <a:cubicBezTo>
                      <a:pt x="451" y="867"/>
                      <a:pt x="451" y="867"/>
                      <a:pt x="451" y="867"/>
                    </a:cubicBezTo>
                    <a:cubicBezTo>
                      <a:pt x="363" y="867"/>
                      <a:pt x="292" y="796"/>
                      <a:pt x="292" y="708"/>
                    </a:cubicBezTo>
                    <a:cubicBezTo>
                      <a:pt x="292" y="451"/>
                      <a:pt x="292" y="451"/>
                      <a:pt x="292" y="451"/>
                    </a:cubicBezTo>
                    <a:cubicBezTo>
                      <a:pt x="292" y="363"/>
                      <a:pt x="363" y="292"/>
                      <a:pt x="451" y="292"/>
                    </a:cubicBezTo>
                    <a:cubicBezTo>
                      <a:pt x="708" y="292"/>
                      <a:pt x="708" y="292"/>
                      <a:pt x="708" y="292"/>
                    </a:cubicBezTo>
                    <a:cubicBezTo>
                      <a:pt x="796" y="292"/>
                      <a:pt x="867" y="363"/>
                      <a:pt x="867" y="451"/>
                    </a:cubicBezTo>
                    <a:lnTo>
                      <a:pt x="867" y="708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96D6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131" name="Group 130"/>
          <p:cNvGrpSpPr/>
          <p:nvPr/>
        </p:nvGrpSpPr>
        <p:grpSpPr>
          <a:xfrm>
            <a:off x="2665135" y="2884141"/>
            <a:ext cx="290806" cy="261487"/>
            <a:chOff x="11022921" y="-2056847"/>
            <a:chExt cx="904242" cy="904242"/>
          </a:xfrm>
        </p:grpSpPr>
        <p:sp>
          <p:nvSpPr>
            <p:cNvPr id="132" name="Oval 131"/>
            <p:cNvSpPr/>
            <p:nvPr/>
          </p:nvSpPr>
          <p:spPr>
            <a:xfrm>
              <a:off x="11022921" y="-2056847"/>
              <a:ext cx="904242" cy="904242"/>
            </a:xfrm>
            <a:prstGeom prst="ellipse">
              <a:avLst/>
            </a:prstGeom>
            <a:solidFill>
              <a:schemeClr val="bg2"/>
            </a:solidFill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133" name="Group 132"/>
            <p:cNvGrpSpPr/>
            <p:nvPr/>
          </p:nvGrpSpPr>
          <p:grpSpPr>
            <a:xfrm>
              <a:off x="11228154" y="-1852412"/>
              <a:ext cx="493776" cy="495372"/>
              <a:chOff x="6003191" y="4235559"/>
              <a:chExt cx="493776" cy="495372"/>
            </a:xfrm>
            <a:solidFill>
              <a:schemeClr val="accent4"/>
            </a:solidFill>
          </p:grpSpPr>
          <p:sp>
            <p:nvSpPr>
              <p:cNvPr id="134" name="Freeform 14"/>
              <p:cNvSpPr>
                <a:spLocks noEditPoints="1"/>
              </p:cNvSpPr>
              <p:nvPr/>
            </p:nvSpPr>
            <p:spPr bwMode="auto">
              <a:xfrm>
                <a:off x="6141153" y="4374017"/>
                <a:ext cx="217853" cy="218456"/>
              </a:xfrm>
              <a:custGeom>
                <a:avLst/>
                <a:gdLst>
                  <a:gd name="T0" fmla="*/ 384 w 511"/>
                  <a:gd name="T1" fmla="*/ 0 h 511"/>
                  <a:gd name="T2" fmla="*/ 127 w 511"/>
                  <a:gd name="T3" fmla="*/ 0 h 511"/>
                  <a:gd name="T4" fmla="*/ 0 w 511"/>
                  <a:gd name="T5" fmla="*/ 127 h 511"/>
                  <a:gd name="T6" fmla="*/ 0 w 511"/>
                  <a:gd name="T7" fmla="*/ 384 h 511"/>
                  <a:gd name="T8" fmla="*/ 127 w 511"/>
                  <a:gd name="T9" fmla="*/ 511 h 511"/>
                  <a:gd name="T10" fmla="*/ 384 w 511"/>
                  <a:gd name="T11" fmla="*/ 511 h 511"/>
                  <a:gd name="T12" fmla="*/ 511 w 511"/>
                  <a:gd name="T13" fmla="*/ 384 h 511"/>
                  <a:gd name="T14" fmla="*/ 511 w 511"/>
                  <a:gd name="T15" fmla="*/ 127 h 511"/>
                  <a:gd name="T16" fmla="*/ 384 w 511"/>
                  <a:gd name="T17" fmla="*/ 0 h 511"/>
                  <a:gd name="T18" fmla="*/ 275 w 511"/>
                  <a:gd name="T19" fmla="*/ 85 h 511"/>
                  <a:gd name="T20" fmla="*/ 236 w 511"/>
                  <a:gd name="T21" fmla="*/ 85 h 511"/>
                  <a:gd name="T22" fmla="*/ 236 w 511"/>
                  <a:gd name="T23" fmla="*/ 45 h 511"/>
                  <a:gd name="T24" fmla="*/ 275 w 511"/>
                  <a:gd name="T25" fmla="*/ 45 h 511"/>
                  <a:gd name="T26" fmla="*/ 275 w 511"/>
                  <a:gd name="T27" fmla="*/ 8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1" h="511">
                    <a:moveTo>
                      <a:pt x="384" y="0"/>
                    </a:moveTo>
                    <a:cubicBezTo>
                      <a:pt x="127" y="0"/>
                      <a:pt x="127" y="0"/>
                      <a:pt x="127" y="0"/>
                    </a:cubicBezTo>
                    <a:cubicBezTo>
                      <a:pt x="57" y="0"/>
                      <a:pt x="0" y="57"/>
                      <a:pt x="0" y="127"/>
                    </a:cubicBezTo>
                    <a:cubicBezTo>
                      <a:pt x="0" y="384"/>
                      <a:pt x="0" y="384"/>
                      <a:pt x="0" y="384"/>
                    </a:cubicBezTo>
                    <a:cubicBezTo>
                      <a:pt x="0" y="454"/>
                      <a:pt x="57" y="511"/>
                      <a:pt x="127" y="511"/>
                    </a:cubicBezTo>
                    <a:cubicBezTo>
                      <a:pt x="384" y="511"/>
                      <a:pt x="384" y="511"/>
                      <a:pt x="384" y="511"/>
                    </a:cubicBezTo>
                    <a:cubicBezTo>
                      <a:pt x="454" y="511"/>
                      <a:pt x="511" y="454"/>
                      <a:pt x="511" y="384"/>
                    </a:cubicBezTo>
                    <a:cubicBezTo>
                      <a:pt x="511" y="127"/>
                      <a:pt x="511" y="127"/>
                      <a:pt x="511" y="127"/>
                    </a:cubicBezTo>
                    <a:cubicBezTo>
                      <a:pt x="511" y="57"/>
                      <a:pt x="454" y="0"/>
                      <a:pt x="384" y="0"/>
                    </a:cubicBezTo>
                    <a:close/>
                    <a:moveTo>
                      <a:pt x="275" y="85"/>
                    </a:moveTo>
                    <a:cubicBezTo>
                      <a:pt x="236" y="85"/>
                      <a:pt x="236" y="85"/>
                      <a:pt x="236" y="85"/>
                    </a:cubicBezTo>
                    <a:cubicBezTo>
                      <a:pt x="236" y="45"/>
                      <a:pt x="236" y="45"/>
                      <a:pt x="236" y="45"/>
                    </a:cubicBezTo>
                    <a:cubicBezTo>
                      <a:pt x="275" y="45"/>
                      <a:pt x="275" y="45"/>
                      <a:pt x="275" y="45"/>
                    </a:cubicBezTo>
                    <a:lnTo>
                      <a:pt x="275" y="85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96D6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135" name="Freeform 134"/>
              <p:cNvSpPr>
                <a:spLocks noEditPoints="1"/>
              </p:cNvSpPr>
              <p:nvPr/>
            </p:nvSpPr>
            <p:spPr bwMode="auto">
              <a:xfrm>
                <a:off x="6003191" y="4235559"/>
                <a:ext cx="493776" cy="495372"/>
              </a:xfrm>
              <a:custGeom>
                <a:avLst/>
                <a:gdLst>
                  <a:gd name="T0" fmla="*/ 885 w 1159"/>
                  <a:gd name="T1" fmla="*/ 0 h 1159"/>
                  <a:gd name="T2" fmla="*/ 274 w 1159"/>
                  <a:gd name="T3" fmla="*/ 0 h 1159"/>
                  <a:gd name="T4" fmla="*/ 0 w 1159"/>
                  <a:gd name="T5" fmla="*/ 274 h 1159"/>
                  <a:gd name="T6" fmla="*/ 0 w 1159"/>
                  <a:gd name="T7" fmla="*/ 885 h 1159"/>
                  <a:gd name="T8" fmla="*/ 274 w 1159"/>
                  <a:gd name="T9" fmla="*/ 1159 h 1159"/>
                  <a:gd name="T10" fmla="*/ 885 w 1159"/>
                  <a:gd name="T11" fmla="*/ 1159 h 1159"/>
                  <a:gd name="T12" fmla="*/ 1159 w 1159"/>
                  <a:gd name="T13" fmla="*/ 885 h 1159"/>
                  <a:gd name="T14" fmla="*/ 1159 w 1159"/>
                  <a:gd name="T15" fmla="*/ 274 h 1159"/>
                  <a:gd name="T16" fmla="*/ 885 w 1159"/>
                  <a:gd name="T17" fmla="*/ 0 h 1159"/>
                  <a:gd name="T18" fmla="*/ 867 w 1159"/>
                  <a:gd name="T19" fmla="*/ 708 h 1159"/>
                  <a:gd name="T20" fmla="*/ 708 w 1159"/>
                  <a:gd name="T21" fmla="*/ 867 h 1159"/>
                  <a:gd name="T22" fmla="*/ 451 w 1159"/>
                  <a:gd name="T23" fmla="*/ 867 h 1159"/>
                  <a:gd name="T24" fmla="*/ 292 w 1159"/>
                  <a:gd name="T25" fmla="*/ 708 h 1159"/>
                  <a:gd name="T26" fmla="*/ 292 w 1159"/>
                  <a:gd name="T27" fmla="*/ 451 h 1159"/>
                  <a:gd name="T28" fmla="*/ 451 w 1159"/>
                  <a:gd name="T29" fmla="*/ 292 h 1159"/>
                  <a:gd name="T30" fmla="*/ 708 w 1159"/>
                  <a:gd name="T31" fmla="*/ 292 h 1159"/>
                  <a:gd name="T32" fmla="*/ 867 w 1159"/>
                  <a:gd name="T33" fmla="*/ 451 h 1159"/>
                  <a:gd name="T34" fmla="*/ 867 w 1159"/>
                  <a:gd name="T35" fmla="*/ 708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59" h="1159">
                    <a:moveTo>
                      <a:pt x="885" y="0"/>
                    </a:moveTo>
                    <a:cubicBezTo>
                      <a:pt x="274" y="0"/>
                      <a:pt x="274" y="0"/>
                      <a:pt x="274" y="0"/>
                    </a:cubicBezTo>
                    <a:cubicBezTo>
                      <a:pt x="123" y="0"/>
                      <a:pt x="0" y="123"/>
                      <a:pt x="0" y="274"/>
                    </a:cubicBezTo>
                    <a:cubicBezTo>
                      <a:pt x="0" y="885"/>
                      <a:pt x="0" y="885"/>
                      <a:pt x="0" y="885"/>
                    </a:cubicBezTo>
                    <a:cubicBezTo>
                      <a:pt x="0" y="1036"/>
                      <a:pt x="123" y="1159"/>
                      <a:pt x="274" y="1159"/>
                    </a:cubicBezTo>
                    <a:cubicBezTo>
                      <a:pt x="885" y="1159"/>
                      <a:pt x="885" y="1159"/>
                      <a:pt x="885" y="1159"/>
                    </a:cubicBezTo>
                    <a:cubicBezTo>
                      <a:pt x="1036" y="1159"/>
                      <a:pt x="1159" y="1036"/>
                      <a:pt x="1159" y="885"/>
                    </a:cubicBezTo>
                    <a:cubicBezTo>
                      <a:pt x="1159" y="274"/>
                      <a:pt x="1159" y="274"/>
                      <a:pt x="1159" y="274"/>
                    </a:cubicBezTo>
                    <a:cubicBezTo>
                      <a:pt x="1159" y="123"/>
                      <a:pt x="1036" y="0"/>
                      <a:pt x="885" y="0"/>
                    </a:cubicBezTo>
                    <a:close/>
                    <a:moveTo>
                      <a:pt x="867" y="708"/>
                    </a:moveTo>
                    <a:cubicBezTo>
                      <a:pt x="867" y="796"/>
                      <a:pt x="796" y="867"/>
                      <a:pt x="708" y="867"/>
                    </a:cubicBezTo>
                    <a:cubicBezTo>
                      <a:pt x="451" y="867"/>
                      <a:pt x="451" y="867"/>
                      <a:pt x="451" y="867"/>
                    </a:cubicBezTo>
                    <a:cubicBezTo>
                      <a:pt x="363" y="867"/>
                      <a:pt x="292" y="796"/>
                      <a:pt x="292" y="708"/>
                    </a:cubicBezTo>
                    <a:cubicBezTo>
                      <a:pt x="292" y="451"/>
                      <a:pt x="292" y="451"/>
                      <a:pt x="292" y="451"/>
                    </a:cubicBezTo>
                    <a:cubicBezTo>
                      <a:pt x="292" y="363"/>
                      <a:pt x="363" y="292"/>
                      <a:pt x="451" y="292"/>
                    </a:cubicBezTo>
                    <a:cubicBezTo>
                      <a:pt x="708" y="292"/>
                      <a:pt x="708" y="292"/>
                      <a:pt x="708" y="292"/>
                    </a:cubicBezTo>
                    <a:cubicBezTo>
                      <a:pt x="796" y="292"/>
                      <a:pt x="867" y="363"/>
                      <a:pt x="867" y="451"/>
                    </a:cubicBezTo>
                    <a:lnTo>
                      <a:pt x="867" y="708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96D6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136" name="Group 135"/>
          <p:cNvGrpSpPr/>
          <p:nvPr/>
        </p:nvGrpSpPr>
        <p:grpSpPr>
          <a:xfrm>
            <a:off x="1703075" y="3299312"/>
            <a:ext cx="290806" cy="261487"/>
            <a:chOff x="11022921" y="-2056847"/>
            <a:chExt cx="904242" cy="904242"/>
          </a:xfrm>
        </p:grpSpPr>
        <p:sp>
          <p:nvSpPr>
            <p:cNvPr id="137" name="Oval 136"/>
            <p:cNvSpPr/>
            <p:nvPr/>
          </p:nvSpPr>
          <p:spPr>
            <a:xfrm>
              <a:off x="11022921" y="-2056847"/>
              <a:ext cx="904242" cy="904242"/>
            </a:xfrm>
            <a:prstGeom prst="ellipse">
              <a:avLst/>
            </a:prstGeom>
            <a:solidFill>
              <a:schemeClr val="bg2"/>
            </a:solidFill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138" name="Group 137"/>
            <p:cNvGrpSpPr/>
            <p:nvPr/>
          </p:nvGrpSpPr>
          <p:grpSpPr>
            <a:xfrm>
              <a:off x="11228154" y="-1852412"/>
              <a:ext cx="493776" cy="495372"/>
              <a:chOff x="6003191" y="4235559"/>
              <a:chExt cx="493776" cy="495372"/>
            </a:xfrm>
            <a:solidFill>
              <a:schemeClr val="accent4"/>
            </a:solidFill>
          </p:grpSpPr>
          <p:sp>
            <p:nvSpPr>
              <p:cNvPr id="145" name="Freeform 14"/>
              <p:cNvSpPr>
                <a:spLocks noEditPoints="1"/>
              </p:cNvSpPr>
              <p:nvPr/>
            </p:nvSpPr>
            <p:spPr bwMode="auto">
              <a:xfrm>
                <a:off x="6141153" y="4374017"/>
                <a:ext cx="217853" cy="218456"/>
              </a:xfrm>
              <a:custGeom>
                <a:avLst/>
                <a:gdLst>
                  <a:gd name="T0" fmla="*/ 384 w 511"/>
                  <a:gd name="T1" fmla="*/ 0 h 511"/>
                  <a:gd name="T2" fmla="*/ 127 w 511"/>
                  <a:gd name="T3" fmla="*/ 0 h 511"/>
                  <a:gd name="T4" fmla="*/ 0 w 511"/>
                  <a:gd name="T5" fmla="*/ 127 h 511"/>
                  <a:gd name="T6" fmla="*/ 0 w 511"/>
                  <a:gd name="T7" fmla="*/ 384 h 511"/>
                  <a:gd name="T8" fmla="*/ 127 w 511"/>
                  <a:gd name="T9" fmla="*/ 511 h 511"/>
                  <a:gd name="T10" fmla="*/ 384 w 511"/>
                  <a:gd name="T11" fmla="*/ 511 h 511"/>
                  <a:gd name="T12" fmla="*/ 511 w 511"/>
                  <a:gd name="T13" fmla="*/ 384 h 511"/>
                  <a:gd name="T14" fmla="*/ 511 w 511"/>
                  <a:gd name="T15" fmla="*/ 127 h 511"/>
                  <a:gd name="T16" fmla="*/ 384 w 511"/>
                  <a:gd name="T17" fmla="*/ 0 h 511"/>
                  <a:gd name="T18" fmla="*/ 275 w 511"/>
                  <a:gd name="T19" fmla="*/ 85 h 511"/>
                  <a:gd name="T20" fmla="*/ 236 w 511"/>
                  <a:gd name="T21" fmla="*/ 85 h 511"/>
                  <a:gd name="T22" fmla="*/ 236 w 511"/>
                  <a:gd name="T23" fmla="*/ 45 h 511"/>
                  <a:gd name="T24" fmla="*/ 275 w 511"/>
                  <a:gd name="T25" fmla="*/ 45 h 511"/>
                  <a:gd name="T26" fmla="*/ 275 w 511"/>
                  <a:gd name="T27" fmla="*/ 8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1" h="511">
                    <a:moveTo>
                      <a:pt x="384" y="0"/>
                    </a:moveTo>
                    <a:cubicBezTo>
                      <a:pt x="127" y="0"/>
                      <a:pt x="127" y="0"/>
                      <a:pt x="127" y="0"/>
                    </a:cubicBezTo>
                    <a:cubicBezTo>
                      <a:pt x="57" y="0"/>
                      <a:pt x="0" y="57"/>
                      <a:pt x="0" y="127"/>
                    </a:cubicBezTo>
                    <a:cubicBezTo>
                      <a:pt x="0" y="384"/>
                      <a:pt x="0" y="384"/>
                      <a:pt x="0" y="384"/>
                    </a:cubicBezTo>
                    <a:cubicBezTo>
                      <a:pt x="0" y="454"/>
                      <a:pt x="57" y="511"/>
                      <a:pt x="127" y="511"/>
                    </a:cubicBezTo>
                    <a:cubicBezTo>
                      <a:pt x="384" y="511"/>
                      <a:pt x="384" y="511"/>
                      <a:pt x="384" y="511"/>
                    </a:cubicBezTo>
                    <a:cubicBezTo>
                      <a:pt x="454" y="511"/>
                      <a:pt x="511" y="454"/>
                      <a:pt x="511" y="384"/>
                    </a:cubicBezTo>
                    <a:cubicBezTo>
                      <a:pt x="511" y="127"/>
                      <a:pt x="511" y="127"/>
                      <a:pt x="511" y="127"/>
                    </a:cubicBezTo>
                    <a:cubicBezTo>
                      <a:pt x="511" y="57"/>
                      <a:pt x="454" y="0"/>
                      <a:pt x="384" y="0"/>
                    </a:cubicBezTo>
                    <a:close/>
                    <a:moveTo>
                      <a:pt x="275" y="85"/>
                    </a:moveTo>
                    <a:cubicBezTo>
                      <a:pt x="236" y="85"/>
                      <a:pt x="236" y="85"/>
                      <a:pt x="236" y="85"/>
                    </a:cubicBezTo>
                    <a:cubicBezTo>
                      <a:pt x="236" y="45"/>
                      <a:pt x="236" y="45"/>
                      <a:pt x="236" y="45"/>
                    </a:cubicBezTo>
                    <a:cubicBezTo>
                      <a:pt x="275" y="45"/>
                      <a:pt x="275" y="45"/>
                      <a:pt x="275" y="45"/>
                    </a:cubicBezTo>
                    <a:lnTo>
                      <a:pt x="275" y="85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96D6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151" name="Freeform 150"/>
              <p:cNvSpPr>
                <a:spLocks noEditPoints="1"/>
              </p:cNvSpPr>
              <p:nvPr/>
            </p:nvSpPr>
            <p:spPr bwMode="auto">
              <a:xfrm>
                <a:off x="6003191" y="4235559"/>
                <a:ext cx="493776" cy="495372"/>
              </a:xfrm>
              <a:custGeom>
                <a:avLst/>
                <a:gdLst>
                  <a:gd name="T0" fmla="*/ 885 w 1159"/>
                  <a:gd name="T1" fmla="*/ 0 h 1159"/>
                  <a:gd name="T2" fmla="*/ 274 w 1159"/>
                  <a:gd name="T3" fmla="*/ 0 h 1159"/>
                  <a:gd name="T4" fmla="*/ 0 w 1159"/>
                  <a:gd name="T5" fmla="*/ 274 h 1159"/>
                  <a:gd name="T6" fmla="*/ 0 w 1159"/>
                  <a:gd name="T7" fmla="*/ 885 h 1159"/>
                  <a:gd name="T8" fmla="*/ 274 w 1159"/>
                  <a:gd name="T9" fmla="*/ 1159 h 1159"/>
                  <a:gd name="T10" fmla="*/ 885 w 1159"/>
                  <a:gd name="T11" fmla="*/ 1159 h 1159"/>
                  <a:gd name="T12" fmla="*/ 1159 w 1159"/>
                  <a:gd name="T13" fmla="*/ 885 h 1159"/>
                  <a:gd name="T14" fmla="*/ 1159 w 1159"/>
                  <a:gd name="T15" fmla="*/ 274 h 1159"/>
                  <a:gd name="T16" fmla="*/ 885 w 1159"/>
                  <a:gd name="T17" fmla="*/ 0 h 1159"/>
                  <a:gd name="T18" fmla="*/ 867 w 1159"/>
                  <a:gd name="T19" fmla="*/ 708 h 1159"/>
                  <a:gd name="T20" fmla="*/ 708 w 1159"/>
                  <a:gd name="T21" fmla="*/ 867 h 1159"/>
                  <a:gd name="T22" fmla="*/ 451 w 1159"/>
                  <a:gd name="T23" fmla="*/ 867 h 1159"/>
                  <a:gd name="T24" fmla="*/ 292 w 1159"/>
                  <a:gd name="T25" fmla="*/ 708 h 1159"/>
                  <a:gd name="T26" fmla="*/ 292 w 1159"/>
                  <a:gd name="T27" fmla="*/ 451 h 1159"/>
                  <a:gd name="T28" fmla="*/ 451 w 1159"/>
                  <a:gd name="T29" fmla="*/ 292 h 1159"/>
                  <a:gd name="T30" fmla="*/ 708 w 1159"/>
                  <a:gd name="T31" fmla="*/ 292 h 1159"/>
                  <a:gd name="T32" fmla="*/ 867 w 1159"/>
                  <a:gd name="T33" fmla="*/ 451 h 1159"/>
                  <a:gd name="T34" fmla="*/ 867 w 1159"/>
                  <a:gd name="T35" fmla="*/ 708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59" h="1159">
                    <a:moveTo>
                      <a:pt x="885" y="0"/>
                    </a:moveTo>
                    <a:cubicBezTo>
                      <a:pt x="274" y="0"/>
                      <a:pt x="274" y="0"/>
                      <a:pt x="274" y="0"/>
                    </a:cubicBezTo>
                    <a:cubicBezTo>
                      <a:pt x="123" y="0"/>
                      <a:pt x="0" y="123"/>
                      <a:pt x="0" y="274"/>
                    </a:cubicBezTo>
                    <a:cubicBezTo>
                      <a:pt x="0" y="885"/>
                      <a:pt x="0" y="885"/>
                      <a:pt x="0" y="885"/>
                    </a:cubicBezTo>
                    <a:cubicBezTo>
                      <a:pt x="0" y="1036"/>
                      <a:pt x="123" y="1159"/>
                      <a:pt x="274" y="1159"/>
                    </a:cubicBezTo>
                    <a:cubicBezTo>
                      <a:pt x="885" y="1159"/>
                      <a:pt x="885" y="1159"/>
                      <a:pt x="885" y="1159"/>
                    </a:cubicBezTo>
                    <a:cubicBezTo>
                      <a:pt x="1036" y="1159"/>
                      <a:pt x="1159" y="1036"/>
                      <a:pt x="1159" y="885"/>
                    </a:cubicBezTo>
                    <a:cubicBezTo>
                      <a:pt x="1159" y="274"/>
                      <a:pt x="1159" y="274"/>
                      <a:pt x="1159" y="274"/>
                    </a:cubicBezTo>
                    <a:cubicBezTo>
                      <a:pt x="1159" y="123"/>
                      <a:pt x="1036" y="0"/>
                      <a:pt x="885" y="0"/>
                    </a:cubicBezTo>
                    <a:close/>
                    <a:moveTo>
                      <a:pt x="867" y="708"/>
                    </a:moveTo>
                    <a:cubicBezTo>
                      <a:pt x="867" y="796"/>
                      <a:pt x="796" y="867"/>
                      <a:pt x="708" y="867"/>
                    </a:cubicBezTo>
                    <a:cubicBezTo>
                      <a:pt x="451" y="867"/>
                      <a:pt x="451" y="867"/>
                      <a:pt x="451" y="867"/>
                    </a:cubicBezTo>
                    <a:cubicBezTo>
                      <a:pt x="363" y="867"/>
                      <a:pt x="292" y="796"/>
                      <a:pt x="292" y="708"/>
                    </a:cubicBezTo>
                    <a:cubicBezTo>
                      <a:pt x="292" y="451"/>
                      <a:pt x="292" y="451"/>
                      <a:pt x="292" y="451"/>
                    </a:cubicBezTo>
                    <a:cubicBezTo>
                      <a:pt x="292" y="363"/>
                      <a:pt x="363" y="292"/>
                      <a:pt x="451" y="292"/>
                    </a:cubicBezTo>
                    <a:cubicBezTo>
                      <a:pt x="708" y="292"/>
                      <a:pt x="708" y="292"/>
                      <a:pt x="708" y="292"/>
                    </a:cubicBezTo>
                    <a:cubicBezTo>
                      <a:pt x="796" y="292"/>
                      <a:pt x="867" y="363"/>
                      <a:pt x="867" y="451"/>
                    </a:cubicBezTo>
                    <a:lnTo>
                      <a:pt x="867" y="708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96D6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153" name="Group 152"/>
          <p:cNvGrpSpPr/>
          <p:nvPr/>
        </p:nvGrpSpPr>
        <p:grpSpPr>
          <a:xfrm>
            <a:off x="2878633" y="3656786"/>
            <a:ext cx="290806" cy="261487"/>
            <a:chOff x="11022921" y="-2056847"/>
            <a:chExt cx="904242" cy="904242"/>
          </a:xfrm>
        </p:grpSpPr>
        <p:sp>
          <p:nvSpPr>
            <p:cNvPr id="155" name="Oval 154"/>
            <p:cNvSpPr/>
            <p:nvPr/>
          </p:nvSpPr>
          <p:spPr>
            <a:xfrm>
              <a:off x="11022921" y="-2056847"/>
              <a:ext cx="904242" cy="904242"/>
            </a:xfrm>
            <a:prstGeom prst="ellipse">
              <a:avLst/>
            </a:prstGeom>
            <a:solidFill>
              <a:schemeClr val="bg2"/>
            </a:solidFill>
            <a:ln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161" name="Group 160"/>
            <p:cNvGrpSpPr/>
            <p:nvPr/>
          </p:nvGrpSpPr>
          <p:grpSpPr>
            <a:xfrm>
              <a:off x="11228154" y="-1852412"/>
              <a:ext cx="493776" cy="495372"/>
              <a:chOff x="6003191" y="4235559"/>
              <a:chExt cx="493776" cy="495372"/>
            </a:xfrm>
            <a:solidFill>
              <a:schemeClr val="accent4"/>
            </a:solidFill>
          </p:grpSpPr>
          <p:sp>
            <p:nvSpPr>
              <p:cNvPr id="163" name="Freeform 14"/>
              <p:cNvSpPr>
                <a:spLocks noEditPoints="1"/>
              </p:cNvSpPr>
              <p:nvPr/>
            </p:nvSpPr>
            <p:spPr bwMode="auto">
              <a:xfrm>
                <a:off x="6141153" y="4374017"/>
                <a:ext cx="217853" cy="218456"/>
              </a:xfrm>
              <a:custGeom>
                <a:avLst/>
                <a:gdLst>
                  <a:gd name="T0" fmla="*/ 384 w 511"/>
                  <a:gd name="T1" fmla="*/ 0 h 511"/>
                  <a:gd name="T2" fmla="*/ 127 w 511"/>
                  <a:gd name="T3" fmla="*/ 0 h 511"/>
                  <a:gd name="T4" fmla="*/ 0 w 511"/>
                  <a:gd name="T5" fmla="*/ 127 h 511"/>
                  <a:gd name="T6" fmla="*/ 0 w 511"/>
                  <a:gd name="T7" fmla="*/ 384 h 511"/>
                  <a:gd name="T8" fmla="*/ 127 w 511"/>
                  <a:gd name="T9" fmla="*/ 511 h 511"/>
                  <a:gd name="T10" fmla="*/ 384 w 511"/>
                  <a:gd name="T11" fmla="*/ 511 h 511"/>
                  <a:gd name="T12" fmla="*/ 511 w 511"/>
                  <a:gd name="T13" fmla="*/ 384 h 511"/>
                  <a:gd name="T14" fmla="*/ 511 w 511"/>
                  <a:gd name="T15" fmla="*/ 127 h 511"/>
                  <a:gd name="T16" fmla="*/ 384 w 511"/>
                  <a:gd name="T17" fmla="*/ 0 h 511"/>
                  <a:gd name="T18" fmla="*/ 275 w 511"/>
                  <a:gd name="T19" fmla="*/ 85 h 511"/>
                  <a:gd name="T20" fmla="*/ 236 w 511"/>
                  <a:gd name="T21" fmla="*/ 85 h 511"/>
                  <a:gd name="T22" fmla="*/ 236 w 511"/>
                  <a:gd name="T23" fmla="*/ 45 h 511"/>
                  <a:gd name="T24" fmla="*/ 275 w 511"/>
                  <a:gd name="T25" fmla="*/ 45 h 511"/>
                  <a:gd name="T26" fmla="*/ 275 w 511"/>
                  <a:gd name="T27" fmla="*/ 85 h 5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11" h="511">
                    <a:moveTo>
                      <a:pt x="384" y="0"/>
                    </a:moveTo>
                    <a:cubicBezTo>
                      <a:pt x="127" y="0"/>
                      <a:pt x="127" y="0"/>
                      <a:pt x="127" y="0"/>
                    </a:cubicBezTo>
                    <a:cubicBezTo>
                      <a:pt x="57" y="0"/>
                      <a:pt x="0" y="57"/>
                      <a:pt x="0" y="127"/>
                    </a:cubicBezTo>
                    <a:cubicBezTo>
                      <a:pt x="0" y="384"/>
                      <a:pt x="0" y="384"/>
                      <a:pt x="0" y="384"/>
                    </a:cubicBezTo>
                    <a:cubicBezTo>
                      <a:pt x="0" y="454"/>
                      <a:pt x="57" y="511"/>
                      <a:pt x="127" y="511"/>
                    </a:cubicBezTo>
                    <a:cubicBezTo>
                      <a:pt x="384" y="511"/>
                      <a:pt x="384" y="511"/>
                      <a:pt x="384" y="511"/>
                    </a:cubicBezTo>
                    <a:cubicBezTo>
                      <a:pt x="454" y="511"/>
                      <a:pt x="511" y="454"/>
                      <a:pt x="511" y="384"/>
                    </a:cubicBezTo>
                    <a:cubicBezTo>
                      <a:pt x="511" y="127"/>
                      <a:pt x="511" y="127"/>
                      <a:pt x="511" y="127"/>
                    </a:cubicBezTo>
                    <a:cubicBezTo>
                      <a:pt x="511" y="57"/>
                      <a:pt x="454" y="0"/>
                      <a:pt x="384" y="0"/>
                    </a:cubicBezTo>
                    <a:close/>
                    <a:moveTo>
                      <a:pt x="275" y="85"/>
                    </a:moveTo>
                    <a:cubicBezTo>
                      <a:pt x="236" y="85"/>
                      <a:pt x="236" y="85"/>
                      <a:pt x="236" y="85"/>
                    </a:cubicBezTo>
                    <a:cubicBezTo>
                      <a:pt x="236" y="45"/>
                      <a:pt x="236" y="45"/>
                      <a:pt x="236" y="45"/>
                    </a:cubicBezTo>
                    <a:cubicBezTo>
                      <a:pt x="275" y="45"/>
                      <a:pt x="275" y="45"/>
                      <a:pt x="275" y="45"/>
                    </a:cubicBezTo>
                    <a:lnTo>
                      <a:pt x="275" y="85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96D6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164" name="Freeform 163"/>
              <p:cNvSpPr>
                <a:spLocks noEditPoints="1"/>
              </p:cNvSpPr>
              <p:nvPr/>
            </p:nvSpPr>
            <p:spPr bwMode="auto">
              <a:xfrm>
                <a:off x="6003191" y="4235559"/>
                <a:ext cx="493776" cy="495372"/>
              </a:xfrm>
              <a:custGeom>
                <a:avLst/>
                <a:gdLst>
                  <a:gd name="T0" fmla="*/ 885 w 1159"/>
                  <a:gd name="T1" fmla="*/ 0 h 1159"/>
                  <a:gd name="T2" fmla="*/ 274 w 1159"/>
                  <a:gd name="T3" fmla="*/ 0 h 1159"/>
                  <a:gd name="T4" fmla="*/ 0 w 1159"/>
                  <a:gd name="T5" fmla="*/ 274 h 1159"/>
                  <a:gd name="T6" fmla="*/ 0 w 1159"/>
                  <a:gd name="T7" fmla="*/ 885 h 1159"/>
                  <a:gd name="T8" fmla="*/ 274 w 1159"/>
                  <a:gd name="T9" fmla="*/ 1159 h 1159"/>
                  <a:gd name="T10" fmla="*/ 885 w 1159"/>
                  <a:gd name="T11" fmla="*/ 1159 h 1159"/>
                  <a:gd name="T12" fmla="*/ 1159 w 1159"/>
                  <a:gd name="T13" fmla="*/ 885 h 1159"/>
                  <a:gd name="T14" fmla="*/ 1159 w 1159"/>
                  <a:gd name="T15" fmla="*/ 274 h 1159"/>
                  <a:gd name="T16" fmla="*/ 885 w 1159"/>
                  <a:gd name="T17" fmla="*/ 0 h 1159"/>
                  <a:gd name="T18" fmla="*/ 867 w 1159"/>
                  <a:gd name="T19" fmla="*/ 708 h 1159"/>
                  <a:gd name="T20" fmla="*/ 708 w 1159"/>
                  <a:gd name="T21" fmla="*/ 867 h 1159"/>
                  <a:gd name="T22" fmla="*/ 451 w 1159"/>
                  <a:gd name="T23" fmla="*/ 867 h 1159"/>
                  <a:gd name="T24" fmla="*/ 292 w 1159"/>
                  <a:gd name="T25" fmla="*/ 708 h 1159"/>
                  <a:gd name="T26" fmla="*/ 292 w 1159"/>
                  <a:gd name="T27" fmla="*/ 451 h 1159"/>
                  <a:gd name="T28" fmla="*/ 451 w 1159"/>
                  <a:gd name="T29" fmla="*/ 292 h 1159"/>
                  <a:gd name="T30" fmla="*/ 708 w 1159"/>
                  <a:gd name="T31" fmla="*/ 292 h 1159"/>
                  <a:gd name="T32" fmla="*/ 867 w 1159"/>
                  <a:gd name="T33" fmla="*/ 451 h 1159"/>
                  <a:gd name="T34" fmla="*/ 867 w 1159"/>
                  <a:gd name="T35" fmla="*/ 708 h 1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59" h="1159">
                    <a:moveTo>
                      <a:pt x="885" y="0"/>
                    </a:moveTo>
                    <a:cubicBezTo>
                      <a:pt x="274" y="0"/>
                      <a:pt x="274" y="0"/>
                      <a:pt x="274" y="0"/>
                    </a:cubicBezTo>
                    <a:cubicBezTo>
                      <a:pt x="123" y="0"/>
                      <a:pt x="0" y="123"/>
                      <a:pt x="0" y="274"/>
                    </a:cubicBezTo>
                    <a:cubicBezTo>
                      <a:pt x="0" y="885"/>
                      <a:pt x="0" y="885"/>
                      <a:pt x="0" y="885"/>
                    </a:cubicBezTo>
                    <a:cubicBezTo>
                      <a:pt x="0" y="1036"/>
                      <a:pt x="123" y="1159"/>
                      <a:pt x="274" y="1159"/>
                    </a:cubicBezTo>
                    <a:cubicBezTo>
                      <a:pt x="885" y="1159"/>
                      <a:pt x="885" y="1159"/>
                      <a:pt x="885" y="1159"/>
                    </a:cubicBezTo>
                    <a:cubicBezTo>
                      <a:pt x="1036" y="1159"/>
                      <a:pt x="1159" y="1036"/>
                      <a:pt x="1159" y="885"/>
                    </a:cubicBezTo>
                    <a:cubicBezTo>
                      <a:pt x="1159" y="274"/>
                      <a:pt x="1159" y="274"/>
                      <a:pt x="1159" y="274"/>
                    </a:cubicBezTo>
                    <a:cubicBezTo>
                      <a:pt x="1159" y="123"/>
                      <a:pt x="1036" y="0"/>
                      <a:pt x="885" y="0"/>
                    </a:cubicBezTo>
                    <a:close/>
                    <a:moveTo>
                      <a:pt x="867" y="708"/>
                    </a:moveTo>
                    <a:cubicBezTo>
                      <a:pt x="867" y="796"/>
                      <a:pt x="796" y="867"/>
                      <a:pt x="708" y="867"/>
                    </a:cubicBezTo>
                    <a:cubicBezTo>
                      <a:pt x="451" y="867"/>
                      <a:pt x="451" y="867"/>
                      <a:pt x="451" y="867"/>
                    </a:cubicBezTo>
                    <a:cubicBezTo>
                      <a:pt x="363" y="867"/>
                      <a:pt x="292" y="796"/>
                      <a:pt x="292" y="708"/>
                    </a:cubicBezTo>
                    <a:cubicBezTo>
                      <a:pt x="292" y="451"/>
                      <a:pt x="292" y="451"/>
                      <a:pt x="292" y="451"/>
                    </a:cubicBezTo>
                    <a:cubicBezTo>
                      <a:pt x="292" y="363"/>
                      <a:pt x="363" y="292"/>
                      <a:pt x="451" y="292"/>
                    </a:cubicBezTo>
                    <a:cubicBezTo>
                      <a:pt x="708" y="292"/>
                      <a:pt x="708" y="292"/>
                      <a:pt x="708" y="292"/>
                    </a:cubicBezTo>
                    <a:cubicBezTo>
                      <a:pt x="796" y="292"/>
                      <a:pt x="867" y="363"/>
                      <a:pt x="867" y="451"/>
                    </a:cubicBezTo>
                    <a:lnTo>
                      <a:pt x="867" y="708"/>
                    </a:ln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0096D6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sp>
        <p:nvSpPr>
          <p:cNvPr id="4" name="Rectangle 3"/>
          <p:cNvSpPr/>
          <p:nvPr/>
        </p:nvSpPr>
        <p:spPr>
          <a:xfrm>
            <a:off x="267819" y="4881096"/>
            <a:ext cx="655212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50" dirty="0" smtClean="0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t>Network Air Quality and Interference Location with PI 3.1.x and </a:t>
            </a:r>
            <a:r>
              <a:rPr lang="en-US" sz="1050" dirty="0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t>MSE </a:t>
            </a:r>
            <a:r>
              <a:rPr lang="en-US" sz="1050" dirty="0" smtClean="0">
                <a:solidFill>
                  <a:srgbClr val="676767"/>
                </a:solidFill>
                <a:ea typeface="ＭＳ Ｐゴシック" charset="0"/>
                <a:cs typeface="ＭＳ Ｐゴシック" charset="0"/>
              </a:rPr>
              <a:t>8.0.</a:t>
            </a:r>
            <a:endParaRPr lang="en-US" sz="1050" dirty="0">
              <a:solidFill>
                <a:srgbClr val="676767"/>
              </a:solidFill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6674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000"/>
                            </p:stCondLst>
                            <p:childTnLst>
                              <p:par>
                                <p:cTn id="24" presetID="0" presetClass="path" presetSubtype="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-9.87654E-7 L -0.37795 -9.87654E-7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2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906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0"/>
                            </p:stCondLst>
                            <p:childTnLst>
                              <p:par>
                                <p:cTn id="27" presetID="27" presetClass="emph" presetSubtype="0" fill="remove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8" dur="250" autoRev="1" fill="remove"/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29" dur="250" autoRev="1" fill="remove"/>
                                        <p:tgtEl>
                                          <p:spTgt spid="23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0" dur="250" autoRev="1" fill="remove"/>
                                        <p:tgtEl>
                                          <p:spTgt spid="23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1" dur="250" autoRev="1" fill="remove"/>
                                        <p:tgtEl>
                                          <p:spTgt spid="23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500"/>
                            </p:stCondLst>
                            <p:childTnLst>
                              <p:par>
                                <p:cTn id="33" presetID="1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2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6" presetClass="emph" presetSubtype="0" repeatCount="2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 tmFilter="0, 0; .2, .5; .8, .5; 1, 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8" dur="250" autoRev="1" fill="hold"/>
                                        <p:tgtEl>
                                          <p:spTgt spid="10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49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6" presetClass="emph" presetSubtype="0" repeatCount="2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 tmFilter="0, 0; .2, .5; .8, .5; 1, 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6" dur="250" autoRev="1" fill="hold"/>
                                        <p:tgtEl>
                                          <p:spTgt spid="1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7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6" presetClass="emph" presetSubtype="0" repeatCount="2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 tmFilter="0, 0; .2, .5; .8, .5; 1, 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4" dur="250" autoRev="1" fill="hold"/>
                                        <p:tgtEl>
                                          <p:spTgt spid="11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65" presetID="53" presetClass="entr" presetSubtype="16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6" presetClass="emph" presetSubtype="0" repeatCount="2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500" tmFilter="0, 0; .2, .5; .8, .5; 1, 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2" dur="250" autoRev="1" fill="hold"/>
                                        <p:tgtEl>
                                          <p:spTgt spid="11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230" grpId="0" animBg="1"/>
      <p:bldP spid="230" grpId="1" animBg="1"/>
      <p:bldP spid="230" grpId="2" animBg="1"/>
      <p:bldP spid="23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" name="Picture 8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557" y="1342894"/>
            <a:ext cx="4828032" cy="378382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24640" y="972679"/>
            <a:ext cx="5344351" cy="4170583"/>
          </a:xfrm>
          <a:prstGeom prst="rect">
            <a:avLst/>
          </a:prstGeom>
          <a:solidFill>
            <a:schemeClr val="bg2">
              <a:alpha val="33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tter Support for Users on the Move</a:t>
            </a:r>
            <a:br>
              <a:rPr lang="en-US" dirty="0" smtClean="0"/>
            </a:br>
            <a:r>
              <a:rPr lang="en-US" sz="2000" dirty="0" smtClean="0">
                <a:solidFill>
                  <a:schemeClr val="accent1"/>
                </a:solidFill>
              </a:rPr>
              <a:t>Optimized Roaming</a:t>
            </a:r>
            <a:endParaRPr lang="en-US" sz="2000" dirty="0">
              <a:solidFill>
                <a:schemeClr val="accent1"/>
              </a:solidFill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50300" y="1317283"/>
            <a:ext cx="353391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2968AF"/>
                </a:solidFill>
                <a:ea typeface="ＭＳ Ｐゴシック" charset="0"/>
                <a:cs typeface="ＭＳ Ｐゴシック" charset="0"/>
              </a:rPr>
              <a:t>Optimized Roaming: Wireless </a:t>
            </a:r>
            <a:r>
              <a:rPr lang="en-US" sz="1400" dirty="0">
                <a:solidFill>
                  <a:srgbClr val="2968AF"/>
                </a:solidFill>
                <a:ea typeface="ＭＳ Ｐゴシック" charset="0"/>
                <a:cs typeface="ＭＳ Ｐゴシック" charset="0"/>
              </a:rPr>
              <a:t>Devices </a:t>
            </a:r>
            <a:endParaRPr lang="en-US" sz="1400" dirty="0" smtClean="0">
              <a:solidFill>
                <a:srgbClr val="2968AF"/>
              </a:solidFill>
              <a:ea typeface="ＭＳ Ｐゴシック" charset="0"/>
              <a:cs typeface="ＭＳ Ｐゴシック" charset="0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2968AF"/>
                </a:solidFill>
                <a:ea typeface="ＭＳ Ｐゴシック" charset="0"/>
                <a:cs typeface="ＭＳ Ｐゴシック" charset="0"/>
              </a:rPr>
              <a:t>Connect </a:t>
            </a:r>
            <a:r>
              <a:rPr lang="en-US" sz="1400" dirty="0">
                <a:solidFill>
                  <a:srgbClr val="2968AF"/>
                </a:solidFill>
                <a:ea typeface="ＭＳ Ｐゴシック" charset="0"/>
                <a:cs typeface="ＭＳ Ｐゴシック" charset="0"/>
              </a:rPr>
              <a:t>to the Most Effective </a:t>
            </a:r>
            <a:r>
              <a:rPr lang="en-US" sz="1400" dirty="0" smtClean="0">
                <a:solidFill>
                  <a:srgbClr val="2968AF"/>
                </a:solidFill>
                <a:ea typeface="ＭＳ Ｐゴシック" charset="0"/>
                <a:cs typeface="ＭＳ Ｐゴシック" charset="0"/>
              </a:rPr>
              <a:t>AP</a:t>
            </a:r>
            <a:endParaRPr lang="en-US" sz="1400" dirty="0">
              <a:solidFill>
                <a:srgbClr val="2968AF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55335" y="1447964"/>
            <a:ext cx="35339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2968AF"/>
                </a:solidFill>
                <a:ea typeface="ＭＳ Ｐゴシック" charset="0"/>
                <a:cs typeface="ＭＳ Ｐゴシック" charset="0"/>
              </a:rPr>
              <a:t>Client Stickiness</a:t>
            </a:r>
            <a:endParaRPr lang="en-US" sz="1400" dirty="0">
              <a:solidFill>
                <a:srgbClr val="2968AF"/>
              </a:solidFill>
              <a:ea typeface="ＭＳ Ｐゴシック" charset="0"/>
              <a:cs typeface="ＭＳ Ｐゴシック" charset="0"/>
            </a:endParaRPr>
          </a:p>
        </p:txBody>
      </p:sp>
      <p:grpSp>
        <p:nvGrpSpPr>
          <p:cNvPr id="116" name="Group 115"/>
          <p:cNvGrpSpPr/>
          <p:nvPr/>
        </p:nvGrpSpPr>
        <p:grpSpPr>
          <a:xfrm>
            <a:off x="390120" y="1324863"/>
            <a:ext cx="5009567" cy="3094369"/>
            <a:chOff x="990384" y="1535274"/>
            <a:chExt cx="3857551" cy="2382778"/>
          </a:xfrm>
        </p:grpSpPr>
        <p:grpSp>
          <p:nvGrpSpPr>
            <p:cNvPr id="117" name="Group 116"/>
            <p:cNvGrpSpPr/>
            <p:nvPr/>
          </p:nvGrpSpPr>
          <p:grpSpPr>
            <a:xfrm>
              <a:off x="3328939" y="1535274"/>
              <a:ext cx="343195" cy="343195"/>
              <a:chOff x="11022921" y="-2056847"/>
              <a:chExt cx="904242" cy="904242"/>
            </a:xfrm>
          </p:grpSpPr>
          <p:sp>
            <p:nvSpPr>
              <p:cNvPr id="182" name="Oval 181"/>
              <p:cNvSpPr/>
              <p:nvPr/>
            </p:nvSpPr>
            <p:spPr>
              <a:xfrm>
                <a:off x="11022921" y="-2056847"/>
                <a:ext cx="904242" cy="904242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chemeClr val="accent4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 smtClean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83" name="Group 182"/>
              <p:cNvGrpSpPr/>
              <p:nvPr/>
            </p:nvGrpSpPr>
            <p:grpSpPr>
              <a:xfrm>
                <a:off x="11228154" y="-1852412"/>
                <a:ext cx="493776" cy="495372"/>
                <a:chOff x="6003191" y="4235559"/>
                <a:chExt cx="493776" cy="495372"/>
              </a:xfrm>
              <a:solidFill>
                <a:schemeClr val="accent4"/>
              </a:solidFill>
            </p:grpSpPr>
            <p:sp>
              <p:nvSpPr>
                <p:cNvPr id="184" name="Freeform 14"/>
                <p:cNvSpPr>
                  <a:spLocks noEditPoints="1"/>
                </p:cNvSpPr>
                <p:nvPr/>
              </p:nvSpPr>
              <p:spPr bwMode="auto">
                <a:xfrm>
                  <a:off x="6141153" y="4374017"/>
                  <a:ext cx="217853" cy="218456"/>
                </a:xfrm>
                <a:custGeom>
                  <a:avLst/>
                  <a:gdLst>
                    <a:gd name="T0" fmla="*/ 384 w 511"/>
                    <a:gd name="T1" fmla="*/ 0 h 511"/>
                    <a:gd name="T2" fmla="*/ 127 w 511"/>
                    <a:gd name="T3" fmla="*/ 0 h 511"/>
                    <a:gd name="T4" fmla="*/ 0 w 511"/>
                    <a:gd name="T5" fmla="*/ 127 h 511"/>
                    <a:gd name="T6" fmla="*/ 0 w 511"/>
                    <a:gd name="T7" fmla="*/ 384 h 511"/>
                    <a:gd name="T8" fmla="*/ 127 w 511"/>
                    <a:gd name="T9" fmla="*/ 511 h 511"/>
                    <a:gd name="T10" fmla="*/ 384 w 511"/>
                    <a:gd name="T11" fmla="*/ 511 h 511"/>
                    <a:gd name="T12" fmla="*/ 511 w 511"/>
                    <a:gd name="T13" fmla="*/ 384 h 511"/>
                    <a:gd name="T14" fmla="*/ 511 w 511"/>
                    <a:gd name="T15" fmla="*/ 127 h 511"/>
                    <a:gd name="T16" fmla="*/ 384 w 511"/>
                    <a:gd name="T17" fmla="*/ 0 h 511"/>
                    <a:gd name="T18" fmla="*/ 275 w 511"/>
                    <a:gd name="T19" fmla="*/ 85 h 511"/>
                    <a:gd name="T20" fmla="*/ 236 w 511"/>
                    <a:gd name="T21" fmla="*/ 85 h 511"/>
                    <a:gd name="T22" fmla="*/ 236 w 511"/>
                    <a:gd name="T23" fmla="*/ 45 h 511"/>
                    <a:gd name="T24" fmla="*/ 275 w 511"/>
                    <a:gd name="T25" fmla="*/ 45 h 511"/>
                    <a:gd name="T26" fmla="*/ 275 w 511"/>
                    <a:gd name="T27" fmla="*/ 85 h 5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11" h="511">
                      <a:moveTo>
                        <a:pt x="384" y="0"/>
                      </a:moveTo>
                      <a:cubicBezTo>
                        <a:pt x="127" y="0"/>
                        <a:pt x="127" y="0"/>
                        <a:pt x="127" y="0"/>
                      </a:cubicBezTo>
                      <a:cubicBezTo>
                        <a:pt x="57" y="0"/>
                        <a:pt x="0" y="57"/>
                        <a:pt x="0" y="127"/>
                      </a:cubicBezTo>
                      <a:cubicBezTo>
                        <a:pt x="0" y="384"/>
                        <a:pt x="0" y="384"/>
                        <a:pt x="0" y="384"/>
                      </a:cubicBezTo>
                      <a:cubicBezTo>
                        <a:pt x="0" y="454"/>
                        <a:pt x="57" y="511"/>
                        <a:pt x="127" y="511"/>
                      </a:cubicBezTo>
                      <a:cubicBezTo>
                        <a:pt x="384" y="511"/>
                        <a:pt x="384" y="511"/>
                        <a:pt x="384" y="511"/>
                      </a:cubicBezTo>
                      <a:cubicBezTo>
                        <a:pt x="454" y="511"/>
                        <a:pt x="511" y="454"/>
                        <a:pt x="511" y="384"/>
                      </a:cubicBezTo>
                      <a:cubicBezTo>
                        <a:pt x="511" y="127"/>
                        <a:pt x="511" y="127"/>
                        <a:pt x="511" y="127"/>
                      </a:cubicBezTo>
                      <a:cubicBezTo>
                        <a:pt x="511" y="57"/>
                        <a:pt x="454" y="0"/>
                        <a:pt x="384" y="0"/>
                      </a:cubicBezTo>
                      <a:close/>
                      <a:moveTo>
                        <a:pt x="275" y="85"/>
                      </a:moveTo>
                      <a:cubicBezTo>
                        <a:pt x="236" y="85"/>
                        <a:pt x="236" y="85"/>
                        <a:pt x="236" y="85"/>
                      </a:cubicBezTo>
                      <a:cubicBezTo>
                        <a:pt x="236" y="45"/>
                        <a:pt x="236" y="45"/>
                        <a:pt x="236" y="45"/>
                      </a:cubicBezTo>
                      <a:cubicBezTo>
                        <a:pt x="275" y="45"/>
                        <a:pt x="275" y="45"/>
                        <a:pt x="275" y="45"/>
                      </a:cubicBezTo>
                      <a:lnTo>
                        <a:pt x="275" y="8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96D6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185" name="Freeform 184"/>
                <p:cNvSpPr>
                  <a:spLocks noEditPoints="1"/>
                </p:cNvSpPr>
                <p:nvPr/>
              </p:nvSpPr>
              <p:spPr bwMode="auto">
                <a:xfrm>
                  <a:off x="6003191" y="4235559"/>
                  <a:ext cx="493776" cy="495372"/>
                </a:xfrm>
                <a:custGeom>
                  <a:avLst/>
                  <a:gdLst>
                    <a:gd name="T0" fmla="*/ 885 w 1159"/>
                    <a:gd name="T1" fmla="*/ 0 h 1159"/>
                    <a:gd name="T2" fmla="*/ 274 w 1159"/>
                    <a:gd name="T3" fmla="*/ 0 h 1159"/>
                    <a:gd name="T4" fmla="*/ 0 w 1159"/>
                    <a:gd name="T5" fmla="*/ 274 h 1159"/>
                    <a:gd name="T6" fmla="*/ 0 w 1159"/>
                    <a:gd name="T7" fmla="*/ 885 h 1159"/>
                    <a:gd name="T8" fmla="*/ 274 w 1159"/>
                    <a:gd name="T9" fmla="*/ 1159 h 1159"/>
                    <a:gd name="T10" fmla="*/ 885 w 1159"/>
                    <a:gd name="T11" fmla="*/ 1159 h 1159"/>
                    <a:gd name="T12" fmla="*/ 1159 w 1159"/>
                    <a:gd name="T13" fmla="*/ 885 h 1159"/>
                    <a:gd name="T14" fmla="*/ 1159 w 1159"/>
                    <a:gd name="T15" fmla="*/ 274 h 1159"/>
                    <a:gd name="T16" fmla="*/ 885 w 1159"/>
                    <a:gd name="T17" fmla="*/ 0 h 1159"/>
                    <a:gd name="T18" fmla="*/ 867 w 1159"/>
                    <a:gd name="T19" fmla="*/ 708 h 1159"/>
                    <a:gd name="T20" fmla="*/ 708 w 1159"/>
                    <a:gd name="T21" fmla="*/ 867 h 1159"/>
                    <a:gd name="T22" fmla="*/ 451 w 1159"/>
                    <a:gd name="T23" fmla="*/ 867 h 1159"/>
                    <a:gd name="T24" fmla="*/ 292 w 1159"/>
                    <a:gd name="T25" fmla="*/ 708 h 1159"/>
                    <a:gd name="T26" fmla="*/ 292 w 1159"/>
                    <a:gd name="T27" fmla="*/ 451 h 1159"/>
                    <a:gd name="T28" fmla="*/ 451 w 1159"/>
                    <a:gd name="T29" fmla="*/ 292 h 1159"/>
                    <a:gd name="T30" fmla="*/ 708 w 1159"/>
                    <a:gd name="T31" fmla="*/ 292 h 1159"/>
                    <a:gd name="T32" fmla="*/ 867 w 1159"/>
                    <a:gd name="T33" fmla="*/ 451 h 1159"/>
                    <a:gd name="T34" fmla="*/ 867 w 1159"/>
                    <a:gd name="T35" fmla="*/ 708 h 11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159" h="1159">
                      <a:moveTo>
                        <a:pt x="885" y="0"/>
                      </a:moveTo>
                      <a:cubicBezTo>
                        <a:pt x="274" y="0"/>
                        <a:pt x="274" y="0"/>
                        <a:pt x="274" y="0"/>
                      </a:cubicBezTo>
                      <a:cubicBezTo>
                        <a:pt x="123" y="0"/>
                        <a:pt x="0" y="123"/>
                        <a:pt x="0" y="274"/>
                      </a:cubicBezTo>
                      <a:cubicBezTo>
                        <a:pt x="0" y="885"/>
                        <a:pt x="0" y="885"/>
                        <a:pt x="0" y="885"/>
                      </a:cubicBezTo>
                      <a:cubicBezTo>
                        <a:pt x="0" y="1036"/>
                        <a:pt x="123" y="1159"/>
                        <a:pt x="274" y="1159"/>
                      </a:cubicBezTo>
                      <a:cubicBezTo>
                        <a:pt x="885" y="1159"/>
                        <a:pt x="885" y="1159"/>
                        <a:pt x="885" y="1159"/>
                      </a:cubicBezTo>
                      <a:cubicBezTo>
                        <a:pt x="1036" y="1159"/>
                        <a:pt x="1159" y="1036"/>
                        <a:pt x="1159" y="885"/>
                      </a:cubicBezTo>
                      <a:cubicBezTo>
                        <a:pt x="1159" y="274"/>
                        <a:pt x="1159" y="274"/>
                        <a:pt x="1159" y="274"/>
                      </a:cubicBezTo>
                      <a:cubicBezTo>
                        <a:pt x="1159" y="123"/>
                        <a:pt x="1036" y="0"/>
                        <a:pt x="885" y="0"/>
                      </a:cubicBezTo>
                      <a:close/>
                      <a:moveTo>
                        <a:pt x="867" y="708"/>
                      </a:moveTo>
                      <a:cubicBezTo>
                        <a:pt x="867" y="796"/>
                        <a:pt x="796" y="867"/>
                        <a:pt x="708" y="867"/>
                      </a:cubicBezTo>
                      <a:cubicBezTo>
                        <a:pt x="451" y="867"/>
                        <a:pt x="451" y="867"/>
                        <a:pt x="451" y="867"/>
                      </a:cubicBezTo>
                      <a:cubicBezTo>
                        <a:pt x="363" y="867"/>
                        <a:pt x="292" y="796"/>
                        <a:pt x="292" y="708"/>
                      </a:cubicBezTo>
                      <a:cubicBezTo>
                        <a:pt x="292" y="451"/>
                        <a:pt x="292" y="451"/>
                        <a:pt x="292" y="451"/>
                      </a:cubicBezTo>
                      <a:cubicBezTo>
                        <a:pt x="292" y="363"/>
                        <a:pt x="363" y="292"/>
                        <a:pt x="451" y="292"/>
                      </a:cubicBezTo>
                      <a:cubicBezTo>
                        <a:pt x="708" y="292"/>
                        <a:pt x="708" y="292"/>
                        <a:pt x="708" y="292"/>
                      </a:cubicBezTo>
                      <a:cubicBezTo>
                        <a:pt x="796" y="292"/>
                        <a:pt x="867" y="363"/>
                        <a:pt x="867" y="451"/>
                      </a:cubicBezTo>
                      <a:lnTo>
                        <a:pt x="867" y="7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96D6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</p:grpSp>
        </p:grpSp>
        <p:grpSp>
          <p:nvGrpSpPr>
            <p:cNvPr id="118" name="Group 117"/>
            <p:cNvGrpSpPr/>
            <p:nvPr/>
          </p:nvGrpSpPr>
          <p:grpSpPr>
            <a:xfrm>
              <a:off x="3518196" y="3543985"/>
              <a:ext cx="343195" cy="343195"/>
              <a:chOff x="11022921" y="-2056847"/>
              <a:chExt cx="904242" cy="904242"/>
            </a:xfrm>
          </p:grpSpPr>
          <p:sp>
            <p:nvSpPr>
              <p:cNvPr id="178" name="Oval 177"/>
              <p:cNvSpPr/>
              <p:nvPr/>
            </p:nvSpPr>
            <p:spPr>
              <a:xfrm>
                <a:off x="11022921" y="-2056847"/>
                <a:ext cx="904242" cy="904242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chemeClr val="accent4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79" name="Group 178"/>
              <p:cNvGrpSpPr/>
              <p:nvPr/>
            </p:nvGrpSpPr>
            <p:grpSpPr>
              <a:xfrm>
                <a:off x="11228154" y="-1852412"/>
                <a:ext cx="493776" cy="495372"/>
                <a:chOff x="6003191" y="4235559"/>
                <a:chExt cx="493776" cy="495372"/>
              </a:xfrm>
              <a:solidFill>
                <a:schemeClr val="accent4"/>
              </a:solidFill>
            </p:grpSpPr>
            <p:sp>
              <p:nvSpPr>
                <p:cNvPr id="180" name="Freeform 14"/>
                <p:cNvSpPr>
                  <a:spLocks noEditPoints="1"/>
                </p:cNvSpPr>
                <p:nvPr/>
              </p:nvSpPr>
              <p:spPr bwMode="auto">
                <a:xfrm>
                  <a:off x="6141153" y="4374017"/>
                  <a:ext cx="217853" cy="218456"/>
                </a:xfrm>
                <a:custGeom>
                  <a:avLst/>
                  <a:gdLst>
                    <a:gd name="T0" fmla="*/ 384 w 511"/>
                    <a:gd name="T1" fmla="*/ 0 h 511"/>
                    <a:gd name="T2" fmla="*/ 127 w 511"/>
                    <a:gd name="T3" fmla="*/ 0 h 511"/>
                    <a:gd name="T4" fmla="*/ 0 w 511"/>
                    <a:gd name="T5" fmla="*/ 127 h 511"/>
                    <a:gd name="T6" fmla="*/ 0 w 511"/>
                    <a:gd name="T7" fmla="*/ 384 h 511"/>
                    <a:gd name="T8" fmla="*/ 127 w 511"/>
                    <a:gd name="T9" fmla="*/ 511 h 511"/>
                    <a:gd name="T10" fmla="*/ 384 w 511"/>
                    <a:gd name="T11" fmla="*/ 511 h 511"/>
                    <a:gd name="T12" fmla="*/ 511 w 511"/>
                    <a:gd name="T13" fmla="*/ 384 h 511"/>
                    <a:gd name="T14" fmla="*/ 511 w 511"/>
                    <a:gd name="T15" fmla="*/ 127 h 511"/>
                    <a:gd name="T16" fmla="*/ 384 w 511"/>
                    <a:gd name="T17" fmla="*/ 0 h 511"/>
                    <a:gd name="T18" fmla="*/ 275 w 511"/>
                    <a:gd name="T19" fmla="*/ 85 h 511"/>
                    <a:gd name="T20" fmla="*/ 236 w 511"/>
                    <a:gd name="T21" fmla="*/ 85 h 511"/>
                    <a:gd name="T22" fmla="*/ 236 w 511"/>
                    <a:gd name="T23" fmla="*/ 45 h 511"/>
                    <a:gd name="T24" fmla="*/ 275 w 511"/>
                    <a:gd name="T25" fmla="*/ 45 h 511"/>
                    <a:gd name="T26" fmla="*/ 275 w 511"/>
                    <a:gd name="T27" fmla="*/ 85 h 5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11" h="511">
                      <a:moveTo>
                        <a:pt x="384" y="0"/>
                      </a:moveTo>
                      <a:cubicBezTo>
                        <a:pt x="127" y="0"/>
                        <a:pt x="127" y="0"/>
                        <a:pt x="127" y="0"/>
                      </a:cubicBezTo>
                      <a:cubicBezTo>
                        <a:pt x="57" y="0"/>
                        <a:pt x="0" y="57"/>
                        <a:pt x="0" y="127"/>
                      </a:cubicBezTo>
                      <a:cubicBezTo>
                        <a:pt x="0" y="384"/>
                        <a:pt x="0" y="384"/>
                        <a:pt x="0" y="384"/>
                      </a:cubicBezTo>
                      <a:cubicBezTo>
                        <a:pt x="0" y="454"/>
                        <a:pt x="57" y="511"/>
                        <a:pt x="127" y="511"/>
                      </a:cubicBezTo>
                      <a:cubicBezTo>
                        <a:pt x="384" y="511"/>
                        <a:pt x="384" y="511"/>
                        <a:pt x="384" y="511"/>
                      </a:cubicBezTo>
                      <a:cubicBezTo>
                        <a:pt x="454" y="511"/>
                        <a:pt x="511" y="454"/>
                        <a:pt x="511" y="384"/>
                      </a:cubicBezTo>
                      <a:cubicBezTo>
                        <a:pt x="511" y="127"/>
                        <a:pt x="511" y="127"/>
                        <a:pt x="511" y="127"/>
                      </a:cubicBezTo>
                      <a:cubicBezTo>
                        <a:pt x="511" y="57"/>
                        <a:pt x="454" y="0"/>
                        <a:pt x="384" y="0"/>
                      </a:cubicBezTo>
                      <a:close/>
                      <a:moveTo>
                        <a:pt x="275" y="85"/>
                      </a:moveTo>
                      <a:cubicBezTo>
                        <a:pt x="236" y="85"/>
                        <a:pt x="236" y="85"/>
                        <a:pt x="236" y="85"/>
                      </a:cubicBezTo>
                      <a:cubicBezTo>
                        <a:pt x="236" y="45"/>
                        <a:pt x="236" y="45"/>
                        <a:pt x="236" y="45"/>
                      </a:cubicBezTo>
                      <a:cubicBezTo>
                        <a:pt x="275" y="45"/>
                        <a:pt x="275" y="45"/>
                        <a:pt x="275" y="45"/>
                      </a:cubicBezTo>
                      <a:lnTo>
                        <a:pt x="275" y="8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96D6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181" name="Freeform 180"/>
                <p:cNvSpPr>
                  <a:spLocks noEditPoints="1"/>
                </p:cNvSpPr>
                <p:nvPr/>
              </p:nvSpPr>
              <p:spPr bwMode="auto">
                <a:xfrm>
                  <a:off x="6003191" y="4235559"/>
                  <a:ext cx="493776" cy="495372"/>
                </a:xfrm>
                <a:custGeom>
                  <a:avLst/>
                  <a:gdLst>
                    <a:gd name="T0" fmla="*/ 885 w 1159"/>
                    <a:gd name="T1" fmla="*/ 0 h 1159"/>
                    <a:gd name="T2" fmla="*/ 274 w 1159"/>
                    <a:gd name="T3" fmla="*/ 0 h 1159"/>
                    <a:gd name="T4" fmla="*/ 0 w 1159"/>
                    <a:gd name="T5" fmla="*/ 274 h 1159"/>
                    <a:gd name="T6" fmla="*/ 0 w 1159"/>
                    <a:gd name="T7" fmla="*/ 885 h 1159"/>
                    <a:gd name="T8" fmla="*/ 274 w 1159"/>
                    <a:gd name="T9" fmla="*/ 1159 h 1159"/>
                    <a:gd name="T10" fmla="*/ 885 w 1159"/>
                    <a:gd name="T11" fmla="*/ 1159 h 1159"/>
                    <a:gd name="T12" fmla="*/ 1159 w 1159"/>
                    <a:gd name="T13" fmla="*/ 885 h 1159"/>
                    <a:gd name="T14" fmla="*/ 1159 w 1159"/>
                    <a:gd name="T15" fmla="*/ 274 h 1159"/>
                    <a:gd name="T16" fmla="*/ 885 w 1159"/>
                    <a:gd name="T17" fmla="*/ 0 h 1159"/>
                    <a:gd name="T18" fmla="*/ 867 w 1159"/>
                    <a:gd name="T19" fmla="*/ 708 h 1159"/>
                    <a:gd name="T20" fmla="*/ 708 w 1159"/>
                    <a:gd name="T21" fmla="*/ 867 h 1159"/>
                    <a:gd name="T22" fmla="*/ 451 w 1159"/>
                    <a:gd name="T23" fmla="*/ 867 h 1159"/>
                    <a:gd name="T24" fmla="*/ 292 w 1159"/>
                    <a:gd name="T25" fmla="*/ 708 h 1159"/>
                    <a:gd name="T26" fmla="*/ 292 w 1159"/>
                    <a:gd name="T27" fmla="*/ 451 h 1159"/>
                    <a:gd name="T28" fmla="*/ 451 w 1159"/>
                    <a:gd name="T29" fmla="*/ 292 h 1159"/>
                    <a:gd name="T30" fmla="*/ 708 w 1159"/>
                    <a:gd name="T31" fmla="*/ 292 h 1159"/>
                    <a:gd name="T32" fmla="*/ 867 w 1159"/>
                    <a:gd name="T33" fmla="*/ 451 h 1159"/>
                    <a:gd name="T34" fmla="*/ 867 w 1159"/>
                    <a:gd name="T35" fmla="*/ 708 h 11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159" h="1159">
                      <a:moveTo>
                        <a:pt x="885" y="0"/>
                      </a:moveTo>
                      <a:cubicBezTo>
                        <a:pt x="274" y="0"/>
                        <a:pt x="274" y="0"/>
                        <a:pt x="274" y="0"/>
                      </a:cubicBezTo>
                      <a:cubicBezTo>
                        <a:pt x="123" y="0"/>
                        <a:pt x="0" y="123"/>
                        <a:pt x="0" y="274"/>
                      </a:cubicBezTo>
                      <a:cubicBezTo>
                        <a:pt x="0" y="885"/>
                        <a:pt x="0" y="885"/>
                        <a:pt x="0" y="885"/>
                      </a:cubicBezTo>
                      <a:cubicBezTo>
                        <a:pt x="0" y="1036"/>
                        <a:pt x="123" y="1159"/>
                        <a:pt x="274" y="1159"/>
                      </a:cubicBezTo>
                      <a:cubicBezTo>
                        <a:pt x="885" y="1159"/>
                        <a:pt x="885" y="1159"/>
                        <a:pt x="885" y="1159"/>
                      </a:cubicBezTo>
                      <a:cubicBezTo>
                        <a:pt x="1036" y="1159"/>
                        <a:pt x="1159" y="1036"/>
                        <a:pt x="1159" y="885"/>
                      </a:cubicBezTo>
                      <a:cubicBezTo>
                        <a:pt x="1159" y="274"/>
                        <a:pt x="1159" y="274"/>
                        <a:pt x="1159" y="274"/>
                      </a:cubicBezTo>
                      <a:cubicBezTo>
                        <a:pt x="1159" y="123"/>
                        <a:pt x="1036" y="0"/>
                        <a:pt x="885" y="0"/>
                      </a:cubicBezTo>
                      <a:close/>
                      <a:moveTo>
                        <a:pt x="867" y="708"/>
                      </a:moveTo>
                      <a:cubicBezTo>
                        <a:pt x="867" y="796"/>
                        <a:pt x="796" y="867"/>
                        <a:pt x="708" y="867"/>
                      </a:cubicBezTo>
                      <a:cubicBezTo>
                        <a:pt x="451" y="867"/>
                        <a:pt x="451" y="867"/>
                        <a:pt x="451" y="867"/>
                      </a:cubicBezTo>
                      <a:cubicBezTo>
                        <a:pt x="363" y="867"/>
                        <a:pt x="292" y="796"/>
                        <a:pt x="292" y="708"/>
                      </a:cubicBezTo>
                      <a:cubicBezTo>
                        <a:pt x="292" y="451"/>
                        <a:pt x="292" y="451"/>
                        <a:pt x="292" y="451"/>
                      </a:cubicBezTo>
                      <a:cubicBezTo>
                        <a:pt x="292" y="363"/>
                        <a:pt x="363" y="292"/>
                        <a:pt x="451" y="292"/>
                      </a:cubicBezTo>
                      <a:cubicBezTo>
                        <a:pt x="708" y="292"/>
                        <a:pt x="708" y="292"/>
                        <a:pt x="708" y="292"/>
                      </a:cubicBezTo>
                      <a:cubicBezTo>
                        <a:pt x="796" y="292"/>
                        <a:pt x="867" y="363"/>
                        <a:pt x="867" y="451"/>
                      </a:cubicBezTo>
                      <a:lnTo>
                        <a:pt x="867" y="7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96D6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</p:grpSp>
        </p:grpSp>
        <p:grpSp>
          <p:nvGrpSpPr>
            <p:cNvPr id="126" name="Group 125"/>
            <p:cNvGrpSpPr/>
            <p:nvPr/>
          </p:nvGrpSpPr>
          <p:grpSpPr>
            <a:xfrm>
              <a:off x="2924832" y="2354546"/>
              <a:ext cx="343195" cy="343195"/>
              <a:chOff x="11022921" y="-2056847"/>
              <a:chExt cx="904242" cy="904242"/>
            </a:xfrm>
          </p:grpSpPr>
          <p:sp>
            <p:nvSpPr>
              <p:cNvPr id="174" name="Oval 173"/>
              <p:cNvSpPr/>
              <p:nvPr/>
            </p:nvSpPr>
            <p:spPr>
              <a:xfrm>
                <a:off x="11022921" y="-2056847"/>
                <a:ext cx="904242" cy="904242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chemeClr val="accent4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75" name="Group 174"/>
              <p:cNvGrpSpPr/>
              <p:nvPr/>
            </p:nvGrpSpPr>
            <p:grpSpPr>
              <a:xfrm>
                <a:off x="11228154" y="-1852412"/>
                <a:ext cx="493776" cy="495372"/>
                <a:chOff x="6003191" y="4235559"/>
                <a:chExt cx="493776" cy="495372"/>
              </a:xfrm>
              <a:solidFill>
                <a:schemeClr val="accent4"/>
              </a:solidFill>
            </p:grpSpPr>
            <p:sp>
              <p:nvSpPr>
                <p:cNvPr id="176" name="Freeform 14"/>
                <p:cNvSpPr>
                  <a:spLocks noEditPoints="1"/>
                </p:cNvSpPr>
                <p:nvPr/>
              </p:nvSpPr>
              <p:spPr bwMode="auto">
                <a:xfrm>
                  <a:off x="6141153" y="4374017"/>
                  <a:ext cx="217853" cy="218456"/>
                </a:xfrm>
                <a:custGeom>
                  <a:avLst/>
                  <a:gdLst>
                    <a:gd name="T0" fmla="*/ 384 w 511"/>
                    <a:gd name="T1" fmla="*/ 0 h 511"/>
                    <a:gd name="T2" fmla="*/ 127 w 511"/>
                    <a:gd name="T3" fmla="*/ 0 h 511"/>
                    <a:gd name="T4" fmla="*/ 0 w 511"/>
                    <a:gd name="T5" fmla="*/ 127 h 511"/>
                    <a:gd name="T6" fmla="*/ 0 w 511"/>
                    <a:gd name="T7" fmla="*/ 384 h 511"/>
                    <a:gd name="T8" fmla="*/ 127 w 511"/>
                    <a:gd name="T9" fmla="*/ 511 h 511"/>
                    <a:gd name="T10" fmla="*/ 384 w 511"/>
                    <a:gd name="T11" fmla="*/ 511 h 511"/>
                    <a:gd name="T12" fmla="*/ 511 w 511"/>
                    <a:gd name="T13" fmla="*/ 384 h 511"/>
                    <a:gd name="T14" fmla="*/ 511 w 511"/>
                    <a:gd name="T15" fmla="*/ 127 h 511"/>
                    <a:gd name="T16" fmla="*/ 384 w 511"/>
                    <a:gd name="T17" fmla="*/ 0 h 511"/>
                    <a:gd name="T18" fmla="*/ 275 w 511"/>
                    <a:gd name="T19" fmla="*/ 85 h 511"/>
                    <a:gd name="T20" fmla="*/ 236 w 511"/>
                    <a:gd name="T21" fmla="*/ 85 h 511"/>
                    <a:gd name="T22" fmla="*/ 236 w 511"/>
                    <a:gd name="T23" fmla="*/ 45 h 511"/>
                    <a:gd name="T24" fmla="*/ 275 w 511"/>
                    <a:gd name="T25" fmla="*/ 45 h 511"/>
                    <a:gd name="T26" fmla="*/ 275 w 511"/>
                    <a:gd name="T27" fmla="*/ 85 h 5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11" h="511">
                      <a:moveTo>
                        <a:pt x="384" y="0"/>
                      </a:moveTo>
                      <a:cubicBezTo>
                        <a:pt x="127" y="0"/>
                        <a:pt x="127" y="0"/>
                        <a:pt x="127" y="0"/>
                      </a:cubicBezTo>
                      <a:cubicBezTo>
                        <a:pt x="57" y="0"/>
                        <a:pt x="0" y="57"/>
                        <a:pt x="0" y="127"/>
                      </a:cubicBezTo>
                      <a:cubicBezTo>
                        <a:pt x="0" y="384"/>
                        <a:pt x="0" y="384"/>
                        <a:pt x="0" y="384"/>
                      </a:cubicBezTo>
                      <a:cubicBezTo>
                        <a:pt x="0" y="454"/>
                        <a:pt x="57" y="511"/>
                        <a:pt x="127" y="511"/>
                      </a:cubicBezTo>
                      <a:cubicBezTo>
                        <a:pt x="384" y="511"/>
                        <a:pt x="384" y="511"/>
                        <a:pt x="384" y="511"/>
                      </a:cubicBezTo>
                      <a:cubicBezTo>
                        <a:pt x="454" y="511"/>
                        <a:pt x="511" y="454"/>
                        <a:pt x="511" y="384"/>
                      </a:cubicBezTo>
                      <a:cubicBezTo>
                        <a:pt x="511" y="127"/>
                        <a:pt x="511" y="127"/>
                        <a:pt x="511" y="127"/>
                      </a:cubicBezTo>
                      <a:cubicBezTo>
                        <a:pt x="511" y="57"/>
                        <a:pt x="454" y="0"/>
                        <a:pt x="384" y="0"/>
                      </a:cubicBezTo>
                      <a:close/>
                      <a:moveTo>
                        <a:pt x="275" y="85"/>
                      </a:moveTo>
                      <a:cubicBezTo>
                        <a:pt x="236" y="85"/>
                        <a:pt x="236" y="85"/>
                        <a:pt x="236" y="85"/>
                      </a:cubicBezTo>
                      <a:cubicBezTo>
                        <a:pt x="236" y="45"/>
                        <a:pt x="236" y="45"/>
                        <a:pt x="236" y="45"/>
                      </a:cubicBezTo>
                      <a:cubicBezTo>
                        <a:pt x="275" y="45"/>
                        <a:pt x="275" y="45"/>
                        <a:pt x="275" y="45"/>
                      </a:cubicBezTo>
                      <a:lnTo>
                        <a:pt x="275" y="8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96D6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177" name="Freeform 176"/>
                <p:cNvSpPr>
                  <a:spLocks noEditPoints="1"/>
                </p:cNvSpPr>
                <p:nvPr/>
              </p:nvSpPr>
              <p:spPr bwMode="auto">
                <a:xfrm>
                  <a:off x="6003191" y="4235559"/>
                  <a:ext cx="493776" cy="495372"/>
                </a:xfrm>
                <a:custGeom>
                  <a:avLst/>
                  <a:gdLst>
                    <a:gd name="T0" fmla="*/ 885 w 1159"/>
                    <a:gd name="T1" fmla="*/ 0 h 1159"/>
                    <a:gd name="T2" fmla="*/ 274 w 1159"/>
                    <a:gd name="T3" fmla="*/ 0 h 1159"/>
                    <a:gd name="T4" fmla="*/ 0 w 1159"/>
                    <a:gd name="T5" fmla="*/ 274 h 1159"/>
                    <a:gd name="T6" fmla="*/ 0 w 1159"/>
                    <a:gd name="T7" fmla="*/ 885 h 1159"/>
                    <a:gd name="T8" fmla="*/ 274 w 1159"/>
                    <a:gd name="T9" fmla="*/ 1159 h 1159"/>
                    <a:gd name="T10" fmla="*/ 885 w 1159"/>
                    <a:gd name="T11" fmla="*/ 1159 h 1159"/>
                    <a:gd name="T12" fmla="*/ 1159 w 1159"/>
                    <a:gd name="T13" fmla="*/ 885 h 1159"/>
                    <a:gd name="T14" fmla="*/ 1159 w 1159"/>
                    <a:gd name="T15" fmla="*/ 274 h 1159"/>
                    <a:gd name="T16" fmla="*/ 885 w 1159"/>
                    <a:gd name="T17" fmla="*/ 0 h 1159"/>
                    <a:gd name="T18" fmla="*/ 867 w 1159"/>
                    <a:gd name="T19" fmla="*/ 708 h 1159"/>
                    <a:gd name="T20" fmla="*/ 708 w 1159"/>
                    <a:gd name="T21" fmla="*/ 867 h 1159"/>
                    <a:gd name="T22" fmla="*/ 451 w 1159"/>
                    <a:gd name="T23" fmla="*/ 867 h 1159"/>
                    <a:gd name="T24" fmla="*/ 292 w 1159"/>
                    <a:gd name="T25" fmla="*/ 708 h 1159"/>
                    <a:gd name="T26" fmla="*/ 292 w 1159"/>
                    <a:gd name="T27" fmla="*/ 451 h 1159"/>
                    <a:gd name="T28" fmla="*/ 451 w 1159"/>
                    <a:gd name="T29" fmla="*/ 292 h 1159"/>
                    <a:gd name="T30" fmla="*/ 708 w 1159"/>
                    <a:gd name="T31" fmla="*/ 292 h 1159"/>
                    <a:gd name="T32" fmla="*/ 867 w 1159"/>
                    <a:gd name="T33" fmla="*/ 451 h 1159"/>
                    <a:gd name="T34" fmla="*/ 867 w 1159"/>
                    <a:gd name="T35" fmla="*/ 708 h 11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159" h="1159">
                      <a:moveTo>
                        <a:pt x="885" y="0"/>
                      </a:moveTo>
                      <a:cubicBezTo>
                        <a:pt x="274" y="0"/>
                        <a:pt x="274" y="0"/>
                        <a:pt x="274" y="0"/>
                      </a:cubicBezTo>
                      <a:cubicBezTo>
                        <a:pt x="123" y="0"/>
                        <a:pt x="0" y="123"/>
                        <a:pt x="0" y="274"/>
                      </a:cubicBezTo>
                      <a:cubicBezTo>
                        <a:pt x="0" y="885"/>
                        <a:pt x="0" y="885"/>
                        <a:pt x="0" y="885"/>
                      </a:cubicBezTo>
                      <a:cubicBezTo>
                        <a:pt x="0" y="1036"/>
                        <a:pt x="123" y="1159"/>
                        <a:pt x="274" y="1159"/>
                      </a:cubicBezTo>
                      <a:cubicBezTo>
                        <a:pt x="885" y="1159"/>
                        <a:pt x="885" y="1159"/>
                        <a:pt x="885" y="1159"/>
                      </a:cubicBezTo>
                      <a:cubicBezTo>
                        <a:pt x="1036" y="1159"/>
                        <a:pt x="1159" y="1036"/>
                        <a:pt x="1159" y="885"/>
                      </a:cubicBezTo>
                      <a:cubicBezTo>
                        <a:pt x="1159" y="274"/>
                        <a:pt x="1159" y="274"/>
                        <a:pt x="1159" y="274"/>
                      </a:cubicBezTo>
                      <a:cubicBezTo>
                        <a:pt x="1159" y="123"/>
                        <a:pt x="1036" y="0"/>
                        <a:pt x="885" y="0"/>
                      </a:cubicBezTo>
                      <a:close/>
                      <a:moveTo>
                        <a:pt x="867" y="708"/>
                      </a:moveTo>
                      <a:cubicBezTo>
                        <a:pt x="867" y="796"/>
                        <a:pt x="796" y="867"/>
                        <a:pt x="708" y="867"/>
                      </a:cubicBezTo>
                      <a:cubicBezTo>
                        <a:pt x="451" y="867"/>
                        <a:pt x="451" y="867"/>
                        <a:pt x="451" y="867"/>
                      </a:cubicBezTo>
                      <a:cubicBezTo>
                        <a:pt x="363" y="867"/>
                        <a:pt x="292" y="796"/>
                        <a:pt x="292" y="708"/>
                      </a:cubicBezTo>
                      <a:cubicBezTo>
                        <a:pt x="292" y="451"/>
                        <a:pt x="292" y="451"/>
                        <a:pt x="292" y="451"/>
                      </a:cubicBezTo>
                      <a:cubicBezTo>
                        <a:pt x="292" y="363"/>
                        <a:pt x="363" y="292"/>
                        <a:pt x="451" y="292"/>
                      </a:cubicBezTo>
                      <a:cubicBezTo>
                        <a:pt x="708" y="292"/>
                        <a:pt x="708" y="292"/>
                        <a:pt x="708" y="292"/>
                      </a:cubicBezTo>
                      <a:cubicBezTo>
                        <a:pt x="796" y="292"/>
                        <a:pt x="867" y="363"/>
                        <a:pt x="867" y="451"/>
                      </a:cubicBezTo>
                      <a:lnTo>
                        <a:pt x="867" y="7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96D6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</p:grpSp>
        </p:grpSp>
        <p:grpSp>
          <p:nvGrpSpPr>
            <p:cNvPr id="140" name="Group 139"/>
            <p:cNvGrpSpPr/>
            <p:nvPr/>
          </p:nvGrpSpPr>
          <p:grpSpPr>
            <a:xfrm>
              <a:off x="4504740" y="2251641"/>
              <a:ext cx="343195" cy="343195"/>
              <a:chOff x="11022915" y="-2056849"/>
              <a:chExt cx="904240" cy="904242"/>
            </a:xfrm>
          </p:grpSpPr>
          <p:sp>
            <p:nvSpPr>
              <p:cNvPr id="170" name="Oval 169"/>
              <p:cNvSpPr/>
              <p:nvPr/>
            </p:nvSpPr>
            <p:spPr>
              <a:xfrm>
                <a:off x="11022915" y="-2056849"/>
                <a:ext cx="904240" cy="904242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chemeClr val="accent4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71" name="Group 170"/>
              <p:cNvGrpSpPr/>
              <p:nvPr/>
            </p:nvGrpSpPr>
            <p:grpSpPr>
              <a:xfrm>
                <a:off x="11228143" y="-1852413"/>
                <a:ext cx="493775" cy="495372"/>
                <a:chOff x="6003180" y="4235558"/>
                <a:chExt cx="493775" cy="495372"/>
              </a:xfrm>
              <a:solidFill>
                <a:schemeClr val="accent4"/>
              </a:solidFill>
            </p:grpSpPr>
            <p:sp>
              <p:nvSpPr>
                <p:cNvPr id="172" name="Freeform 14"/>
                <p:cNvSpPr>
                  <a:spLocks noEditPoints="1"/>
                </p:cNvSpPr>
                <p:nvPr/>
              </p:nvSpPr>
              <p:spPr bwMode="auto">
                <a:xfrm>
                  <a:off x="6141135" y="4374014"/>
                  <a:ext cx="217852" cy="218455"/>
                </a:xfrm>
                <a:custGeom>
                  <a:avLst/>
                  <a:gdLst>
                    <a:gd name="T0" fmla="*/ 384 w 511"/>
                    <a:gd name="T1" fmla="*/ 0 h 511"/>
                    <a:gd name="T2" fmla="*/ 127 w 511"/>
                    <a:gd name="T3" fmla="*/ 0 h 511"/>
                    <a:gd name="T4" fmla="*/ 0 w 511"/>
                    <a:gd name="T5" fmla="*/ 127 h 511"/>
                    <a:gd name="T6" fmla="*/ 0 w 511"/>
                    <a:gd name="T7" fmla="*/ 384 h 511"/>
                    <a:gd name="T8" fmla="*/ 127 w 511"/>
                    <a:gd name="T9" fmla="*/ 511 h 511"/>
                    <a:gd name="T10" fmla="*/ 384 w 511"/>
                    <a:gd name="T11" fmla="*/ 511 h 511"/>
                    <a:gd name="T12" fmla="*/ 511 w 511"/>
                    <a:gd name="T13" fmla="*/ 384 h 511"/>
                    <a:gd name="T14" fmla="*/ 511 w 511"/>
                    <a:gd name="T15" fmla="*/ 127 h 511"/>
                    <a:gd name="T16" fmla="*/ 384 w 511"/>
                    <a:gd name="T17" fmla="*/ 0 h 511"/>
                    <a:gd name="T18" fmla="*/ 275 w 511"/>
                    <a:gd name="T19" fmla="*/ 85 h 511"/>
                    <a:gd name="T20" fmla="*/ 236 w 511"/>
                    <a:gd name="T21" fmla="*/ 85 h 511"/>
                    <a:gd name="T22" fmla="*/ 236 w 511"/>
                    <a:gd name="T23" fmla="*/ 45 h 511"/>
                    <a:gd name="T24" fmla="*/ 275 w 511"/>
                    <a:gd name="T25" fmla="*/ 45 h 511"/>
                    <a:gd name="T26" fmla="*/ 275 w 511"/>
                    <a:gd name="T27" fmla="*/ 85 h 5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11" h="511">
                      <a:moveTo>
                        <a:pt x="384" y="0"/>
                      </a:moveTo>
                      <a:cubicBezTo>
                        <a:pt x="127" y="0"/>
                        <a:pt x="127" y="0"/>
                        <a:pt x="127" y="0"/>
                      </a:cubicBezTo>
                      <a:cubicBezTo>
                        <a:pt x="57" y="0"/>
                        <a:pt x="0" y="57"/>
                        <a:pt x="0" y="127"/>
                      </a:cubicBezTo>
                      <a:cubicBezTo>
                        <a:pt x="0" y="384"/>
                        <a:pt x="0" y="384"/>
                        <a:pt x="0" y="384"/>
                      </a:cubicBezTo>
                      <a:cubicBezTo>
                        <a:pt x="0" y="454"/>
                        <a:pt x="57" y="511"/>
                        <a:pt x="127" y="511"/>
                      </a:cubicBezTo>
                      <a:cubicBezTo>
                        <a:pt x="384" y="511"/>
                        <a:pt x="384" y="511"/>
                        <a:pt x="384" y="511"/>
                      </a:cubicBezTo>
                      <a:cubicBezTo>
                        <a:pt x="454" y="511"/>
                        <a:pt x="511" y="454"/>
                        <a:pt x="511" y="384"/>
                      </a:cubicBezTo>
                      <a:cubicBezTo>
                        <a:pt x="511" y="127"/>
                        <a:pt x="511" y="127"/>
                        <a:pt x="511" y="127"/>
                      </a:cubicBezTo>
                      <a:cubicBezTo>
                        <a:pt x="511" y="57"/>
                        <a:pt x="454" y="0"/>
                        <a:pt x="384" y="0"/>
                      </a:cubicBezTo>
                      <a:close/>
                      <a:moveTo>
                        <a:pt x="275" y="85"/>
                      </a:moveTo>
                      <a:cubicBezTo>
                        <a:pt x="236" y="85"/>
                        <a:pt x="236" y="85"/>
                        <a:pt x="236" y="85"/>
                      </a:cubicBezTo>
                      <a:cubicBezTo>
                        <a:pt x="236" y="45"/>
                        <a:pt x="236" y="45"/>
                        <a:pt x="236" y="45"/>
                      </a:cubicBezTo>
                      <a:cubicBezTo>
                        <a:pt x="275" y="45"/>
                        <a:pt x="275" y="45"/>
                        <a:pt x="275" y="45"/>
                      </a:cubicBezTo>
                      <a:lnTo>
                        <a:pt x="275" y="8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96D6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173" name="Freeform 172"/>
                <p:cNvSpPr>
                  <a:spLocks noEditPoints="1"/>
                </p:cNvSpPr>
                <p:nvPr/>
              </p:nvSpPr>
              <p:spPr bwMode="auto">
                <a:xfrm>
                  <a:off x="6003180" y="4235558"/>
                  <a:ext cx="493775" cy="495372"/>
                </a:xfrm>
                <a:custGeom>
                  <a:avLst/>
                  <a:gdLst>
                    <a:gd name="T0" fmla="*/ 885 w 1159"/>
                    <a:gd name="T1" fmla="*/ 0 h 1159"/>
                    <a:gd name="T2" fmla="*/ 274 w 1159"/>
                    <a:gd name="T3" fmla="*/ 0 h 1159"/>
                    <a:gd name="T4" fmla="*/ 0 w 1159"/>
                    <a:gd name="T5" fmla="*/ 274 h 1159"/>
                    <a:gd name="T6" fmla="*/ 0 w 1159"/>
                    <a:gd name="T7" fmla="*/ 885 h 1159"/>
                    <a:gd name="T8" fmla="*/ 274 w 1159"/>
                    <a:gd name="T9" fmla="*/ 1159 h 1159"/>
                    <a:gd name="T10" fmla="*/ 885 w 1159"/>
                    <a:gd name="T11" fmla="*/ 1159 h 1159"/>
                    <a:gd name="T12" fmla="*/ 1159 w 1159"/>
                    <a:gd name="T13" fmla="*/ 885 h 1159"/>
                    <a:gd name="T14" fmla="*/ 1159 w 1159"/>
                    <a:gd name="T15" fmla="*/ 274 h 1159"/>
                    <a:gd name="T16" fmla="*/ 885 w 1159"/>
                    <a:gd name="T17" fmla="*/ 0 h 1159"/>
                    <a:gd name="T18" fmla="*/ 867 w 1159"/>
                    <a:gd name="T19" fmla="*/ 708 h 1159"/>
                    <a:gd name="T20" fmla="*/ 708 w 1159"/>
                    <a:gd name="T21" fmla="*/ 867 h 1159"/>
                    <a:gd name="T22" fmla="*/ 451 w 1159"/>
                    <a:gd name="T23" fmla="*/ 867 h 1159"/>
                    <a:gd name="T24" fmla="*/ 292 w 1159"/>
                    <a:gd name="T25" fmla="*/ 708 h 1159"/>
                    <a:gd name="T26" fmla="*/ 292 w 1159"/>
                    <a:gd name="T27" fmla="*/ 451 h 1159"/>
                    <a:gd name="T28" fmla="*/ 451 w 1159"/>
                    <a:gd name="T29" fmla="*/ 292 h 1159"/>
                    <a:gd name="T30" fmla="*/ 708 w 1159"/>
                    <a:gd name="T31" fmla="*/ 292 h 1159"/>
                    <a:gd name="T32" fmla="*/ 867 w 1159"/>
                    <a:gd name="T33" fmla="*/ 451 h 1159"/>
                    <a:gd name="T34" fmla="*/ 867 w 1159"/>
                    <a:gd name="T35" fmla="*/ 708 h 11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159" h="1159">
                      <a:moveTo>
                        <a:pt x="885" y="0"/>
                      </a:moveTo>
                      <a:cubicBezTo>
                        <a:pt x="274" y="0"/>
                        <a:pt x="274" y="0"/>
                        <a:pt x="274" y="0"/>
                      </a:cubicBezTo>
                      <a:cubicBezTo>
                        <a:pt x="123" y="0"/>
                        <a:pt x="0" y="123"/>
                        <a:pt x="0" y="274"/>
                      </a:cubicBezTo>
                      <a:cubicBezTo>
                        <a:pt x="0" y="885"/>
                        <a:pt x="0" y="885"/>
                        <a:pt x="0" y="885"/>
                      </a:cubicBezTo>
                      <a:cubicBezTo>
                        <a:pt x="0" y="1036"/>
                        <a:pt x="123" y="1159"/>
                        <a:pt x="274" y="1159"/>
                      </a:cubicBezTo>
                      <a:cubicBezTo>
                        <a:pt x="885" y="1159"/>
                        <a:pt x="885" y="1159"/>
                        <a:pt x="885" y="1159"/>
                      </a:cubicBezTo>
                      <a:cubicBezTo>
                        <a:pt x="1036" y="1159"/>
                        <a:pt x="1159" y="1036"/>
                        <a:pt x="1159" y="885"/>
                      </a:cubicBezTo>
                      <a:cubicBezTo>
                        <a:pt x="1159" y="274"/>
                        <a:pt x="1159" y="274"/>
                        <a:pt x="1159" y="274"/>
                      </a:cubicBezTo>
                      <a:cubicBezTo>
                        <a:pt x="1159" y="123"/>
                        <a:pt x="1036" y="0"/>
                        <a:pt x="885" y="0"/>
                      </a:cubicBezTo>
                      <a:close/>
                      <a:moveTo>
                        <a:pt x="867" y="708"/>
                      </a:moveTo>
                      <a:cubicBezTo>
                        <a:pt x="867" y="796"/>
                        <a:pt x="796" y="867"/>
                        <a:pt x="708" y="867"/>
                      </a:cubicBezTo>
                      <a:cubicBezTo>
                        <a:pt x="451" y="867"/>
                        <a:pt x="451" y="867"/>
                        <a:pt x="451" y="867"/>
                      </a:cubicBezTo>
                      <a:cubicBezTo>
                        <a:pt x="363" y="867"/>
                        <a:pt x="292" y="796"/>
                        <a:pt x="292" y="708"/>
                      </a:cubicBezTo>
                      <a:cubicBezTo>
                        <a:pt x="292" y="451"/>
                        <a:pt x="292" y="451"/>
                        <a:pt x="292" y="451"/>
                      </a:cubicBezTo>
                      <a:cubicBezTo>
                        <a:pt x="292" y="363"/>
                        <a:pt x="363" y="292"/>
                        <a:pt x="451" y="292"/>
                      </a:cubicBezTo>
                      <a:cubicBezTo>
                        <a:pt x="708" y="292"/>
                        <a:pt x="708" y="292"/>
                        <a:pt x="708" y="292"/>
                      </a:cubicBezTo>
                      <a:cubicBezTo>
                        <a:pt x="796" y="292"/>
                        <a:pt x="867" y="363"/>
                        <a:pt x="867" y="451"/>
                      </a:cubicBezTo>
                      <a:lnTo>
                        <a:pt x="867" y="7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96D6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</p:grpSp>
        </p:grpSp>
        <p:grpSp>
          <p:nvGrpSpPr>
            <p:cNvPr id="150" name="Group 149"/>
            <p:cNvGrpSpPr/>
            <p:nvPr/>
          </p:nvGrpSpPr>
          <p:grpSpPr>
            <a:xfrm>
              <a:off x="3029252" y="3073965"/>
              <a:ext cx="343195" cy="343195"/>
              <a:chOff x="11022921" y="-2056847"/>
              <a:chExt cx="904242" cy="904242"/>
            </a:xfrm>
          </p:grpSpPr>
          <p:sp>
            <p:nvSpPr>
              <p:cNvPr id="166" name="Oval 165"/>
              <p:cNvSpPr/>
              <p:nvPr/>
            </p:nvSpPr>
            <p:spPr>
              <a:xfrm>
                <a:off x="11022921" y="-2056847"/>
                <a:ext cx="904242" cy="904242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chemeClr val="accent4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67" name="Group 166"/>
              <p:cNvGrpSpPr/>
              <p:nvPr/>
            </p:nvGrpSpPr>
            <p:grpSpPr>
              <a:xfrm>
                <a:off x="11228154" y="-1852412"/>
                <a:ext cx="493776" cy="495372"/>
                <a:chOff x="6003191" y="4235559"/>
                <a:chExt cx="493776" cy="495372"/>
              </a:xfrm>
              <a:solidFill>
                <a:schemeClr val="accent4"/>
              </a:solidFill>
            </p:grpSpPr>
            <p:sp>
              <p:nvSpPr>
                <p:cNvPr id="168" name="Freeform 14"/>
                <p:cNvSpPr>
                  <a:spLocks noEditPoints="1"/>
                </p:cNvSpPr>
                <p:nvPr/>
              </p:nvSpPr>
              <p:spPr bwMode="auto">
                <a:xfrm>
                  <a:off x="6141153" y="4374017"/>
                  <a:ext cx="217853" cy="218456"/>
                </a:xfrm>
                <a:custGeom>
                  <a:avLst/>
                  <a:gdLst>
                    <a:gd name="T0" fmla="*/ 384 w 511"/>
                    <a:gd name="T1" fmla="*/ 0 h 511"/>
                    <a:gd name="T2" fmla="*/ 127 w 511"/>
                    <a:gd name="T3" fmla="*/ 0 h 511"/>
                    <a:gd name="T4" fmla="*/ 0 w 511"/>
                    <a:gd name="T5" fmla="*/ 127 h 511"/>
                    <a:gd name="T6" fmla="*/ 0 w 511"/>
                    <a:gd name="T7" fmla="*/ 384 h 511"/>
                    <a:gd name="T8" fmla="*/ 127 w 511"/>
                    <a:gd name="T9" fmla="*/ 511 h 511"/>
                    <a:gd name="T10" fmla="*/ 384 w 511"/>
                    <a:gd name="T11" fmla="*/ 511 h 511"/>
                    <a:gd name="T12" fmla="*/ 511 w 511"/>
                    <a:gd name="T13" fmla="*/ 384 h 511"/>
                    <a:gd name="T14" fmla="*/ 511 w 511"/>
                    <a:gd name="T15" fmla="*/ 127 h 511"/>
                    <a:gd name="T16" fmla="*/ 384 w 511"/>
                    <a:gd name="T17" fmla="*/ 0 h 511"/>
                    <a:gd name="T18" fmla="*/ 275 w 511"/>
                    <a:gd name="T19" fmla="*/ 85 h 511"/>
                    <a:gd name="T20" fmla="*/ 236 w 511"/>
                    <a:gd name="T21" fmla="*/ 85 h 511"/>
                    <a:gd name="T22" fmla="*/ 236 w 511"/>
                    <a:gd name="T23" fmla="*/ 45 h 511"/>
                    <a:gd name="T24" fmla="*/ 275 w 511"/>
                    <a:gd name="T25" fmla="*/ 45 h 511"/>
                    <a:gd name="T26" fmla="*/ 275 w 511"/>
                    <a:gd name="T27" fmla="*/ 85 h 5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11" h="511">
                      <a:moveTo>
                        <a:pt x="384" y="0"/>
                      </a:moveTo>
                      <a:cubicBezTo>
                        <a:pt x="127" y="0"/>
                        <a:pt x="127" y="0"/>
                        <a:pt x="127" y="0"/>
                      </a:cubicBezTo>
                      <a:cubicBezTo>
                        <a:pt x="57" y="0"/>
                        <a:pt x="0" y="57"/>
                        <a:pt x="0" y="127"/>
                      </a:cubicBezTo>
                      <a:cubicBezTo>
                        <a:pt x="0" y="384"/>
                        <a:pt x="0" y="384"/>
                        <a:pt x="0" y="384"/>
                      </a:cubicBezTo>
                      <a:cubicBezTo>
                        <a:pt x="0" y="454"/>
                        <a:pt x="57" y="511"/>
                        <a:pt x="127" y="511"/>
                      </a:cubicBezTo>
                      <a:cubicBezTo>
                        <a:pt x="384" y="511"/>
                        <a:pt x="384" y="511"/>
                        <a:pt x="384" y="511"/>
                      </a:cubicBezTo>
                      <a:cubicBezTo>
                        <a:pt x="454" y="511"/>
                        <a:pt x="511" y="454"/>
                        <a:pt x="511" y="384"/>
                      </a:cubicBezTo>
                      <a:cubicBezTo>
                        <a:pt x="511" y="127"/>
                        <a:pt x="511" y="127"/>
                        <a:pt x="511" y="127"/>
                      </a:cubicBezTo>
                      <a:cubicBezTo>
                        <a:pt x="511" y="57"/>
                        <a:pt x="454" y="0"/>
                        <a:pt x="384" y="0"/>
                      </a:cubicBezTo>
                      <a:close/>
                      <a:moveTo>
                        <a:pt x="275" y="85"/>
                      </a:moveTo>
                      <a:cubicBezTo>
                        <a:pt x="236" y="85"/>
                        <a:pt x="236" y="85"/>
                        <a:pt x="236" y="85"/>
                      </a:cubicBezTo>
                      <a:cubicBezTo>
                        <a:pt x="236" y="45"/>
                        <a:pt x="236" y="45"/>
                        <a:pt x="236" y="45"/>
                      </a:cubicBezTo>
                      <a:cubicBezTo>
                        <a:pt x="275" y="45"/>
                        <a:pt x="275" y="45"/>
                        <a:pt x="275" y="45"/>
                      </a:cubicBezTo>
                      <a:lnTo>
                        <a:pt x="275" y="8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96D6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169" name="Freeform 168"/>
                <p:cNvSpPr>
                  <a:spLocks noEditPoints="1"/>
                </p:cNvSpPr>
                <p:nvPr/>
              </p:nvSpPr>
              <p:spPr bwMode="auto">
                <a:xfrm>
                  <a:off x="6003191" y="4235559"/>
                  <a:ext cx="493776" cy="495372"/>
                </a:xfrm>
                <a:custGeom>
                  <a:avLst/>
                  <a:gdLst>
                    <a:gd name="T0" fmla="*/ 885 w 1159"/>
                    <a:gd name="T1" fmla="*/ 0 h 1159"/>
                    <a:gd name="T2" fmla="*/ 274 w 1159"/>
                    <a:gd name="T3" fmla="*/ 0 h 1159"/>
                    <a:gd name="T4" fmla="*/ 0 w 1159"/>
                    <a:gd name="T5" fmla="*/ 274 h 1159"/>
                    <a:gd name="T6" fmla="*/ 0 w 1159"/>
                    <a:gd name="T7" fmla="*/ 885 h 1159"/>
                    <a:gd name="T8" fmla="*/ 274 w 1159"/>
                    <a:gd name="T9" fmla="*/ 1159 h 1159"/>
                    <a:gd name="T10" fmla="*/ 885 w 1159"/>
                    <a:gd name="T11" fmla="*/ 1159 h 1159"/>
                    <a:gd name="T12" fmla="*/ 1159 w 1159"/>
                    <a:gd name="T13" fmla="*/ 885 h 1159"/>
                    <a:gd name="T14" fmla="*/ 1159 w 1159"/>
                    <a:gd name="T15" fmla="*/ 274 h 1159"/>
                    <a:gd name="T16" fmla="*/ 885 w 1159"/>
                    <a:gd name="T17" fmla="*/ 0 h 1159"/>
                    <a:gd name="T18" fmla="*/ 867 w 1159"/>
                    <a:gd name="T19" fmla="*/ 708 h 1159"/>
                    <a:gd name="T20" fmla="*/ 708 w 1159"/>
                    <a:gd name="T21" fmla="*/ 867 h 1159"/>
                    <a:gd name="T22" fmla="*/ 451 w 1159"/>
                    <a:gd name="T23" fmla="*/ 867 h 1159"/>
                    <a:gd name="T24" fmla="*/ 292 w 1159"/>
                    <a:gd name="T25" fmla="*/ 708 h 1159"/>
                    <a:gd name="T26" fmla="*/ 292 w 1159"/>
                    <a:gd name="T27" fmla="*/ 451 h 1159"/>
                    <a:gd name="T28" fmla="*/ 451 w 1159"/>
                    <a:gd name="T29" fmla="*/ 292 h 1159"/>
                    <a:gd name="T30" fmla="*/ 708 w 1159"/>
                    <a:gd name="T31" fmla="*/ 292 h 1159"/>
                    <a:gd name="T32" fmla="*/ 867 w 1159"/>
                    <a:gd name="T33" fmla="*/ 451 h 1159"/>
                    <a:gd name="T34" fmla="*/ 867 w 1159"/>
                    <a:gd name="T35" fmla="*/ 708 h 11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159" h="1159">
                      <a:moveTo>
                        <a:pt x="885" y="0"/>
                      </a:moveTo>
                      <a:cubicBezTo>
                        <a:pt x="274" y="0"/>
                        <a:pt x="274" y="0"/>
                        <a:pt x="274" y="0"/>
                      </a:cubicBezTo>
                      <a:cubicBezTo>
                        <a:pt x="123" y="0"/>
                        <a:pt x="0" y="123"/>
                        <a:pt x="0" y="274"/>
                      </a:cubicBezTo>
                      <a:cubicBezTo>
                        <a:pt x="0" y="885"/>
                        <a:pt x="0" y="885"/>
                        <a:pt x="0" y="885"/>
                      </a:cubicBezTo>
                      <a:cubicBezTo>
                        <a:pt x="0" y="1036"/>
                        <a:pt x="123" y="1159"/>
                        <a:pt x="274" y="1159"/>
                      </a:cubicBezTo>
                      <a:cubicBezTo>
                        <a:pt x="885" y="1159"/>
                        <a:pt x="885" y="1159"/>
                        <a:pt x="885" y="1159"/>
                      </a:cubicBezTo>
                      <a:cubicBezTo>
                        <a:pt x="1036" y="1159"/>
                        <a:pt x="1159" y="1036"/>
                        <a:pt x="1159" y="885"/>
                      </a:cubicBezTo>
                      <a:cubicBezTo>
                        <a:pt x="1159" y="274"/>
                        <a:pt x="1159" y="274"/>
                        <a:pt x="1159" y="274"/>
                      </a:cubicBezTo>
                      <a:cubicBezTo>
                        <a:pt x="1159" y="123"/>
                        <a:pt x="1036" y="0"/>
                        <a:pt x="885" y="0"/>
                      </a:cubicBezTo>
                      <a:close/>
                      <a:moveTo>
                        <a:pt x="867" y="708"/>
                      </a:moveTo>
                      <a:cubicBezTo>
                        <a:pt x="867" y="796"/>
                        <a:pt x="796" y="867"/>
                        <a:pt x="708" y="867"/>
                      </a:cubicBezTo>
                      <a:cubicBezTo>
                        <a:pt x="451" y="867"/>
                        <a:pt x="451" y="867"/>
                        <a:pt x="451" y="867"/>
                      </a:cubicBezTo>
                      <a:cubicBezTo>
                        <a:pt x="363" y="867"/>
                        <a:pt x="292" y="796"/>
                        <a:pt x="292" y="708"/>
                      </a:cubicBezTo>
                      <a:cubicBezTo>
                        <a:pt x="292" y="451"/>
                        <a:pt x="292" y="451"/>
                        <a:pt x="292" y="451"/>
                      </a:cubicBezTo>
                      <a:cubicBezTo>
                        <a:pt x="292" y="363"/>
                        <a:pt x="363" y="292"/>
                        <a:pt x="451" y="292"/>
                      </a:cubicBezTo>
                      <a:cubicBezTo>
                        <a:pt x="708" y="292"/>
                        <a:pt x="708" y="292"/>
                        <a:pt x="708" y="292"/>
                      </a:cubicBezTo>
                      <a:cubicBezTo>
                        <a:pt x="796" y="292"/>
                        <a:pt x="867" y="363"/>
                        <a:pt x="867" y="451"/>
                      </a:cubicBezTo>
                      <a:lnTo>
                        <a:pt x="867" y="7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96D6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</p:grpSp>
        </p:grpSp>
        <p:grpSp>
          <p:nvGrpSpPr>
            <p:cNvPr id="151" name="Group 150"/>
            <p:cNvGrpSpPr/>
            <p:nvPr/>
          </p:nvGrpSpPr>
          <p:grpSpPr>
            <a:xfrm>
              <a:off x="990384" y="2860911"/>
              <a:ext cx="343195" cy="343195"/>
              <a:chOff x="11022921" y="-2056847"/>
              <a:chExt cx="904242" cy="904242"/>
            </a:xfrm>
          </p:grpSpPr>
          <p:sp>
            <p:nvSpPr>
              <p:cNvPr id="162" name="Oval 161"/>
              <p:cNvSpPr/>
              <p:nvPr/>
            </p:nvSpPr>
            <p:spPr>
              <a:xfrm>
                <a:off x="11022921" y="-2056847"/>
                <a:ext cx="904242" cy="904242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chemeClr val="accent4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63" name="Group 162"/>
              <p:cNvGrpSpPr/>
              <p:nvPr/>
            </p:nvGrpSpPr>
            <p:grpSpPr>
              <a:xfrm>
                <a:off x="11228154" y="-1852412"/>
                <a:ext cx="493776" cy="495372"/>
                <a:chOff x="6003191" y="4235559"/>
                <a:chExt cx="493776" cy="495372"/>
              </a:xfrm>
              <a:solidFill>
                <a:schemeClr val="accent4"/>
              </a:solidFill>
            </p:grpSpPr>
            <p:sp>
              <p:nvSpPr>
                <p:cNvPr id="164" name="Freeform 14"/>
                <p:cNvSpPr>
                  <a:spLocks noEditPoints="1"/>
                </p:cNvSpPr>
                <p:nvPr/>
              </p:nvSpPr>
              <p:spPr bwMode="auto">
                <a:xfrm>
                  <a:off x="6141153" y="4374017"/>
                  <a:ext cx="217853" cy="218456"/>
                </a:xfrm>
                <a:custGeom>
                  <a:avLst/>
                  <a:gdLst>
                    <a:gd name="T0" fmla="*/ 384 w 511"/>
                    <a:gd name="T1" fmla="*/ 0 h 511"/>
                    <a:gd name="T2" fmla="*/ 127 w 511"/>
                    <a:gd name="T3" fmla="*/ 0 h 511"/>
                    <a:gd name="T4" fmla="*/ 0 w 511"/>
                    <a:gd name="T5" fmla="*/ 127 h 511"/>
                    <a:gd name="T6" fmla="*/ 0 w 511"/>
                    <a:gd name="T7" fmla="*/ 384 h 511"/>
                    <a:gd name="T8" fmla="*/ 127 w 511"/>
                    <a:gd name="T9" fmla="*/ 511 h 511"/>
                    <a:gd name="T10" fmla="*/ 384 w 511"/>
                    <a:gd name="T11" fmla="*/ 511 h 511"/>
                    <a:gd name="T12" fmla="*/ 511 w 511"/>
                    <a:gd name="T13" fmla="*/ 384 h 511"/>
                    <a:gd name="T14" fmla="*/ 511 w 511"/>
                    <a:gd name="T15" fmla="*/ 127 h 511"/>
                    <a:gd name="T16" fmla="*/ 384 w 511"/>
                    <a:gd name="T17" fmla="*/ 0 h 511"/>
                    <a:gd name="T18" fmla="*/ 275 w 511"/>
                    <a:gd name="T19" fmla="*/ 85 h 511"/>
                    <a:gd name="T20" fmla="*/ 236 w 511"/>
                    <a:gd name="T21" fmla="*/ 85 h 511"/>
                    <a:gd name="T22" fmla="*/ 236 w 511"/>
                    <a:gd name="T23" fmla="*/ 45 h 511"/>
                    <a:gd name="T24" fmla="*/ 275 w 511"/>
                    <a:gd name="T25" fmla="*/ 45 h 511"/>
                    <a:gd name="T26" fmla="*/ 275 w 511"/>
                    <a:gd name="T27" fmla="*/ 85 h 5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11" h="511">
                      <a:moveTo>
                        <a:pt x="384" y="0"/>
                      </a:moveTo>
                      <a:cubicBezTo>
                        <a:pt x="127" y="0"/>
                        <a:pt x="127" y="0"/>
                        <a:pt x="127" y="0"/>
                      </a:cubicBezTo>
                      <a:cubicBezTo>
                        <a:pt x="57" y="0"/>
                        <a:pt x="0" y="57"/>
                        <a:pt x="0" y="127"/>
                      </a:cubicBezTo>
                      <a:cubicBezTo>
                        <a:pt x="0" y="384"/>
                        <a:pt x="0" y="384"/>
                        <a:pt x="0" y="384"/>
                      </a:cubicBezTo>
                      <a:cubicBezTo>
                        <a:pt x="0" y="454"/>
                        <a:pt x="57" y="511"/>
                        <a:pt x="127" y="511"/>
                      </a:cubicBezTo>
                      <a:cubicBezTo>
                        <a:pt x="384" y="511"/>
                        <a:pt x="384" y="511"/>
                        <a:pt x="384" y="511"/>
                      </a:cubicBezTo>
                      <a:cubicBezTo>
                        <a:pt x="454" y="511"/>
                        <a:pt x="511" y="454"/>
                        <a:pt x="511" y="384"/>
                      </a:cubicBezTo>
                      <a:cubicBezTo>
                        <a:pt x="511" y="127"/>
                        <a:pt x="511" y="127"/>
                        <a:pt x="511" y="127"/>
                      </a:cubicBezTo>
                      <a:cubicBezTo>
                        <a:pt x="511" y="57"/>
                        <a:pt x="454" y="0"/>
                        <a:pt x="384" y="0"/>
                      </a:cubicBezTo>
                      <a:close/>
                      <a:moveTo>
                        <a:pt x="275" y="85"/>
                      </a:moveTo>
                      <a:cubicBezTo>
                        <a:pt x="236" y="85"/>
                        <a:pt x="236" y="85"/>
                        <a:pt x="236" y="85"/>
                      </a:cubicBezTo>
                      <a:cubicBezTo>
                        <a:pt x="236" y="45"/>
                        <a:pt x="236" y="45"/>
                        <a:pt x="236" y="45"/>
                      </a:cubicBezTo>
                      <a:cubicBezTo>
                        <a:pt x="275" y="45"/>
                        <a:pt x="275" y="45"/>
                        <a:pt x="275" y="45"/>
                      </a:cubicBezTo>
                      <a:lnTo>
                        <a:pt x="275" y="8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96D6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165" name="Freeform 164"/>
                <p:cNvSpPr>
                  <a:spLocks noEditPoints="1"/>
                </p:cNvSpPr>
                <p:nvPr/>
              </p:nvSpPr>
              <p:spPr bwMode="auto">
                <a:xfrm>
                  <a:off x="6003191" y="4235559"/>
                  <a:ext cx="493776" cy="495372"/>
                </a:xfrm>
                <a:custGeom>
                  <a:avLst/>
                  <a:gdLst>
                    <a:gd name="T0" fmla="*/ 885 w 1159"/>
                    <a:gd name="T1" fmla="*/ 0 h 1159"/>
                    <a:gd name="T2" fmla="*/ 274 w 1159"/>
                    <a:gd name="T3" fmla="*/ 0 h 1159"/>
                    <a:gd name="T4" fmla="*/ 0 w 1159"/>
                    <a:gd name="T5" fmla="*/ 274 h 1159"/>
                    <a:gd name="T6" fmla="*/ 0 w 1159"/>
                    <a:gd name="T7" fmla="*/ 885 h 1159"/>
                    <a:gd name="T8" fmla="*/ 274 w 1159"/>
                    <a:gd name="T9" fmla="*/ 1159 h 1159"/>
                    <a:gd name="T10" fmla="*/ 885 w 1159"/>
                    <a:gd name="T11" fmla="*/ 1159 h 1159"/>
                    <a:gd name="T12" fmla="*/ 1159 w 1159"/>
                    <a:gd name="T13" fmla="*/ 885 h 1159"/>
                    <a:gd name="T14" fmla="*/ 1159 w 1159"/>
                    <a:gd name="T15" fmla="*/ 274 h 1159"/>
                    <a:gd name="T16" fmla="*/ 885 w 1159"/>
                    <a:gd name="T17" fmla="*/ 0 h 1159"/>
                    <a:gd name="T18" fmla="*/ 867 w 1159"/>
                    <a:gd name="T19" fmla="*/ 708 h 1159"/>
                    <a:gd name="T20" fmla="*/ 708 w 1159"/>
                    <a:gd name="T21" fmla="*/ 867 h 1159"/>
                    <a:gd name="T22" fmla="*/ 451 w 1159"/>
                    <a:gd name="T23" fmla="*/ 867 h 1159"/>
                    <a:gd name="T24" fmla="*/ 292 w 1159"/>
                    <a:gd name="T25" fmla="*/ 708 h 1159"/>
                    <a:gd name="T26" fmla="*/ 292 w 1159"/>
                    <a:gd name="T27" fmla="*/ 451 h 1159"/>
                    <a:gd name="T28" fmla="*/ 451 w 1159"/>
                    <a:gd name="T29" fmla="*/ 292 h 1159"/>
                    <a:gd name="T30" fmla="*/ 708 w 1159"/>
                    <a:gd name="T31" fmla="*/ 292 h 1159"/>
                    <a:gd name="T32" fmla="*/ 867 w 1159"/>
                    <a:gd name="T33" fmla="*/ 451 h 1159"/>
                    <a:gd name="T34" fmla="*/ 867 w 1159"/>
                    <a:gd name="T35" fmla="*/ 708 h 11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159" h="1159">
                      <a:moveTo>
                        <a:pt x="885" y="0"/>
                      </a:moveTo>
                      <a:cubicBezTo>
                        <a:pt x="274" y="0"/>
                        <a:pt x="274" y="0"/>
                        <a:pt x="274" y="0"/>
                      </a:cubicBezTo>
                      <a:cubicBezTo>
                        <a:pt x="123" y="0"/>
                        <a:pt x="0" y="123"/>
                        <a:pt x="0" y="274"/>
                      </a:cubicBezTo>
                      <a:cubicBezTo>
                        <a:pt x="0" y="885"/>
                        <a:pt x="0" y="885"/>
                        <a:pt x="0" y="885"/>
                      </a:cubicBezTo>
                      <a:cubicBezTo>
                        <a:pt x="0" y="1036"/>
                        <a:pt x="123" y="1159"/>
                        <a:pt x="274" y="1159"/>
                      </a:cubicBezTo>
                      <a:cubicBezTo>
                        <a:pt x="885" y="1159"/>
                        <a:pt x="885" y="1159"/>
                        <a:pt x="885" y="1159"/>
                      </a:cubicBezTo>
                      <a:cubicBezTo>
                        <a:pt x="1036" y="1159"/>
                        <a:pt x="1159" y="1036"/>
                        <a:pt x="1159" y="885"/>
                      </a:cubicBezTo>
                      <a:cubicBezTo>
                        <a:pt x="1159" y="274"/>
                        <a:pt x="1159" y="274"/>
                        <a:pt x="1159" y="274"/>
                      </a:cubicBezTo>
                      <a:cubicBezTo>
                        <a:pt x="1159" y="123"/>
                        <a:pt x="1036" y="0"/>
                        <a:pt x="885" y="0"/>
                      </a:cubicBezTo>
                      <a:close/>
                      <a:moveTo>
                        <a:pt x="867" y="708"/>
                      </a:moveTo>
                      <a:cubicBezTo>
                        <a:pt x="867" y="796"/>
                        <a:pt x="796" y="867"/>
                        <a:pt x="708" y="867"/>
                      </a:cubicBezTo>
                      <a:cubicBezTo>
                        <a:pt x="451" y="867"/>
                        <a:pt x="451" y="867"/>
                        <a:pt x="451" y="867"/>
                      </a:cubicBezTo>
                      <a:cubicBezTo>
                        <a:pt x="363" y="867"/>
                        <a:pt x="292" y="796"/>
                        <a:pt x="292" y="708"/>
                      </a:cubicBezTo>
                      <a:cubicBezTo>
                        <a:pt x="292" y="451"/>
                        <a:pt x="292" y="451"/>
                        <a:pt x="292" y="451"/>
                      </a:cubicBezTo>
                      <a:cubicBezTo>
                        <a:pt x="292" y="363"/>
                        <a:pt x="363" y="292"/>
                        <a:pt x="451" y="292"/>
                      </a:cubicBezTo>
                      <a:cubicBezTo>
                        <a:pt x="708" y="292"/>
                        <a:pt x="708" y="292"/>
                        <a:pt x="708" y="292"/>
                      </a:cubicBezTo>
                      <a:cubicBezTo>
                        <a:pt x="796" y="292"/>
                        <a:pt x="867" y="363"/>
                        <a:pt x="867" y="451"/>
                      </a:cubicBezTo>
                      <a:lnTo>
                        <a:pt x="867" y="7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96D6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</p:grpSp>
        </p:grpSp>
        <p:grpSp>
          <p:nvGrpSpPr>
            <p:cNvPr id="152" name="Group 151"/>
            <p:cNvGrpSpPr/>
            <p:nvPr/>
          </p:nvGrpSpPr>
          <p:grpSpPr>
            <a:xfrm>
              <a:off x="2091203" y="3574857"/>
              <a:ext cx="343195" cy="343195"/>
              <a:chOff x="11022921" y="-2056847"/>
              <a:chExt cx="904242" cy="904242"/>
            </a:xfrm>
          </p:grpSpPr>
          <p:sp>
            <p:nvSpPr>
              <p:cNvPr id="158" name="Oval 157"/>
              <p:cNvSpPr/>
              <p:nvPr/>
            </p:nvSpPr>
            <p:spPr>
              <a:xfrm>
                <a:off x="11022921" y="-2056847"/>
                <a:ext cx="904242" cy="904242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chemeClr val="accent4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59" name="Group 158"/>
              <p:cNvGrpSpPr/>
              <p:nvPr/>
            </p:nvGrpSpPr>
            <p:grpSpPr>
              <a:xfrm>
                <a:off x="11228154" y="-1852412"/>
                <a:ext cx="493776" cy="495372"/>
                <a:chOff x="6003191" y="4235559"/>
                <a:chExt cx="493776" cy="495372"/>
              </a:xfrm>
              <a:solidFill>
                <a:schemeClr val="accent4"/>
              </a:solidFill>
            </p:grpSpPr>
            <p:sp>
              <p:nvSpPr>
                <p:cNvPr id="160" name="Freeform 14"/>
                <p:cNvSpPr>
                  <a:spLocks noEditPoints="1"/>
                </p:cNvSpPr>
                <p:nvPr/>
              </p:nvSpPr>
              <p:spPr bwMode="auto">
                <a:xfrm>
                  <a:off x="6141153" y="4374017"/>
                  <a:ext cx="217853" cy="218456"/>
                </a:xfrm>
                <a:custGeom>
                  <a:avLst/>
                  <a:gdLst>
                    <a:gd name="T0" fmla="*/ 384 w 511"/>
                    <a:gd name="T1" fmla="*/ 0 h 511"/>
                    <a:gd name="T2" fmla="*/ 127 w 511"/>
                    <a:gd name="T3" fmla="*/ 0 h 511"/>
                    <a:gd name="T4" fmla="*/ 0 w 511"/>
                    <a:gd name="T5" fmla="*/ 127 h 511"/>
                    <a:gd name="T6" fmla="*/ 0 w 511"/>
                    <a:gd name="T7" fmla="*/ 384 h 511"/>
                    <a:gd name="T8" fmla="*/ 127 w 511"/>
                    <a:gd name="T9" fmla="*/ 511 h 511"/>
                    <a:gd name="T10" fmla="*/ 384 w 511"/>
                    <a:gd name="T11" fmla="*/ 511 h 511"/>
                    <a:gd name="T12" fmla="*/ 511 w 511"/>
                    <a:gd name="T13" fmla="*/ 384 h 511"/>
                    <a:gd name="T14" fmla="*/ 511 w 511"/>
                    <a:gd name="T15" fmla="*/ 127 h 511"/>
                    <a:gd name="T16" fmla="*/ 384 w 511"/>
                    <a:gd name="T17" fmla="*/ 0 h 511"/>
                    <a:gd name="T18" fmla="*/ 275 w 511"/>
                    <a:gd name="T19" fmla="*/ 85 h 511"/>
                    <a:gd name="T20" fmla="*/ 236 w 511"/>
                    <a:gd name="T21" fmla="*/ 85 h 511"/>
                    <a:gd name="T22" fmla="*/ 236 w 511"/>
                    <a:gd name="T23" fmla="*/ 45 h 511"/>
                    <a:gd name="T24" fmla="*/ 275 w 511"/>
                    <a:gd name="T25" fmla="*/ 45 h 511"/>
                    <a:gd name="T26" fmla="*/ 275 w 511"/>
                    <a:gd name="T27" fmla="*/ 85 h 5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11" h="511">
                      <a:moveTo>
                        <a:pt x="384" y="0"/>
                      </a:moveTo>
                      <a:cubicBezTo>
                        <a:pt x="127" y="0"/>
                        <a:pt x="127" y="0"/>
                        <a:pt x="127" y="0"/>
                      </a:cubicBezTo>
                      <a:cubicBezTo>
                        <a:pt x="57" y="0"/>
                        <a:pt x="0" y="57"/>
                        <a:pt x="0" y="127"/>
                      </a:cubicBezTo>
                      <a:cubicBezTo>
                        <a:pt x="0" y="384"/>
                        <a:pt x="0" y="384"/>
                        <a:pt x="0" y="384"/>
                      </a:cubicBezTo>
                      <a:cubicBezTo>
                        <a:pt x="0" y="454"/>
                        <a:pt x="57" y="511"/>
                        <a:pt x="127" y="511"/>
                      </a:cubicBezTo>
                      <a:cubicBezTo>
                        <a:pt x="384" y="511"/>
                        <a:pt x="384" y="511"/>
                        <a:pt x="384" y="511"/>
                      </a:cubicBezTo>
                      <a:cubicBezTo>
                        <a:pt x="454" y="511"/>
                        <a:pt x="511" y="454"/>
                        <a:pt x="511" y="384"/>
                      </a:cubicBezTo>
                      <a:cubicBezTo>
                        <a:pt x="511" y="127"/>
                        <a:pt x="511" y="127"/>
                        <a:pt x="511" y="127"/>
                      </a:cubicBezTo>
                      <a:cubicBezTo>
                        <a:pt x="511" y="57"/>
                        <a:pt x="454" y="0"/>
                        <a:pt x="384" y="0"/>
                      </a:cubicBezTo>
                      <a:close/>
                      <a:moveTo>
                        <a:pt x="275" y="85"/>
                      </a:moveTo>
                      <a:cubicBezTo>
                        <a:pt x="236" y="85"/>
                        <a:pt x="236" y="85"/>
                        <a:pt x="236" y="85"/>
                      </a:cubicBezTo>
                      <a:cubicBezTo>
                        <a:pt x="236" y="45"/>
                        <a:pt x="236" y="45"/>
                        <a:pt x="236" y="45"/>
                      </a:cubicBezTo>
                      <a:cubicBezTo>
                        <a:pt x="275" y="45"/>
                        <a:pt x="275" y="45"/>
                        <a:pt x="275" y="45"/>
                      </a:cubicBezTo>
                      <a:lnTo>
                        <a:pt x="275" y="8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96D6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161" name="Freeform 160"/>
                <p:cNvSpPr>
                  <a:spLocks noEditPoints="1"/>
                </p:cNvSpPr>
                <p:nvPr/>
              </p:nvSpPr>
              <p:spPr bwMode="auto">
                <a:xfrm>
                  <a:off x="6003191" y="4235559"/>
                  <a:ext cx="493776" cy="495372"/>
                </a:xfrm>
                <a:custGeom>
                  <a:avLst/>
                  <a:gdLst>
                    <a:gd name="T0" fmla="*/ 885 w 1159"/>
                    <a:gd name="T1" fmla="*/ 0 h 1159"/>
                    <a:gd name="T2" fmla="*/ 274 w 1159"/>
                    <a:gd name="T3" fmla="*/ 0 h 1159"/>
                    <a:gd name="T4" fmla="*/ 0 w 1159"/>
                    <a:gd name="T5" fmla="*/ 274 h 1159"/>
                    <a:gd name="T6" fmla="*/ 0 w 1159"/>
                    <a:gd name="T7" fmla="*/ 885 h 1159"/>
                    <a:gd name="T8" fmla="*/ 274 w 1159"/>
                    <a:gd name="T9" fmla="*/ 1159 h 1159"/>
                    <a:gd name="T10" fmla="*/ 885 w 1159"/>
                    <a:gd name="T11" fmla="*/ 1159 h 1159"/>
                    <a:gd name="T12" fmla="*/ 1159 w 1159"/>
                    <a:gd name="T13" fmla="*/ 885 h 1159"/>
                    <a:gd name="T14" fmla="*/ 1159 w 1159"/>
                    <a:gd name="T15" fmla="*/ 274 h 1159"/>
                    <a:gd name="T16" fmla="*/ 885 w 1159"/>
                    <a:gd name="T17" fmla="*/ 0 h 1159"/>
                    <a:gd name="T18" fmla="*/ 867 w 1159"/>
                    <a:gd name="T19" fmla="*/ 708 h 1159"/>
                    <a:gd name="T20" fmla="*/ 708 w 1159"/>
                    <a:gd name="T21" fmla="*/ 867 h 1159"/>
                    <a:gd name="T22" fmla="*/ 451 w 1159"/>
                    <a:gd name="T23" fmla="*/ 867 h 1159"/>
                    <a:gd name="T24" fmla="*/ 292 w 1159"/>
                    <a:gd name="T25" fmla="*/ 708 h 1159"/>
                    <a:gd name="T26" fmla="*/ 292 w 1159"/>
                    <a:gd name="T27" fmla="*/ 451 h 1159"/>
                    <a:gd name="T28" fmla="*/ 451 w 1159"/>
                    <a:gd name="T29" fmla="*/ 292 h 1159"/>
                    <a:gd name="T30" fmla="*/ 708 w 1159"/>
                    <a:gd name="T31" fmla="*/ 292 h 1159"/>
                    <a:gd name="T32" fmla="*/ 867 w 1159"/>
                    <a:gd name="T33" fmla="*/ 451 h 1159"/>
                    <a:gd name="T34" fmla="*/ 867 w 1159"/>
                    <a:gd name="T35" fmla="*/ 708 h 11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159" h="1159">
                      <a:moveTo>
                        <a:pt x="885" y="0"/>
                      </a:moveTo>
                      <a:cubicBezTo>
                        <a:pt x="274" y="0"/>
                        <a:pt x="274" y="0"/>
                        <a:pt x="274" y="0"/>
                      </a:cubicBezTo>
                      <a:cubicBezTo>
                        <a:pt x="123" y="0"/>
                        <a:pt x="0" y="123"/>
                        <a:pt x="0" y="274"/>
                      </a:cubicBezTo>
                      <a:cubicBezTo>
                        <a:pt x="0" y="885"/>
                        <a:pt x="0" y="885"/>
                        <a:pt x="0" y="885"/>
                      </a:cubicBezTo>
                      <a:cubicBezTo>
                        <a:pt x="0" y="1036"/>
                        <a:pt x="123" y="1159"/>
                        <a:pt x="274" y="1159"/>
                      </a:cubicBezTo>
                      <a:cubicBezTo>
                        <a:pt x="885" y="1159"/>
                        <a:pt x="885" y="1159"/>
                        <a:pt x="885" y="1159"/>
                      </a:cubicBezTo>
                      <a:cubicBezTo>
                        <a:pt x="1036" y="1159"/>
                        <a:pt x="1159" y="1036"/>
                        <a:pt x="1159" y="885"/>
                      </a:cubicBezTo>
                      <a:cubicBezTo>
                        <a:pt x="1159" y="274"/>
                        <a:pt x="1159" y="274"/>
                        <a:pt x="1159" y="274"/>
                      </a:cubicBezTo>
                      <a:cubicBezTo>
                        <a:pt x="1159" y="123"/>
                        <a:pt x="1036" y="0"/>
                        <a:pt x="885" y="0"/>
                      </a:cubicBezTo>
                      <a:close/>
                      <a:moveTo>
                        <a:pt x="867" y="708"/>
                      </a:moveTo>
                      <a:cubicBezTo>
                        <a:pt x="867" y="796"/>
                        <a:pt x="796" y="867"/>
                        <a:pt x="708" y="867"/>
                      </a:cubicBezTo>
                      <a:cubicBezTo>
                        <a:pt x="451" y="867"/>
                        <a:pt x="451" y="867"/>
                        <a:pt x="451" y="867"/>
                      </a:cubicBezTo>
                      <a:cubicBezTo>
                        <a:pt x="363" y="867"/>
                        <a:pt x="292" y="796"/>
                        <a:pt x="292" y="708"/>
                      </a:cubicBezTo>
                      <a:cubicBezTo>
                        <a:pt x="292" y="451"/>
                        <a:pt x="292" y="451"/>
                        <a:pt x="292" y="451"/>
                      </a:cubicBezTo>
                      <a:cubicBezTo>
                        <a:pt x="292" y="363"/>
                        <a:pt x="363" y="292"/>
                        <a:pt x="451" y="292"/>
                      </a:cubicBezTo>
                      <a:cubicBezTo>
                        <a:pt x="708" y="292"/>
                        <a:pt x="708" y="292"/>
                        <a:pt x="708" y="292"/>
                      </a:cubicBezTo>
                      <a:cubicBezTo>
                        <a:pt x="796" y="292"/>
                        <a:pt x="867" y="363"/>
                        <a:pt x="867" y="451"/>
                      </a:cubicBezTo>
                      <a:lnTo>
                        <a:pt x="867" y="7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96D6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</p:grpSp>
        </p:grpSp>
        <p:grpSp>
          <p:nvGrpSpPr>
            <p:cNvPr id="153" name="Group 152"/>
            <p:cNvGrpSpPr/>
            <p:nvPr/>
          </p:nvGrpSpPr>
          <p:grpSpPr>
            <a:xfrm>
              <a:off x="2011438" y="2293098"/>
              <a:ext cx="343195" cy="343195"/>
              <a:chOff x="11022921" y="-2056847"/>
              <a:chExt cx="904242" cy="904242"/>
            </a:xfrm>
          </p:grpSpPr>
          <p:sp>
            <p:nvSpPr>
              <p:cNvPr id="154" name="Oval 153"/>
              <p:cNvSpPr/>
              <p:nvPr/>
            </p:nvSpPr>
            <p:spPr>
              <a:xfrm>
                <a:off x="11022921" y="-2056847"/>
                <a:ext cx="904242" cy="904242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chemeClr val="accent4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  <p:grpSp>
            <p:nvGrpSpPr>
              <p:cNvPr id="155" name="Group 154"/>
              <p:cNvGrpSpPr/>
              <p:nvPr/>
            </p:nvGrpSpPr>
            <p:grpSpPr>
              <a:xfrm>
                <a:off x="11228154" y="-1852412"/>
                <a:ext cx="493776" cy="495372"/>
                <a:chOff x="6003191" y="4235559"/>
                <a:chExt cx="493776" cy="495372"/>
              </a:xfrm>
              <a:solidFill>
                <a:schemeClr val="accent4"/>
              </a:solidFill>
            </p:grpSpPr>
            <p:sp>
              <p:nvSpPr>
                <p:cNvPr id="156" name="Freeform 14"/>
                <p:cNvSpPr>
                  <a:spLocks noEditPoints="1"/>
                </p:cNvSpPr>
                <p:nvPr/>
              </p:nvSpPr>
              <p:spPr bwMode="auto">
                <a:xfrm>
                  <a:off x="6141153" y="4374017"/>
                  <a:ext cx="217853" cy="218456"/>
                </a:xfrm>
                <a:custGeom>
                  <a:avLst/>
                  <a:gdLst>
                    <a:gd name="T0" fmla="*/ 384 w 511"/>
                    <a:gd name="T1" fmla="*/ 0 h 511"/>
                    <a:gd name="T2" fmla="*/ 127 w 511"/>
                    <a:gd name="T3" fmla="*/ 0 h 511"/>
                    <a:gd name="T4" fmla="*/ 0 w 511"/>
                    <a:gd name="T5" fmla="*/ 127 h 511"/>
                    <a:gd name="T6" fmla="*/ 0 w 511"/>
                    <a:gd name="T7" fmla="*/ 384 h 511"/>
                    <a:gd name="T8" fmla="*/ 127 w 511"/>
                    <a:gd name="T9" fmla="*/ 511 h 511"/>
                    <a:gd name="T10" fmla="*/ 384 w 511"/>
                    <a:gd name="T11" fmla="*/ 511 h 511"/>
                    <a:gd name="T12" fmla="*/ 511 w 511"/>
                    <a:gd name="T13" fmla="*/ 384 h 511"/>
                    <a:gd name="T14" fmla="*/ 511 w 511"/>
                    <a:gd name="T15" fmla="*/ 127 h 511"/>
                    <a:gd name="T16" fmla="*/ 384 w 511"/>
                    <a:gd name="T17" fmla="*/ 0 h 511"/>
                    <a:gd name="T18" fmla="*/ 275 w 511"/>
                    <a:gd name="T19" fmla="*/ 85 h 511"/>
                    <a:gd name="T20" fmla="*/ 236 w 511"/>
                    <a:gd name="T21" fmla="*/ 85 h 511"/>
                    <a:gd name="T22" fmla="*/ 236 w 511"/>
                    <a:gd name="T23" fmla="*/ 45 h 511"/>
                    <a:gd name="T24" fmla="*/ 275 w 511"/>
                    <a:gd name="T25" fmla="*/ 45 h 511"/>
                    <a:gd name="T26" fmla="*/ 275 w 511"/>
                    <a:gd name="T27" fmla="*/ 85 h 5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511" h="511">
                      <a:moveTo>
                        <a:pt x="384" y="0"/>
                      </a:moveTo>
                      <a:cubicBezTo>
                        <a:pt x="127" y="0"/>
                        <a:pt x="127" y="0"/>
                        <a:pt x="127" y="0"/>
                      </a:cubicBezTo>
                      <a:cubicBezTo>
                        <a:pt x="57" y="0"/>
                        <a:pt x="0" y="57"/>
                        <a:pt x="0" y="127"/>
                      </a:cubicBezTo>
                      <a:cubicBezTo>
                        <a:pt x="0" y="384"/>
                        <a:pt x="0" y="384"/>
                        <a:pt x="0" y="384"/>
                      </a:cubicBezTo>
                      <a:cubicBezTo>
                        <a:pt x="0" y="454"/>
                        <a:pt x="57" y="511"/>
                        <a:pt x="127" y="511"/>
                      </a:cubicBezTo>
                      <a:cubicBezTo>
                        <a:pt x="384" y="511"/>
                        <a:pt x="384" y="511"/>
                        <a:pt x="384" y="511"/>
                      </a:cubicBezTo>
                      <a:cubicBezTo>
                        <a:pt x="454" y="511"/>
                        <a:pt x="511" y="454"/>
                        <a:pt x="511" y="384"/>
                      </a:cubicBezTo>
                      <a:cubicBezTo>
                        <a:pt x="511" y="127"/>
                        <a:pt x="511" y="127"/>
                        <a:pt x="511" y="127"/>
                      </a:cubicBezTo>
                      <a:cubicBezTo>
                        <a:pt x="511" y="57"/>
                        <a:pt x="454" y="0"/>
                        <a:pt x="384" y="0"/>
                      </a:cubicBezTo>
                      <a:close/>
                      <a:moveTo>
                        <a:pt x="275" y="85"/>
                      </a:moveTo>
                      <a:cubicBezTo>
                        <a:pt x="236" y="85"/>
                        <a:pt x="236" y="85"/>
                        <a:pt x="236" y="85"/>
                      </a:cubicBezTo>
                      <a:cubicBezTo>
                        <a:pt x="236" y="45"/>
                        <a:pt x="236" y="45"/>
                        <a:pt x="236" y="45"/>
                      </a:cubicBezTo>
                      <a:cubicBezTo>
                        <a:pt x="275" y="45"/>
                        <a:pt x="275" y="45"/>
                        <a:pt x="275" y="45"/>
                      </a:cubicBezTo>
                      <a:lnTo>
                        <a:pt x="275" y="8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96D6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  <p:sp>
              <p:nvSpPr>
                <p:cNvPr id="157" name="Freeform 156"/>
                <p:cNvSpPr>
                  <a:spLocks noEditPoints="1"/>
                </p:cNvSpPr>
                <p:nvPr/>
              </p:nvSpPr>
              <p:spPr bwMode="auto">
                <a:xfrm>
                  <a:off x="6003191" y="4235559"/>
                  <a:ext cx="493776" cy="495372"/>
                </a:xfrm>
                <a:custGeom>
                  <a:avLst/>
                  <a:gdLst>
                    <a:gd name="T0" fmla="*/ 885 w 1159"/>
                    <a:gd name="T1" fmla="*/ 0 h 1159"/>
                    <a:gd name="T2" fmla="*/ 274 w 1159"/>
                    <a:gd name="T3" fmla="*/ 0 h 1159"/>
                    <a:gd name="T4" fmla="*/ 0 w 1159"/>
                    <a:gd name="T5" fmla="*/ 274 h 1159"/>
                    <a:gd name="T6" fmla="*/ 0 w 1159"/>
                    <a:gd name="T7" fmla="*/ 885 h 1159"/>
                    <a:gd name="T8" fmla="*/ 274 w 1159"/>
                    <a:gd name="T9" fmla="*/ 1159 h 1159"/>
                    <a:gd name="T10" fmla="*/ 885 w 1159"/>
                    <a:gd name="T11" fmla="*/ 1159 h 1159"/>
                    <a:gd name="T12" fmla="*/ 1159 w 1159"/>
                    <a:gd name="T13" fmla="*/ 885 h 1159"/>
                    <a:gd name="T14" fmla="*/ 1159 w 1159"/>
                    <a:gd name="T15" fmla="*/ 274 h 1159"/>
                    <a:gd name="T16" fmla="*/ 885 w 1159"/>
                    <a:gd name="T17" fmla="*/ 0 h 1159"/>
                    <a:gd name="T18" fmla="*/ 867 w 1159"/>
                    <a:gd name="T19" fmla="*/ 708 h 1159"/>
                    <a:gd name="T20" fmla="*/ 708 w 1159"/>
                    <a:gd name="T21" fmla="*/ 867 h 1159"/>
                    <a:gd name="T22" fmla="*/ 451 w 1159"/>
                    <a:gd name="T23" fmla="*/ 867 h 1159"/>
                    <a:gd name="T24" fmla="*/ 292 w 1159"/>
                    <a:gd name="T25" fmla="*/ 708 h 1159"/>
                    <a:gd name="T26" fmla="*/ 292 w 1159"/>
                    <a:gd name="T27" fmla="*/ 451 h 1159"/>
                    <a:gd name="T28" fmla="*/ 451 w 1159"/>
                    <a:gd name="T29" fmla="*/ 292 h 1159"/>
                    <a:gd name="T30" fmla="*/ 708 w 1159"/>
                    <a:gd name="T31" fmla="*/ 292 h 1159"/>
                    <a:gd name="T32" fmla="*/ 867 w 1159"/>
                    <a:gd name="T33" fmla="*/ 451 h 1159"/>
                    <a:gd name="T34" fmla="*/ 867 w 1159"/>
                    <a:gd name="T35" fmla="*/ 708 h 11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159" h="1159">
                      <a:moveTo>
                        <a:pt x="885" y="0"/>
                      </a:moveTo>
                      <a:cubicBezTo>
                        <a:pt x="274" y="0"/>
                        <a:pt x="274" y="0"/>
                        <a:pt x="274" y="0"/>
                      </a:cubicBezTo>
                      <a:cubicBezTo>
                        <a:pt x="123" y="0"/>
                        <a:pt x="0" y="123"/>
                        <a:pt x="0" y="274"/>
                      </a:cubicBezTo>
                      <a:cubicBezTo>
                        <a:pt x="0" y="885"/>
                        <a:pt x="0" y="885"/>
                        <a:pt x="0" y="885"/>
                      </a:cubicBezTo>
                      <a:cubicBezTo>
                        <a:pt x="0" y="1036"/>
                        <a:pt x="123" y="1159"/>
                        <a:pt x="274" y="1159"/>
                      </a:cubicBezTo>
                      <a:cubicBezTo>
                        <a:pt x="885" y="1159"/>
                        <a:pt x="885" y="1159"/>
                        <a:pt x="885" y="1159"/>
                      </a:cubicBezTo>
                      <a:cubicBezTo>
                        <a:pt x="1036" y="1159"/>
                        <a:pt x="1159" y="1036"/>
                        <a:pt x="1159" y="885"/>
                      </a:cubicBezTo>
                      <a:cubicBezTo>
                        <a:pt x="1159" y="274"/>
                        <a:pt x="1159" y="274"/>
                        <a:pt x="1159" y="274"/>
                      </a:cubicBezTo>
                      <a:cubicBezTo>
                        <a:pt x="1159" y="123"/>
                        <a:pt x="1036" y="0"/>
                        <a:pt x="885" y="0"/>
                      </a:cubicBezTo>
                      <a:close/>
                      <a:moveTo>
                        <a:pt x="867" y="708"/>
                      </a:moveTo>
                      <a:cubicBezTo>
                        <a:pt x="867" y="796"/>
                        <a:pt x="796" y="867"/>
                        <a:pt x="708" y="867"/>
                      </a:cubicBezTo>
                      <a:cubicBezTo>
                        <a:pt x="451" y="867"/>
                        <a:pt x="451" y="867"/>
                        <a:pt x="451" y="867"/>
                      </a:cubicBezTo>
                      <a:cubicBezTo>
                        <a:pt x="363" y="867"/>
                        <a:pt x="292" y="796"/>
                        <a:pt x="292" y="708"/>
                      </a:cubicBezTo>
                      <a:cubicBezTo>
                        <a:pt x="292" y="451"/>
                        <a:pt x="292" y="451"/>
                        <a:pt x="292" y="451"/>
                      </a:cubicBezTo>
                      <a:cubicBezTo>
                        <a:pt x="292" y="363"/>
                        <a:pt x="363" y="292"/>
                        <a:pt x="451" y="292"/>
                      </a:cubicBezTo>
                      <a:cubicBezTo>
                        <a:pt x="708" y="292"/>
                        <a:pt x="708" y="292"/>
                        <a:pt x="708" y="292"/>
                      </a:cubicBezTo>
                      <a:cubicBezTo>
                        <a:pt x="796" y="292"/>
                        <a:pt x="867" y="363"/>
                        <a:pt x="867" y="451"/>
                      </a:cubicBezTo>
                      <a:lnTo>
                        <a:pt x="867" y="7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4572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dirty="0">
                    <a:solidFill>
                      <a:srgbClr val="0096D6"/>
                    </a:solidFill>
                    <a:ea typeface="ＭＳ Ｐゴシック" charset="0"/>
                    <a:cs typeface="ＭＳ Ｐゴシック" charset="0"/>
                  </a:endParaRPr>
                </a:p>
              </p:txBody>
            </p:sp>
          </p:grpSp>
        </p:grpSp>
      </p:grpSp>
      <p:grpSp>
        <p:nvGrpSpPr>
          <p:cNvPr id="186" name="Group 185"/>
          <p:cNvGrpSpPr/>
          <p:nvPr/>
        </p:nvGrpSpPr>
        <p:grpSpPr>
          <a:xfrm>
            <a:off x="2736796" y="4409577"/>
            <a:ext cx="440890" cy="440890"/>
            <a:chOff x="10901733" y="852808"/>
            <a:chExt cx="708862" cy="708862"/>
          </a:xfrm>
        </p:grpSpPr>
        <p:sp>
          <p:nvSpPr>
            <p:cNvPr id="187" name="Oval 186"/>
            <p:cNvSpPr/>
            <p:nvPr/>
          </p:nvSpPr>
          <p:spPr>
            <a:xfrm>
              <a:off x="10901733" y="852808"/>
              <a:ext cx="708862" cy="708862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FFFFFF"/>
                </a:solidFill>
              </a:endParaRPr>
            </a:p>
          </p:txBody>
        </p:sp>
        <p:grpSp>
          <p:nvGrpSpPr>
            <p:cNvPr id="188" name="Group 187"/>
            <p:cNvGrpSpPr/>
            <p:nvPr/>
          </p:nvGrpSpPr>
          <p:grpSpPr>
            <a:xfrm>
              <a:off x="11169276" y="977565"/>
              <a:ext cx="184908" cy="476349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189" name="Freeform 83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190" name="Freeform 84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191" name="Group 190"/>
          <p:cNvGrpSpPr/>
          <p:nvPr/>
        </p:nvGrpSpPr>
        <p:grpSpPr>
          <a:xfrm rot="3600000">
            <a:off x="3098720" y="4368443"/>
            <a:ext cx="424614" cy="308187"/>
            <a:chOff x="3051175" y="1523999"/>
            <a:chExt cx="839896" cy="609601"/>
          </a:xfrm>
        </p:grpSpPr>
        <p:sp>
          <p:nvSpPr>
            <p:cNvPr id="192" name="Arc 191"/>
            <p:cNvSpPr/>
            <p:nvPr/>
          </p:nvSpPr>
          <p:spPr>
            <a:xfrm>
              <a:off x="3051175" y="1523999"/>
              <a:ext cx="839896" cy="609601"/>
            </a:xfrm>
            <a:prstGeom prst="arc">
              <a:avLst>
                <a:gd name="adj1" fmla="val 12217026"/>
                <a:gd name="adj2" fmla="val 20004371"/>
              </a:avLst>
            </a:prstGeom>
            <a:ln w="1905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93" name="Arc 192"/>
            <p:cNvSpPr>
              <a:spLocks noChangeAspect="1"/>
            </p:cNvSpPr>
            <p:nvPr/>
          </p:nvSpPr>
          <p:spPr>
            <a:xfrm>
              <a:off x="3197557" y="1669141"/>
              <a:ext cx="547133" cy="397112"/>
            </a:xfrm>
            <a:prstGeom prst="arc">
              <a:avLst>
                <a:gd name="adj1" fmla="val 12217026"/>
                <a:gd name="adj2" fmla="val 20004371"/>
              </a:avLst>
            </a:prstGeom>
            <a:ln w="1905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194" name="Arc 193"/>
            <p:cNvSpPr>
              <a:spLocks noChangeAspect="1"/>
            </p:cNvSpPr>
            <p:nvPr/>
          </p:nvSpPr>
          <p:spPr>
            <a:xfrm>
              <a:off x="3341539" y="1812156"/>
              <a:ext cx="259168" cy="188105"/>
            </a:xfrm>
            <a:prstGeom prst="arc">
              <a:avLst>
                <a:gd name="adj1" fmla="val 12217026"/>
                <a:gd name="adj2" fmla="val 20004371"/>
              </a:avLst>
            </a:prstGeom>
            <a:ln w="1905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</a:endParaRPr>
            </a:p>
          </p:txBody>
        </p:sp>
      </p:grpSp>
      <p:grpSp>
        <p:nvGrpSpPr>
          <p:cNvPr id="195" name="Group 194"/>
          <p:cNvGrpSpPr/>
          <p:nvPr/>
        </p:nvGrpSpPr>
        <p:grpSpPr>
          <a:xfrm rot="10363481">
            <a:off x="3398430" y="2484611"/>
            <a:ext cx="806299" cy="1316137"/>
            <a:chOff x="7051173" y="1892727"/>
            <a:chExt cx="806299" cy="1816256"/>
          </a:xfrm>
        </p:grpSpPr>
        <p:sp>
          <p:nvSpPr>
            <p:cNvPr id="196" name="Arc 195"/>
            <p:cNvSpPr/>
            <p:nvPr/>
          </p:nvSpPr>
          <p:spPr>
            <a:xfrm>
              <a:off x="7242015" y="3176565"/>
              <a:ext cx="424614" cy="308187"/>
            </a:xfrm>
            <a:prstGeom prst="arc">
              <a:avLst>
                <a:gd name="adj1" fmla="val 12217026"/>
                <a:gd name="adj2" fmla="val 20004371"/>
              </a:avLst>
            </a:prstGeom>
            <a:ln w="1905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0000"/>
                </a:solidFill>
              </a:endParaRPr>
            </a:p>
          </p:txBody>
        </p:sp>
        <p:sp>
          <p:nvSpPr>
            <p:cNvPr id="197" name="Arc 196"/>
            <p:cNvSpPr>
              <a:spLocks noChangeAspect="1"/>
            </p:cNvSpPr>
            <p:nvPr/>
          </p:nvSpPr>
          <p:spPr>
            <a:xfrm>
              <a:off x="7316019" y="3418922"/>
              <a:ext cx="276606" cy="200762"/>
            </a:xfrm>
            <a:prstGeom prst="arc">
              <a:avLst>
                <a:gd name="adj1" fmla="val 12217026"/>
                <a:gd name="adj2" fmla="val 20004371"/>
              </a:avLst>
            </a:prstGeom>
            <a:ln w="1905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0000"/>
                </a:solidFill>
              </a:endParaRPr>
            </a:p>
          </p:txBody>
        </p:sp>
        <p:sp>
          <p:nvSpPr>
            <p:cNvPr id="198" name="Arc 197"/>
            <p:cNvSpPr>
              <a:spLocks noChangeAspect="1"/>
            </p:cNvSpPr>
            <p:nvPr/>
          </p:nvSpPr>
          <p:spPr>
            <a:xfrm>
              <a:off x="7388242" y="3613886"/>
              <a:ext cx="131024" cy="95097"/>
            </a:xfrm>
            <a:prstGeom prst="arc">
              <a:avLst>
                <a:gd name="adj1" fmla="val 12217026"/>
                <a:gd name="adj2" fmla="val 20004371"/>
              </a:avLst>
            </a:prstGeom>
            <a:ln w="1905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0000"/>
                </a:solidFill>
              </a:endParaRPr>
            </a:p>
          </p:txBody>
        </p:sp>
        <p:sp>
          <p:nvSpPr>
            <p:cNvPr id="199" name="Arc 198"/>
            <p:cNvSpPr>
              <a:spLocks noChangeAspect="1"/>
            </p:cNvSpPr>
            <p:nvPr/>
          </p:nvSpPr>
          <p:spPr>
            <a:xfrm>
              <a:off x="7177157" y="2840059"/>
              <a:ext cx="554331" cy="402336"/>
            </a:xfrm>
            <a:prstGeom prst="arc">
              <a:avLst>
                <a:gd name="adj1" fmla="val 12217026"/>
                <a:gd name="adj2" fmla="val 20004371"/>
              </a:avLst>
            </a:prstGeom>
            <a:ln w="1905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0000"/>
                </a:solidFill>
              </a:endParaRPr>
            </a:p>
          </p:txBody>
        </p:sp>
        <p:sp>
          <p:nvSpPr>
            <p:cNvPr id="200" name="Arc 199"/>
            <p:cNvSpPr>
              <a:spLocks noChangeAspect="1"/>
            </p:cNvSpPr>
            <p:nvPr/>
          </p:nvSpPr>
          <p:spPr>
            <a:xfrm>
              <a:off x="7114165" y="2412113"/>
              <a:ext cx="680315" cy="493776"/>
            </a:xfrm>
            <a:prstGeom prst="arc">
              <a:avLst>
                <a:gd name="adj1" fmla="val 12217026"/>
                <a:gd name="adj2" fmla="val 20004371"/>
              </a:avLst>
            </a:prstGeom>
            <a:ln w="1905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0000"/>
                </a:solidFill>
              </a:endParaRPr>
            </a:p>
          </p:txBody>
        </p:sp>
        <p:sp>
          <p:nvSpPr>
            <p:cNvPr id="201" name="Arc 200"/>
            <p:cNvSpPr>
              <a:spLocks noChangeAspect="1"/>
            </p:cNvSpPr>
            <p:nvPr/>
          </p:nvSpPr>
          <p:spPr>
            <a:xfrm>
              <a:off x="7051173" y="1892727"/>
              <a:ext cx="806299" cy="585216"/>
            </a:xfrm>
            <a:prstGeom prst="arc">
              <a:avLst>
                <a:gd name="adj1" fmla="val 12217026"/>
                <a:gd name="adj2" fmla="val 20004371"/>
              </a:avLst>
            </a:prstGeom>
            <a:ln w="1905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135" name="Group 134"/>
          <p:cNvGrpSpPr/>
          <p:nvPr/>
        </p:nvGrpSpPr>
        <p:grpSpPr>
          <a:xfrm rot="6356989">
            <a:off x="2235582" y="2824407"/>
            <a:ext cx="736958" cy="1973936"/>
            <a:chOff x="6547868" y="767882"/>
            <a:chExt cx="1058267" cy="2698784"/>
          </a:xfrm>
        </p:grpSpPr>
        <p:sp>
          <p:nvSpPr>
            <p:cNvPr id="127" name="Arc 126"/>
            <p:cNvSpPr/>
            <p:nvPr/>
          </p:nvSpPr>
          <p:spPr>
            <a:xfrm>
              <a:off x="6864694" y="3044597"/>
              <a:ext cx="424614" cy="308187"/>
            </a:xfrm>
            <a:prstGeom prst="arc">
              <a:avLst>
                <a:gd name="adj1" fmla="val 12217026"/>
                <a:gd name="adj2" fmla="val 20004371"/>
              </a:avLst>
            </a:prstGeom>
            <a:ln w="1905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0000"/>
                </a:solidFill>
              </a:endParaRPr>
            </a:p>
          </p:txBody>
        </p:sp>
        <p:sp>
          <p:nvSpPr>
            <p:cNvPr id="128" name="Arc 127"/>
            <p:cNvSpPr>
              <a:spLocks noChangeAspect="1"/>
            </p:cNvSpPr>
            <p:nvPr/>
          </p:nvSpPr>
          <p:spPr>
            <a:xfrm>
              <a:off x="6938698" y="3222911"/>
              <a:ext cx="276606" cy="200762"/>
            </a:xfrm>
            <a:prstGeom prst="arc">
              <a:avLst>
                <a:gd name="adj1" fmla="val 12217026"/>
                <a:gd name="adj2" fmla="val 20004371"/>
              </a:avLst>
            </a:prstGeom>
            <a:ln w="1905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0000"/>
                </a:solidFill>
              </a:endParaRPr>
            </a:p>
          </p:txBody>
        </p:sp>
        <p:sp>
          <p:nvSpPr>
            <p:cNvPr id="129" name="Arc 128"/>
            <p:cNvSpPr>
              <a:spLocks noChangeAspect="1"/>
            </p:cNvSpPr>
            <p:nvPr/>
          </p:nvSpPr>
          <p:spPr>
            <a:xfrm>
              <a:off x="7013480" y="3371569"/>
              <a:ext cx="131024" cy="95097"/>
            </a:xfrm>
            <a:prstGeom prst="arc">
              <a:avLst>
                <a:gd name="adj1" fmla="val 12217026"/>
                <a:gd name="adj2" fmla="val 20004371"/>
              </a:avLst>
            </a:prstGeom>
            <a:ln w="1905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0000"/>
                </a:solidFill>
              </a:endParaRPr>
            </a:p>
          </p:txBody>
        </p:sp>
        <p:sp>
          <p:nvSpPr>
            <p:cNvPr id="130" name="Arc 129"/>
            <p:cNvSpPr>
              <a:spLocks noChangeAspect="1"/>
            </p:cNvSpPr>
            <p:nvPr/>
          </p:nvSpPr>
          <p:spPr>
            <a:xfrm>
              <a:off x="6799836" y="2772134"/>
              <a:ext cx="554331" cy="402336"/>
            </a:xfrm>
            <a:prstGeom prst="arc">
              <a:avLst>
                <a:gd name="adj1" fmla="val 12217026"/>
                <a:gd name="adj2" fmla="val 20004371"/>
              </a:avLst>
            </a:prstGeom>
            <a:ln w="1905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0000"/>
                </a:solidFill>
              </a:endParaRPr>
            </a:p>
          </p:txBody>
        </p:sp>
        <p:sp>
          <p:nvSpPr>
            <p:cNvPr id="131" name="Arc 130"/>
            <p:cNvSpPr>
              <a:spLocks noChangeAspect="1"/>
            </p:cNvSpPr>
            <p:nvPr/>
          </p:nvSpPr>
          <p:spPr>
            <a:xfrm>
              <a:off x="6736844" y="2408231"/>
              <a:ext cx="680315" cy="493776"/>
            </a:xfrm>
            <a:prstGeom prst="arc">
              <a:avLst>
                <a:gd name="adj1" fmla="val 12217026"/>
                <a:gd name="adj2" fmla="val 20004371"/>
              </a:avLst>
            </a:prstGeom>
            <a:ln w="1905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0000"/>
                </a:solidFill>
              </a:endParaRPr>
            </a:p>
          </p:txBody>
        </p:sp>
        <p:sp>
          <p:nvSpPr>
            <p:cNvPr id="132" name="Arc 131"/>
            <p:cNvSpPr>
              <a:spLocks noChangeAspect="1"/>
            </p:cNvSpPr>
            <p:nvPr/>
          </p:nvSpPr>
          <p:spPr>
            <a:xfrm>
              <a:off x="6673852" y="1952888"/>
              <a:ext cx="806299" cy="585216"/>
            </a:xfrm>
            <a:prstGeom prst="arc">
              <a:avLst>
                <a:gd name="adj1" fmla="val 12217026"/>
                <a:gd name="adj2" fmla="val 20004371"/>
              </a:avLst>
            </a:prstGeom>
            <a:ln w="1905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0000"/>
                </a:solidFill>
              </a:endParaRPr>
            </a:p>
          </p:txBody>
        </p:sp>
        <p:sp>
          <p:nvSpPr>
            <p:cNvPr id="133" name="Arc 132"/>
            <p:cNvSpPr>
              <a:spLocks noChangeAspect="1"/>
            </p:cNvSpPr>
            <p:nvPr/>
          </p:nvSpPr>
          <p:spPr>
            <a:xfrm>
              <a:off x="6610860" y="1406105"/>
              <a:ext cx="932283" cy="676656"/>
            </a:xfrm>
            <a:prstGeom prst="arc">
              <a:avLst>
                <a:gd name="adj1" fmla="val 12217026"/>
                <a:gd name="adj2" fmla="val 20004371"/>
              </a:avLst>
            </a:prstGeom>
            <a:ln w="1905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0000"/>
                </a:solidFill>
              </a:endParaRPr>
            </a:p>
          </p:txBody>
        </p:sp>
        <p:sp>
          <p:nvSpPr>
            <p:cNvPr id="134" name="Arc 133"/>
            <p:cNvSpPr>
              <a:spLocks noChangeAspect="1"/>
            </p:cNvSpPr>
            <p:nvPr/>
          </p:nvSpPr>
          <p:spPr>
            <a:xfrm>
              <a:off x="6547868" y="767882"/>
              <a:ext cx="1058267" cy="768096"/>
            </a:xfrm>
            <a:prstGeom prst="arc">
              <a:avLst>
                <a:gd name="adj1" fmla="val 12217026"/>
                <a:gd name="adj2" fmla="val 20004371"/>
              </a:avLst>
            </a:prstGeom>
            <a:ln w="19050" cmpd="sng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202" name="Group 201"/>
          <p:cNvGrpSpPr/>
          <p:nvPr/>
        </p:nvGrpSpPr>
        <p:grpSpPr>
          <a:xfrm>
            <a:off x="2736796" y="4409577"/>
            <a:ext cx="440890" cy="440890"/>
            <a:chOff x="10901733" y="852808"/>
            <a:chExt cx="708862" cy="708862"/>
          </a:xfrm>
        </p:grpSpPr>
        <p:sp>
          <p:nvSpPr>
            <p:cNvPr id="203" name="Oval 202"/>
            <p:cNvSpPr/>
            <p:nvPr/>
          </p:nvSpPr>
          <p:spPr>
            <a:xfrm>
              <a:off x="10901733" y="852808"/>
              <a:ext cx="708862" cy="708862"/>
            </a:xfrm>
            <a:prstGeom prst="ellipse">
              <a:avLst/>
            </a:prstGeom>
            <a:solidFill>
              <a:schemeClr val="tx2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 smtClean="0">
                <a:solidFill>
                  <a:srgbClr val="FFFFFF"/>
                </a:solidFill>
              </a:endParaRPr>
            </a:p>
          </p:txBody>
        </p:sp>
        <p:grpSp>
          <p:nvGrpSpPr>
            <p:cNvPr id="204" name="Group 203"/>
            <p:cNvGrpSpPr/>
            <p:nvPr/>
          </p:nvGrpSpPr>
          <p:grpSpPr>
            <a:xfrm>
              <a:off x="11169276" y="977565"/>
              <a:ext cx="184908" cy="476349"/>
              <a:chOff x="-1077913" y="2101851"/>
              <a:chExt cx="1011238" cy="2605088"/>
            </a:xfrm>
            <a:solidFill>
              <a:schemeClr val="bg2"/>
            </a:solidFill>
          </p:grpSpPr>
          <p:sp>
            <p:nvSpPr>
              <p:cNvPr id="205" name="Freeform 83"/>
              <p:cNvSpPr>
                <a:spLocks/>
              </p:cNvSpPr>
              <p:nvPr/>
            </p:nvSpPr>
            <p:spPr bwMode="auto">
              <a:xfrm>
                <a:off x="-212726" y="2451101"/>
                <a:ext cx="146050" cy="220663"/>
              </a:xfrm>
              <a:custGeom>
                <a:avLst/>
                <a:gdLst>
                  <a:gd name="T0" fmla="*/ 93 w 128"/>
                  <a:gd name="T1" fmla="*/ 7 h 193"/>
                  <a:gd name="T2" fmla="*/ 70 w 128"/>
                  <a:gd name="T3" fmla="*/ 7 h 193"/>
                  <a:gd name="T4" fmla="*/ 50 w 128"/>
                  <a:gd name="T5" fmla="*/ 49 h 193"/>
                  <a:gd name="T6" fmla="*/ 4 w 128"/>
                  <a:gd name="T7" fmla="*/ 165 h 193"/>
                  <a:gd name="T8" fmla="*/ 2 w 128"/>
                  <a:gd name="T9" fmla="*/ 176 h 193"/>
                  <a:gd name="T10" fmla="*/ 59 w 128"/>
                  <a:gd name="T11" fmla="*/ 193 h 193"/>
                  <a:gd name="T12" fmla="*/ 126 w 128"/>
                  <a:gd name="T13" fmla="*/ 36 h 193"/>
                  <a:gd name="T14" fmla="*/ 128 w 128"/>
                  <a:gd name="T15" fmla="*/ 23 h 193"/>
                  <a:gd name="T16" fmla="*/ 121 w 128"/>
                  <a:gd name="T17" fmla="*/ 15 h 193"/>
                  <a:gd name="T18" fmla="*/ 120 w 128"/>
                  <a:gd name="T19" fmla="*/ 14 h 193"/>
                  <a:gd name="T20" fmla="*/ 109 w 128"/>
                  <a:gd name="T21" fmla="*/ 11 h 193"/>
                  <a:gd name="T22" fmla="*/ 109 w 128"/>
                  <a:gd name="T23" fmla="*/ 12 h 193"/>
                  <a:gd name="T24" fmla="*/ 93 w 128"/>
                  <a:gd name="T25" fmla="*/ 7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8" h="193">
                    <a:moveTo>
                      <a:pt x="93" y="7"/>
                    </a:moveTo>
                    <a:cubicBezTo>
                      <a:pt x="92" y="7"/>
                      <a:pt x="75" y="0"/>
                      <a:pt x="70" y="7"/>
                    </a:cubicBezTo>
                    <a:cubicBezTo>
                      <a:pt x="64" y="14"/>
                      <a:pt x="50" y="49"/>
                      <a:pt x="50" y="49"/>
                    </a:cubicBezTo>
                    <a:cubicBezTo>
                      <a:pt x="4" y="165"/>
                      <a:pt x="4" y="165"/>
                      <a:pt x="4" y="165"/>
                    </a:cubicBezTo>
                    <a:cubicBezTo>
                      <a:pt x="4" y="165"/>
                      <a:pt x="0" y="172"/>
                      <a:pt x="2" y="176"/>
                    </a:cubicBezTo>
                    <a:cubicBezTo>
                      <a:pt x="4" y="180"/>
                      <a:pt x="59" y="193"/>
                      <a:pt x="59" y="193"/>
                    </a:cubicBezTo>
                    <a:cubicBezTo>
                      <a:pt x="126" y="36"/>
                      <a:pt x="126" y="36"/>
                      <a:pt x="126" y="36"/>
                    </a:cubicBezTo>
                    <a:cubicBezTo>
                      <a:pt x="126" y="36"/>
                      <a:pt x="128" y="27"/>
                      <a:pt x="128" y="23"/>
                    </a:cubicBezTo>
                    <a:cubicBezTo>
                      <a:pt x="127" y="18"/>
                      <a:pt x="121" y="15"/>
                      <a:pt x="121" y="15"/>
                    </a:cubicBezTo>
                    <a:cubicBezTo>
                      <a:pt x="120" y="14"/>
                      <a:pt x="120" y="14"/>
                      <a:pt x="120" y="14"/>
                    </a:cubicBezTo>
                    <a:cubicBezTo>
                      <a:pt x="109" y="11"/>
                      <a:pt x="109" y="11"/>
                      <a:pt x="109" y="11"/>
                    </a:cubicBezTo>
                    <a:cubicBezTo>
                      <a:pt x="109" y="12"/>
                      <a:pt x="109" y="12"/>
                      <a:pt x="109" y="12"/>
                    </a:cubicBezTo>
                    <a:cubicBezTo>
                      <a:pt x="109" y="12"/>
                      <a:pt x="94" y="7"/>
                      <a:pt x="9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206" name="Freeform 84"/>
              <p:cNvSpPr>
                <a:spLocks/>
              </p:cNvSpPr>
              <p:nvPr/>
            </p:nvSpPr>
            <p:spPr bwMode="auto">
              <a:xfrm>
                <a:off x="-1077913" y="2101851"/>
                <a:ext cx="1011238" cy="2605088"/>
              </a:xfrm>
              <a:custGeom>
                <a:avLst/>
                <a:gdLst>
                  <a:gd name="T0" fmla="*/ 868 w 884"/>
                  <a:gd name="T1" fmla="*/ 398 h 2278"/>
                  <a:gd name="T2" fmla="*/ 820 w 884"/>
                  <a:gd name="T3" fmla="*/ 381 h 2278"/>
                  <a:gd name="T4" fmla="*/ 832 w 884"/>
                  <a:gd name="T5" fmla="*/ 412 h 2278"/>
                  <a:gd name="T6" fmla="*/ 794 w 884"/>
                  <a:gd name="T7" fmla="*/ 433 h 2278"/>
                  <a:gd name="T8" fmla="*/ 769 w 884"/>
                  <a:gd name="T9" fmla="*/ 444 h 2278"/>
                  <a:gd name="T10" fmla="*/ 804 w 884"/>
                  <a:gd name="T11" fmla="*/ 467 h 2278"/>
                  <a:gd name="T12" fmla="*/ 789 w 884"/>
                  <a:gd name="T13" fmla="*/ 471 h 2278"/>
                  <a:gd name="T14" fmla="*/ 771 w 884"/>
                  <a:gd name="T15" fmla="*/ 514 h 2278"/>
                  <a:gd name="T16" fmla="*/ 720 w 884"/>
                  <a:gd name="T17" fmla="*/ 570 h 2278"/>
                  <a:gd name="T18" fmla="*/ 587 w 884"/>
                  <a:gd name="T19" fmla="*/ 372 h 2278"/>
                  <a:gd name="T20" fmla="*/ 516 w 884"/>
                  <a:gd name="T21" fmla="*/ 342 h 2278"/>
                  <a:gd name="T22" fmla="*/ 548 w 884"/>
                  <a:gd name="T23" fmla="*/ 258 h 2278"/>
                  <a:gd name="T24" fmla="*/ 560 w 884"/>
                  <a:gd name="T25" fmla="*/ 228 h 2278"/>
                  <a:gd name="T26" fmla="*/ 564 w 884"/>
                  <a:gd name="T27" fmla="*/ 200 h 2278"/>
                  <a:gd name="T28" fmla="*/ 569 w 884"/>
                  <a:gd name="T29" fmla="*/ 197 h 2278"/>
                  <a:gd name="T30" fmla="*/ 570 w 884"/>
                  <a:gd name="T31" fmla="*/ 193 h 2278"/>
                  <a:gd name="T32" fmla="*/ 578 w 884"/>
                  <a:gd name="T33" fmla="*/ 173 h 2278"/>
                  <a:gd name="T34" fmla="*/ 589 w 884"/>
                  <a:gd name="T35" fmla="*/ 131 h 2278"/>
                  <a:gd name="T36" fmla="*/ 600 w 884"/>
                  <a:gd name="T37" fmla="*/ 112 h 2278"/>
                  <a:gd name="T38" fmla="*/ 606 w 884"/>
                  <a:gd name="T39" fmla="*/ 102 h 2278"/>
                  <a:gd name="T40" fmla="*/ 616 w 884"/>
                  <a:gd name="T41" fmla="*/ 81 h 2278"/>
                  <a:gd name="T42" fmla="*/ 618 w 884"/>
                  <a:gd name="T43" fmla="*/ 61 h 2278"/>
                  <a:gd name="T44" fmla="*/ 597 w 884"/>
                  <a:gd name="T45" fmla="*/ 52 h 2278"/>
                  <a:gd name="T46" fmla="*/ 554 w 884"/>
                  <a:gd name="T47" fmla="*/ 51 h 2278"/>
                  <a:gd name="T48" fmla="*/ 552 w 884"/>
                  <a:gd name="T49" fmla="*/ 38 h 2278"/>
                  <a:gd name="T50" fmla="*/ 539 w 884"/>
                  <a:gd name="T51" fmla="*/ 39 h 2278"/>
                  <a:gd name="T52" fmla="*/ 518 w 884"/>
                  <a:gd name="T53" fmla="*/ 25 h 2278"/>
                  <a:gd name="T54" fmla="*/ 500 w 884"/>
                  <a:gd name="T55" fmla="*/ 10 h 2278"/>
                  <a:gd name="T56" fmla="*/ 469 w 884"/>
                  <a:gd name="T57" fmla="*/ 2 h 2278"/>
                  <a:gd name="T58" fmla="*/ 408 w 884"/>
                  <a:gd name="T59" fmla="*/ 6 h 2278"/>
                  <a:gd name="T60" fmla="*/ 343 w 884"/>
                  <a:gd name="T61" fmla="*/ 65 h 2278"/>
                  <a:gd name="T62" fmla="*/ 316 w 884"/>
                  <a:gd name="T63" fmla="*/ 157 h 2278"/>
                  <a:gd name="T64" fmla="*/ 333 w 884"/>
                  <a:gd name="T65" fmla="*/ 225 h 2278"/>
                  <a:gd name="T66" fmla="*/ 337 w 884"/>
                  <a:gd name="T67" fmla="*/ 247 h 2278"/>
                  <a:gd name="T68" fmla="*/ 347 w 884"/>
                  <a:gd name="T69" fmla="*/ 253 h 2278"/>
                  <a:gd name="T70" fmla="*/ 349 w 884"/>
                  <a:gd name="T71" fmla="*/ 262 h 2278"/>
                  <a:gd name="T72" fmla="*/ 345 w 884"/>
                  <a:gd name="T73" fmla="*/ 291 h 2278"/>
                  <a:gd name="T74" fmla="*/ 320 w 884"/>
                  <a:gd name="T75" fmla="*/ 317 h 2278"/>
                  <a:gd name="T76" fmla="*/ 268 w 884"/>
                  <a:gd name="T77" fmla="*/ 358 h 2278"/>
                  <a:gd name="T78" fmla="*/ 45 w 884"/>
                  <a:gd name="T79" fmla="*/ 838 h 2278"/>
                  <a:gd name="T80" fmla="*/ 26 w 884"/>
                  <a:gd name="T81" fmla="*/ 1282 h 2278"/>
                  <a:gd name="T82" fmla="*/ 85 w 884"/>
                  <a:gd name="T83" fmla="*/ 1362 h 2278"/>
                  <a:gd name="T84" fmla="*/ 108 w 884"/>
                  <a:gd name="T85" fmla="*/ 1339 h 2278"/>
                  <a:gd name="T86" fmla="*/ 80 w 884"/>
                  <a:gd name="T87" fmla="*/ 1309 h 2278"/>
                  <a:gd name="T88" fmla="*/ 89 w 884"/>
                  <a:gd name="T89" fmla="*/ 1256 h 2278"/>
                  <a:gd name="T90" fmla="*/ 123 w 884"/>
                  <a:gd name="T91" fmla="*/ 1279 h 2278"/>
                  <a:gd name="T92" fmla="*/ 156 w 884"/>
                  <a:gd name="T93" fmla="*/ 1007 h 2278"/>
                  <a:gd name="T94" fmla="*/ 193 w 884"/>
                  <a:gd name="T95" fmla="*/ 952 h 2278"/>
                  <a:gd name="T96" fmla="*/ 212 w 884"/>
                  <a:gd name="T97" fmla="*/ 1888 h 2278"/>
                  <a:gd name="T98" fmla="*/ 375 w 884"/>
                  <a:gd name="T99" fmla="*/ 2278 h 2278"/>
                  <a:gd name="T100" fmla="*/ 349 w 884"/>
                  <a:gd name="T101" fmla="*/ 1782 h 2278"/>
                  <a:gd name="T102" fmla="*/ 463 w 884"/>
                  <a:gd name="T103" fmla="*/ 1495 h 2278"/>
                  <a:gd name="T104" fmla="*/ 445 w 884"/>
                  <a:gd name="T105" fmla="*/ 2120 h 2278"/>
                  <a:gd name="T106" fmla="*/ 764 w 884"/>
                  <a:gd name="T107" fmla="*/ 2212 h 2278"/>
                  <a:gd name="T108" fmla="*/ 657 w 884"/>
                  <a:gd name="T109" fmla="*/ 1696 h 2278"/>
                  <a:gd name="T110" fmla="*/ 660 w 884"/>
                  <a:gd name="T111" fmla="*/ 1127 h 2278"/>
                  <a:gd name="T112" fmla="*/ 838 w 884"/>
                  <a:gd name="T113" fmla="*/ 639 h 2278"/>
                  <a:gd name="T114" fmla="*/ 837 w 884"/>
                  <a:gd name="T115" fmla="*/ 536 h 2278"/>
                  <a:gd name="T116" fmla="*/ 877 w 884"/>
                  <a:gd name="T117" fmla="*/ 481 h 2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4" h="2278">
                    <a:moveTo>
                      <a:pt x="879" y="451"/>
                    </a:moveTo>
                    <a:cubicBezTo>
                      <a:pt x="882" y="449"/>
                      <a:pt x="883" y="441"/>
                      <a:pt x="883" y="438"/>
                    </a:cubicBezTo>
                    <a:cubicBezTo>
                      <a:pt x="884" y="435"/>
                      <a:pt x="882" y="430"/>
                      <a:pt x="880" y="428"/>
                    </a:cubicBezTo>
                    <a:cubicBezTo>
                      <a:pt x="879" y="426"/>
                      <a:pt x="878" y="419"/>
                      <a:pt x="877" y="412"/>
                    </a:cubicBezTo>
                    <a:cubicBezTo>
                      <a:pt x="877" y="404"/>
                      <a:pt x="876" y="406"/>
                      <a:pt x="874" y="403"/>
                    </a:cubicBezTo>
                    <a:cubicBezTo>
                      <a:pt x="873" y="401"/>
                      <a:pt x="868" y="398"/>
                      <a:pt x="868" y="398"/>
                    </a:cubicBezTo>
                    <a:cubicBezTo>
                      <a:pt x="868" y="398"/>
                      <a:pt x="873" y="386"/>
                      <a:pt x="876" y="383"/>
                    </a:cubicBezTo>
                    <a:cubicBezTo>
                      <a:pt x="878" y="380"/>
                      <a:pt x="880" y="373"/>
                      <a:pt x="878" y="369"/>
                    </a:cubicBezTo>
                    <a:cubicBezTo>
                      <a:pt x="877" y="366"/>
                      <a:pt x="872" y="365"/>
                      <a:pt x="872" y="365"/>
                    </a:cubicBezTo>
                    <a:cubicBezTo>
                      <a:pt x="859" y="393"/>
                      <a:pt x="859" y="393"/>
                      <a:pt x="859" y="393"/>
                    </a:cubicBezTo>
                    <a:cubicBezTo>
                      <a:pt x="856" y="393"/>
                      <a:pt x="839" y="387"/>
                      <a:pt x="838" y="386"/>
                    </a:cubicBezTo>
                    <a:cubicBezTo>
                      <a:pt x="836" y="385"/>
                      <a:pt x="831" y="383"/>
                      <a:pt x="820" y="381"/>
                    </a:cubicBezTo>
                    <a:cubicBezTo>
                      <a:pt x="809" y="379"/>
                      <a:pt x="804" y="376"/>
                      <a:pt x="801" y="378"/>
                    </a:cubicBezTo>
                    <a:cubicBezTo>
                      <a:pt x="798" y="380"/>
                      <a:pt x="797" y="387"/>
                      <a:pt x="799" y="392"/>
                    </a:cubicBezTo>
                    <a:cubicBezTo>
                      <a:pt x="802" y="396"/>
                      <a:pt x="815" y="401"/>
                      <a:pt x="817" y="402"/>
                    </a:cubicBezTo>
                    <a:cubicBezTo>
                      <a:pt x="819" y="402"/>
                      <a:pt x="826" y="405"/>
                      <a:pt x="828" y="406"/>
                    </a:cubicBezTo>
                    <a:cubicBezTo>
                      <a:pt x="831" y="407"/>
                      <a:pt x="846" y="416"/>
                      <a:pt x="846" y="416"/>
                    </a:cubicBezTo>
                    <a:cubicBezTo>
                      <a:pt x="846" y="416"/>
                      <a:pt x="836" y="413"/>
                      <a:pt x="832" y="412"/>
                    </a:cubicBezTo>
                    <a:cubicBezTo>
                      <a:pt x="828" y="411"/>
                      <a:pt x="824" y="411"/>
                      <a:pt x="820" y="409"/>
                    </a:cubicBezTo>
                    <a:cubicBezTo>
                      <a:pt x="816" y="408"/>
                      <a:pt x="806" y="408"/>
                      <a:pt x="804" y="408"/>
                    </a:cubicBezTo>
                    <a:cubicBezTo>
                      <a:pt x="803" y="408"/>
                      <a:pt x="792" y="409"/>
                      <a:pt x="787" y="410"/>
                    </a:cubicBezTo>
                    <a:cubicBezTo>
                      <a:pt x="782" y="410"/>
                      <a:pt x="772" y="410"/>
                      <a:pt x="771" y="416"/>
                    </a:cubicBezTo>
                    <a:cubicBezTo>
                      <a:pt x="769" y="422"/>
                      <a:pt x="774" y="428"/>
                      <a:pt x="776" y="429"/>
                    </a:cubicBezTo>
                    <a:cubicBezTo>
                      <a:pt x="778" y="430"/>
                      <a:pt x="790" y="433"/>
                      <a:pt x="794" y="433"/>
                    </a:cubicBezTo>
                    <a:cubicBezTo>
                      <a:pt x="798" y="433"/>
                      <a:pt x="815" y="434"/>
                      <a:pt x="818" y="434"/>
                    </a:cubicBezTo>
                    <a:cubicBezTo>
                      <a:pt x="821" y="434"/>
                      <a:pt x="832" y="442"/>
                      <a:pt x="832" y="442"/>
                    </a:cubicBezTo>
                    <a:cubicBezTo>
                      <a:pt x="832" y="442"/>
                      <a:pt x="826" y="442"/>
                      <a:pt x="824" y="442"/>
                    </a:cubicBezTo>
                    <a:cubicBezTo>
                      <a:pt x="822" y="443"/>
                      <a:pt x="795" y="440"/>
                      <a:pt x="791" y="440"/>
                    </a:cubicBezTo>
                    <a:cubicBezTo>
                      <a:pt x="787" y="440"/>
                      <a:pt x="780" y="440"/>
                      <a:pt x="778" y="440"/>
                    </a:cubicBezTo>
                    <a:cubicBezTo>
                      <a:pt x="776" y="440"/>
                      <a:pt x="772" y="443"/>
                      <a:pt x="769" y="444"/>
                    </a:cubicBezTo>
                    <a:cubicBezTo>
                      <a:pt x="767" y="444"/>
                      <a:pt x="762" y="444"/>
                      <a:pt x="758" y="446"/>
                    </a:cubicBezTo>
                    <a:cubicBezTo>
                      <a:pt x="753" y="448"/>
                      <a:pt x="751" y="454"/>
                      <a:pt x="753" y="458"/>
                    </a:cubicBezTo>
                    <a:cubicBezTo>
                      <a:pt x="754" y="463"/>
                      <a:pt x="759" y="465"/>
                      <a:pt x="761" y="466"/>
                    </a:cubicBezTo>
                    <a:cubicBezTo>
                      <a:pt x="763" y="467"/>
                      <a:pt x="773" y="467"/>
                      <a:pt x="776" y="467"/>
                    </a:cubicBezTo>
                    <a:cubicBezTo>
                      <a:pt x="778" y="466"/>
                      <a:pt x="787" y="465"/>
                      <a:pt x="789" y="464"/>
                    </a:cubicBezTo>
                    <a:cubicBezTo>
                      <a:pt x="791" y="464"/>
                      <a:pt x="803" y="467"/>
                      <a:pt x="804" y="467"/>
                    </a:cubicBezTo>
                    <a:cubicBezTo>
                      <a:pt x="806" y="467"/>
                      <a:pt x="811" y="467"/>
                      <a:pt x="812" y="468"/>
                    </a:cubicBezTo>
                    <a:cubicBezTo>
                      <a:pt x="814" y="468"/>
                      <a:pt x="816" y="469"/>
                      <a:pt x="816" y="469"/>
                    </a:cubicBezTo>
                    <a:cubicBezTo>
                      <a:pt x="816" y="469"/>
                      <a:pt x="818" y="469"/>
                      <a:pt x="817" y="470"/>
                    </a:cubicBezTo>
                    <a:cubicBezTo>
                      <a:pt x="816" y="471"/>
                      <a:pt x="813" y="470"/>
                      <a:pt x="812" y="470"/>
                    </a:cubicBezTo>
                    <a:cubicBezTo>
                      <a:pt x="811" y="470"/>
                      <a:pt x="811" y="470"/>
                      <a:pt x="808" y="470"/>
                    </a:cubicBezTo>
                    <a:cubicBezTo>
                      <a:pt x="805" y="470"/>
                      <a:pt x="796" y="473"/>
                      <a:pt x="789" y="471"/>
                    </a:cubicBezTo>
                    <a:cubicBezTo>
                      <a:pt x="784" y="470"/>
                      <a:pt x="772" y="471"/>
                      <a:pt x="769" y="471"/>
                    </a:cubicBezTo>
                    <a:cubicBezTo>
                      <a:pt x="767" y="471"/>
                      <a:pt x="761" y="471"/>
                      <a:pt x="758" y="473"/>
                    </a:cubicBezTo>
                    <a:cubicBezTo>
                      <a:pt x="754" y="475"/>
                      <a:pt x="754" y="476"/>
                      <a:pt x="754" y="483"/>
                    </a:cubicBezTo>
                    <a:cubicBezTo>
                      <a:pt x="755" y="490"/>
                      <a:pt x="767" y="489"/>
                      <a:pt x="771" y="490"/>
                    </a:cubicBezTo>
                    <a:cubicBezTo>
                      <a:pt x="775" y="490"/>
                      <a:pt x="786" y="492"/>
                      <a:pt x="786" y="492"/>
                    </a:cubicBezTo>
                    <a:cubicBezTo>
                      <a:pt x="786" y="492"/>
                      <a:pt x="775" y="499"/>
                      <a:pt x="771" y="514"/>
                    </a:cubicBezTo>
                    <a:cubicBezTo>
                      <a:pt x="763" y="511"/>
                      <a:pt x="756" y="510"/>
                      <a:pt x="754" y="511"/>
                    </a:cubicBezTo>
                    <a:cubicBezTo>
                      <a:pt x="748" y="515"/>
                      <a:pt x="748" y="524"/>
                      <a:pt x="748" y="524"/>
                    </a:cubicBezTo>
                    <a:cubicBezTo>
                      <a:pt x="747" y="531"/>
                      <a:pt x="747" y="539"/>
                      <a:pt x="747" y="539"/>
                    </a:cubicBezTo>
                    <a:cubicBezTo>
                      <a:pt x="725" y="600"/>
                      <a:pt x="725" y="600"/>
                      <a:pt x="725" y="600"/>
                    </a:cubicBezTo>
                    <a:cubicBezTo>
                      <a:pt x="720" y="588"/>
                      <a:pt x="720" y="588"/>
                      <a:pt x="720" y="588"/>
                    </a:cubicBezTo>
                    <a:cubicBezTo>
                      <a:pt x="720" y="570"/>
                      <a:pt x="720" y="570"/>
                      <a:pt x="720" y="570"/>
                    </a:cubicBezTo>
                    <a:cubicBezTo>
                      <a:pt x="719" y="533"/>
                      <a:pt x="713" y="493"/>
                      <a:pt x="713" y="493"/>
                    </a:cubicBezTo>
                    <a:cubicBezTo>
                      <a:pt x="713" y="480"/>
                      <a:pt x="706" y="452"/>
                      <a:pt x="706" y="452"/>
                    </a:cubicBezTo>
                    <a:cubicBezTo>
                      <a:pt x="692" y="426"/>
                      <a:pt x="677" y="414"/>
                      <a:pt x="666" y="409"/>
                    </a:cubicBezTo>
                    <a:cubicBezTo>
                      <a:pt x="666" y="409"/>
                      <a:pt x="666" y="409"/>
                      <a:pt x="666" y="409"/>
                    </a:cubicBezTo>
                    <a:cubicBezTo>
                      <a:pt x="650" y="396"/>
                      <a:pt x="650" y="396"/>
                      <a:pt x="650" y="396"/>
                    </a:cubicBezTo>
                    <a:cubicBezTo>
                      <a:pt x="630" y="382"/>
                      <a:pt x="607" y="379"/>
                      <a:pt x="587" y="372"/>
                    </a:cubicBezTo>
                    <a:cubicBezTo>
                      <a:pt x="567" y="364"/>
                      <a:pt x="556" y="355"/>
                      <a:pt x="539" y="351"/>
                    </a:cubicBezTo>
                    <a:cubicBezTo>
                      <a:pt x="539" y="351"/>
                      <a:pt x="539" y="351"/>
                      <a:pt x="539" y="351"/>
                    </a:cubicBezTo>
                    <a:cubicBezTo>
                      <a:pt x="538" y="350"/>
                      <a:pt x="537" y="350"/>
                      <a:pt x="537" y="350"/>
                    </a:cubicBezTo>
                    <a:cubicBezTo>
                      <a:pt x="527" y="350"/>
                      <a:pt x="525" y="349"/>
                      <a:pt x="524" y="348"/>
                    </a:cubicBezTo>
                    <a:cubicBezTo>
                      <a:pt x="521" y="346"/>
                      <a:pt x="518" y="344"/>
                      <a:pt x="517" y="344"/>
                    </a:cubicBezTo>
                    <a:cubicBezTo>
                      <a:pt x="514" y="343"/>
                      <a:pt x="516" y="342"/>
                      <a:pt x="516" y="342"/>
                    </a:cubicBezTo>
                    <a:cubicBezTo>
                      <a:pt x="516" y="342"/>
                      <a:pt x="521" y="341"/>
                      <a:pt x="521" y="341"/>
                    </a:cubicBezTo>
                    <a:cubicBezTo>
                      <a:pt x="533" y="335"/>
                      <a:pt x="532" y="326"/>
                      <a:pt x="532" y="326"/>
                    </a:cubicBezTo>
                    <a:cubicBezTo>
                      <a:pt x="532" y="326"/>
                      <a:pt x="532" y="318"/>
                      <a:pt x="532" y="316"/>
                    </a:cubicBezTo>
                    <a:cubicBezTo>
                      <a:pt x="533" y="309"/>
                      <a:pt x="541" y="297"/>
                      <a:pt x="542" y="296"/>
                    </a:cubicBezTo>
                    <a:cubicBezTo>
                      <a:pt x="551" y="280"/>
                      <a:pt x="550" y="271"/>
                      <a:pt x="550" y="270"/>
                    </a:cubicBezTo>
                    <a:cubicBezTo>
                      <a:pt x="549" y="265"/>
                      <a:pt x="548" y="259"/>
                      <a:pt x="548" y="258"/>
                    </a:cubicBezTo>
                    <a:cubicBezTo>
                      <a:pt x="548" y="256"/>
                      <a:pt x="549" y="255"/>
                      <a:pt x="550" y="255"/>
                    </a:cubicBezTo>
                    <a:cubicBezTo>
                      <a:pt x="553" y="255"/>
                      <a:pt x="554" y="254"/>
                      <a:pt x="554" y="254"/>
                    </a:cubicBezTo>
                    <a:cubicBezTo>
                      <a:pt x="554" y="254"/>
                      <a:pt x="557" y="252"/>
                      <a:pt x="558" y="252"/>
                    </a:cubicBezTo>
                    <a:cubicBezTo>
                      <a:pt x="560" y="250"/>
                      <a:pt x="561" y="246"/>
                      <a:pt x="561" y="245"/>
                    </a:cubicBezTo>
                    <a:cubicBezTo>
                      <a:pt x="563" y="240"/>
                      <a:pt x="561" y="237"/>
                      <a:pt x="561" y="236"/>
                    </a:cubicBezTo>
                    <a:cubicBezTo>
                      <a:pt x="559" y="231"/>
                      <a:pt x="559" y="230"/>
                      <a:pt x="560" y="228"/>
                    </a:cubicBezTo>
                    <a:cubicBezTo>
                      <a:pt x="561" y="226"/>
                      <a:pt x="561" y="223"/>
                      <a:pt x="561" y="222"/>
                    </a:cubicBezTo>
                    <a:cubicBezTo>
                      <a:pt x="562" y="214"/>
                      <a:pt x="560" y="208"/>
                      <a:pt x="560" y="207"/>
                    </a:cubicBezTo>
                    <a:cubicBezTo>
                      <a:pt x="560" y="207"/>
                      <a:pt x="562" y="205"/>
                      <a:pt x="563" y="204"/>
                    </a:cubicBezTo>
                    <a:cubicBezTo>
                      <a:pt x="564" y="203"/>
                      <a:pt x="564" y="202"/>
                      <a:pt x="564" y="202"/>
                    </a:cubicBezTo>
                    <a:cubicBezTo>
                      <a:pt x="565" y="203"/>
                      <a:pt x="565" y="203"/>
                      <a:pt x="565" y="203"/>
                    </a:cubicBezTo>
                    <a:cubicBezTo>
                      <a:pt x="564" y="200"/>
                      <a:pt x="564" y="200"/>
                      <a:pt x="564" y="200"/>
                    </a:cubicBezTo>
                    <a:cubicBezTo>
                      <a:pt x="564" y="199"/>
                      <a:pt x="564" y="199"/>
                      <a:pt x="564" y="199"/>
                    </a:cubicBezTo>
                    <a:cubicBezTo>
                      <a:pt x="565" y="199"/>
                      <a:pt x="565" y="199"/>
                      <a:pt x="565" y="199"/>
                    </a:cubicBezTo>
                    <a:cubicBezTo>
                      <a:pt x="565" y="199"/>
                      <a:pt x="567" y="199"/>
                      <a:pt x="567" y="200"/>
                    </a:cubicBezTo>
                    <a:cubicBezTo>
                      <a:pt x="573" y="200"/>
                      <a:pt x="574" y="197"/>
                      <a:pt x="573" y="197"/>
                    </a:cubicBezTo>
                    <a:cubicBezTo>
                      <a:pt x="571" y="198"/>
                      <a:pt x="568" y="197"/>
                      <a:pt x="569" y="197"/>
                    </a:cubicBezTo>
                    <a:cubicBezTo>
                      <a:pt x="569" y="197"/>
                      <a:pt x="569" y="197"/>
                      <a:pt x="569" y="197"/>
                    </a:cubicBezTo>
                    <a:cubicBezTo>
                      <a:pt x="573" y="197"/>
                      <a:pt x="575" y="194"/>
                      <a:pt x="574" y="194"/>
                    </a:cubicBezTo>
                    <a:cubicBezTo>
                      <a:pt x="570" y="196"/>
                      <a:pt x="569" y="195"/>
                      <a:pt x="569" y="195"/>
                    </a:cubicBezTo>
                    <a:cubicBezTo>
                      <a:pt x="570" y="194"/>
                      <a:pt x="570" y="194"/>
                      <a:pt x="570" y="194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3" y="192"/>
                      <a:pt x="573" y="192"/>
                      <a:pt x="573" y="192"/>
                    </a:cubicBezTo>
                    <a:cubicBezTo>
                      <a:pt x="570" y="193"/>
                      <a:pt x="570" y="193"/>
                      <a:pt x="570" y="193"/>
                    </a:cubicBezTo>
                    <a:cubicBezTo>
                      <a:pt x="570" y="193"/>
                      <a:pt x="569" y="192"/>
                      <a:pt x="569" y="191"/>
                    </a:cubicBezTo>
                    <a:cubicBezTo>
                      <a:pt x="570" y="189"/>
                      <a:pt x="571" y="188"/>
                      <a:pt x="571" y="188"/>
                    </a:cubicBezTo>
                    <a:cubicBezTo>
                      <a:pt x="571" y="188"/>
                      <a:pt x="574" y="186"/>
                      <a:pt x="575" y="185"/>
                    </a:cubicBezTo>
                    <a:cubicBezTo>
                      <a:pt x="577" y="183"/>
                      <a:pt x="578" y="181"/>
                      <a:pt x="578" y="181"/>
                    </a:cubicBezTo>
                    <a:cubicBezTo>
                      <a:pt x="578" y="181"/>
                      <a:pt x="578" y="179"/>
                      <a:pt x="578" y="178"/>
                    </a:cubicBezTo>
                    <a:cubicBezTo>
                      <a:pt x="579" y="176"/>
                      <a:pt x="578" y="173"/>
                      <a:pt x="578" y="173"/>
                    </a:cubicBezTo>
                    <a:cubicBezTo>
                      <a:pt x="578" y="173"/>
                      <a:pt x="578" y="171"/>
                      <a:pt x="577" y="169"/>
                    </a:cubicBezTo>
                    <a:cubicBezTo>
                      <a:pt x="573" y="161"/>
                      <a:pt x="574" y="157"/>
                      <a:pt x="575" y="156"/>
                    </a:cubicBezTo>
                    <a:cubicBezTo>
                      <a:pt x="577" y="150"/>
                      <a:pt x="577" y="146"/>
                      <a:pt x="577" y="145"/>
                    </a:cubicBezTo>
                    <a:cubicBezTo>
                      <a:pt x="577" y="140"/>
                      <a:pt x="578" y="140"/>
                      <a:pt x="579" y="140"/>
                    </a:cubicBezTo>
                    <a:cubicBezTo>
                      <a:pt x="582" y="138"/>
                      <a:pt x="583" y="137"/>
                      <a:pt x="584" y="135"/>
                    </a:cubicBezTo>
                    <a:cubicBezTo>
                      <a:pt x="586" y="133"/>
                      <a:pt x="588" y="132"/>
                      <a:pt x="589" y="131"/>
                    </a:cubicBezTo>
                    <a:cubicBezTo>
                      <a:pt x="592" y="129"/>
                      <a:pt x="594" y="125"/>
                      <a:pt x="594" y="126"/>
                    </a:cubicBezTo>
                    <a:cubicBezTo>
                      <a:pt x="593" y="131"/>
                      <a:pt x="588" y="136"/>
                      <a:pt x="588" y="136"/>
                    </a:cubicBezTo>
                    <a:cubicBezTo>
                      <a:pt x="591" y="134"/>
                      <a:pt x="591" y="134"/>
                      <a:pt x="591" y="134"/>
                    </a:cubicBezTo>
                    <a:cubicBezTo>
                      <a:pt x="591" y="134"/>
                      <a:pt x="586" y="141"/>
                      <a:pt x="587" y="140"/>
                    </a:cubicBezTo>
                    <a:cubicBezTo>
                      <a:pt x="595" y="133"/>
                      <a:pt x="596" y="128"/>
                      <a:pt x="597" y="127"/>
                    </a:cubicBezTo>
                    <a:cubicBezTo>
                      <a:pt x="601" y="123"/>
                      <a:pt x="600" y="112"/>
                      <a:pt x="600" y="112"/>
                    </a:cubicBezTo>
                    <a:cubicBezTo>
                      <a:pt x="600" y="112"/>
                      <a:pt x="601" y="111"/>
                      <a:pt x="602" y="111"/>
                    </a:cubicBezTo>
                    <a:cubicBezTo>
                      <a:pt x="608" y="107"/>
                      <a:pt x="606" y="103"/>
                      <a:pt x="606" y="103"/>
                    </a:cubicBezTo>
                    <a:cubicBezTo>
                      <a:pt x="606" y="103"/>
                      <a:pt x="607" y="104"/>
                      <a:pt x="608" y="105"/>
                    </a:cubicBezTo>
                    <a:cubicBezTo>
                      <a:pt x="614" y="109"/>
                      <a:pt x="618" y="109"/>
                      <a:pt x="616" y="109"/>
                    </a:cubicBezTo>
                    <a:cubicBezTo>
                      <a:pt x="613" y="108"/>
                      <a:pt x="610" y="106"/>
                      <a:pt x="609" y="105"/>
                    </a:cubicBezTo>
                    <a:cubicBezTo>
                      <a:pt x="608" y="104"/>
                      <a:pt x="607" y="103"/>
                      <a:pt x="606" y="102"/>
                    </a:cubicBezTo>
                    <a:cubicBezTo>
                      <a:pt x="605" y="101"/>
                      <a:pt x="604" y="100"/>
                      <a:pt x="604" y="100"/>
                    </a:cubicBezTo>
                    <a:cubicBezTo>
                      <a:pt x="610" y="90"/>
                      <a:pt x="609" y="85"/>
                      <a:pt x="609" y="85"/>
                    </a:cubicBezTo>
                    <a:cubicBezTo>
                      <a:pt x="609" y="85"/>
                      <a:pt x="613" y="83"/>
                      <a:pt x="614" y="83"/>
                    </a:cubicBezTo>
                    <a:cubicBezTo>
                      <a:pt x="614" y="83"/>
                      <a:pt x="618" y="88"/>
                      <a:pt x="618" y="87"/>
                    </a:cubicBezTo>
                    <a:cubicBezTo>
                      <a:pt x="618" y="86"/>
                      <a:pt x="615" y="82"/>
                      <a:pt x="615" y="82"/>
                    </a:cubicBezTo>
                    <a:cubicBezTo>
                      <a:pt x="616" y="81"/>
                      <a:pt x="616" y="81"/>
                      <a:pt x="616" y="81"/>
                    </a:cubicBezTo>
                    <a:cubicBezTo>
                      <a:pt x="618" y="82"/>
                      <a:pt x="618" y="82"/>
                      <a:pt x="618" y="82"/>
                    </a:cubicBezTo>
                    <a:cubicBezTo>
                      <a:pt x="617" y="80"/>
                      <a:pt x="617" y="80"/>
                      <a:pt x="617" y="80"/>
                    </a:cubicBezTo>
                    <a:cubicBezTo>
                      <a:pt x="617" y="80"/>
                      <a:pt x="619" y="77"/>
                      <a:pt x="619" y="75"/>
                    </a:cubicBezTo>
                    <a:cubicBezTo>
                      <a:pt x="621" y="70"/>
                      <a:pt x="616" y="68"/>
                      <a:pt x="616" y="68"/>
                    </a:cubicBezTo>
                    <a:cubicBezTo>
                      <a:pt x="616" y="68"/>
                      <a:pt x="613" y="67"/>
                      <a:pt x="614" y="67"/>
                    </a:cubicBezTo>
                    <a:cubicBezTo>
                      <a:pt x="619" y="64"/>
                      <a:pt x="618" y="61"/>
                      <a:pt x="618" y="61"/>
                    </a:cubicBezTo>
                    <a:cubicBezTo>
                      <a:pt x="612" y="65"/>
                      <a:pt x="612" y="65"/>
                      <a:pt x="612" y="65"/>
                    </a:cubicBezTo>
                    <a:cubicBezTo>
                      <a:pt x="611" y="65"/>
                      <a:pt x="611" y="65"/>
                      <a:pt x="611" y="65"/>
                    </a:cubicBezTo>
                    <a:cubicBezTo>
                      <a:pt x="611" y="65"/>
                      <a:pt x="609" y="64"/>
                      <a:pt x="610" y="64"/>
                    </a:cubicBezTo>
                    <a:cubicBezTo>
                      <a:pt x="611" y="63"/>
                      <a:pt x="610" y="60"/>
                      <a:pt x="609" y="59"/>
                    </a:cubicBezTo>
                    <a:cubicBezTo>
                      <a:pt x="606" y="52"/>
                      <a:pt x="602" y="53"/>
                      <a:pt x="602" y="53"/>
                    </a:cubicBezTo>
                    <a:cubicBezTo>
                      <a:pt x="602" y="53"/>
                      <a:pt x="598" y="52"/>
                      <a:pt x="597" y="52"/>
                    </a:cubicBezTo>
                    <a:cubicBezTo>
                      <a:pt x="588" y="53"/>
                      <a:pt x="578" y="59"/>
                      <a:pt x="577" y="59"/>
                    </a:cubicBezTo>
                    <a:cubicBezTo>
                      <a:pt x="574" y="57"/>
                      <a:pt x="572" y="57"/>
                      <a:pt x="572" y="57"/>
                    </a:cubicBezTo>
                    <a:cubicBezTo>
                      <a:pt x="572" y="57"/>
                      <a:pt x="571" y="59"/>
                      <a:pt x="570" y="58"/>
                    </a:cubicBezTo>
                    <a:cubicBezTo>
                      <a:pt x="567" y="56"/>
                      <a:pt x="567" y="57"/>
                      <a:pt x="567" y="57"/>
                    </a:cubicBezTo>
                    <a:cubicBezTo>
                      <a:pt x="567" y="57"/>
                      <a:pt x="567" y="59"/>
                      <a:pt x="565" y="58"/>
                    </a:cubicBezTo>
                    <a:cubicBezTo>
                      <a:pt x="562" y="55"/>
                      <a:pt x="554" y="51"/>
                      <a:pt x="554" y="51"/>
                    </a:cubicBezTo>
                    <a:cubicBezTo>
                      <a:pt x="554" y="51"/>
                      <a:pt x="552" y="51"/>
                      <a:pt x="552" y="50"/>
                    </a:cubicBezTo>
                    <a:cubicBezTo>
                      <a:pt x="551" y="47"/>
                      <a:pt x="554" y="45"/>
                      <a:pt x="555" y="45"/>
                    </a:cubicBezTo>
                    <a:cubicBezTo>
                      <a:pt x="563" y="36"/>
                      <a:pt x="573" y="35"/>
                      <a:pt x="572" y="35"/>
                    </a:cubicBezTo>
                    <a:cubicBezTo>
                      <a:pt x="569" y="34"/>
                      <a:pt x="567" y="35"/>
                      <a:pt x="567" y="35"/>
                    </a:cubicBezTo>
                    <a:cubicBezTo>
                      <a:pt x="567" y="35"/>
                      <a:pt x="563" y="35"/>
                      <a:pt x="562" y="35"/>
                    </a:cubicBezTo>
                    <a:cubicBezTo>
                      <a:pt x="556" y="36"/>
                      <a:pt x="553" y="38"/>
                      <a:pt x="552" y="38"/>
                    </a:cubicBezTo>
                    <a:cubicBezTo>
                      <a:pt x="548" y="39"/>
                      <a:pt x="544" y="41"/>
                      <a:pt x="544" y="41"/>
                    </a:cubicBezTo>
                    <a:cubicBezTo>
                      <a:pt x="541" y="43"/>
                      <a:pt x="540" y="42"/>
                      <a:pt x="540" y="42"/>
                    </a:cubicBezTo>
                    <a:cubicBezTo>
                      <a:pt x="543" y="40"/>
                      <a:pt x="543" y="40"/>
                      <a:pt x="543" y="40"/>
                    </a:cubicBezTo>
                    <a:cubicBezTo>
                      <a:pt x="543" y="40"/>
                      <a:pt x="543" y="38"/>
                      <a:pt x="543" y="38"/>
                    </a:cubicBezTo>
                    <a:cubicBezTo>
                      <a:pt x="541" y="39"/>
                      <a:pt x="541" y="39"/>
                      <a:pt x="541" y="39"/>
                    </a:cubicBezTo>
                    <a:cubicBezTo>
                      <a:pt x="541" y="39"/>
                      <a:pt x="540" y="40"/>
                      <a:pt x="539" y="39"/>
                    </a:cubicBezTo>
                    <a:cubicBezTo>
                      <a:pt x="535" y="35"/>
                      <a:pt x="532" y="35"/>
                      <a:pt x="532" y="35"/>
                    </a:cubicBezTo>
                    <a:cubicBezTo>
                      <a:pt x="532" y="35"/>
                      <a:pt x="531" y="34"/>
                      <a:pt x="530" y="34"/>
                    </a:cubicBezTo>
                    <a:cubicBezTo>
                      <a:pt x="530" y="34"/>
                      <a:pt x="528" y="31"/>
                      <a:pt x="527" y="31"/>
                    </a:cubicBezTo>
                    <a:cubicBezTo>
                      <a:pt x="526" y="29"/>
                      <a:pt x="525" y="29"/>
                      <a:pt x="524" y="30"/>
                    </a:cubicBezTo>
                    <a:cubicBezTo>
                      <a:pt x="522" y="30"/>
                      <a:pt x="523" y="27"/>
                      <a:pt x="522" y="26"/>
                    </a:cubicBezTo>
                    <a:cubicBezTo>
                      <a:pt x="521" y="25"/>
                      <a:pt x="519" y="25"/>
                      <a:pt x="518" y="25"/>
                    </a:cubicBezTo>
                    <a:cubicBezTo>
                      <a:pt x="516" y="25"/>
                      <a:pt x="515" y="25"/>
                      <a:pt x="514" y="24"/>
                    </a:cubicBezTo>
                    <a:cubicBezTo>
                      <a:pt x="514" y="23"/>
                      <a:pt x="512" y="22"/>
                      <a:pt x="512" y="22"/>
                    </a:cubicBezTo>
                    <a:cubicBezTo>
                      <a:pt x="511" y="22"/>
                      <a:pt x="510" y="20"/>
                      <a:pt x="509" y="19"/>
                    </a:cubicBezTo>
                    <a:cubicBezTo>
                      <a:pt x="509" y="18"/>
                      <a:pt x="507" y="17"/>
                      <a:pt x="507" y="17"/>
                    </a:cubicBezTo>
                    <a:cubicBezTo>
                      <a:pt x="506" y="15"/>
                      <a:pt x="504" y="13"/>
                      <a:pt x="504" y="13"/>
                    </a:cubicBezTo>
                    <a:cubicBezTo>
                      <a:pt x="501" y="11"/>
                      <a:pt x="501" y="10"/>
                      <a:pt x="500" y="10"/>
                    </a:cubicBezTo>
                    <a:cubicBezTo>
                      <a:pt x="495" y="8"/>
                      <a:pt x="491" y="9"/>
                      <a:pt x="491" y="9"/>
                    </a:cubicBezTo>
                    <a:cubicBezTo>
                      <a:pt x="491" y="9"/>
                      <a:pt x="490" y="10"/>
                      <a:pt x="490" y="9"/>
                    </a:cubicBezTo>
                    <a:cubicBezTo>
                      <a:pt x="489" y="3"/>
                      <a:pt x="486" y="3"/>
                      <a:pt x="485" y="2"/>
                    </a:cubicBezTo>
                    <a:cubicBezTo>
                      <a:pt x="480" y="2"/>
                      <a:pt x="475" y="8"/>
                      <a:pt x="475" y="8"/>
                    </a:cubicBezTo>
                    <a:cubicBezTo>
                      <a:pt x="475" y="8"/>
                      <a:pt x="474" y="9"/>
                      <a:pt x="474" y="9"/>
                    </a:cubicBezTo>
                    <a:cubicBezTo>
                      <a:pt x="472" y="3"/>
                      <a:pt x="470" y="2"/>
                      <a:pt x="469" y="2"/>
                    </a:cubicBezTo>
                    <a:cubicBezTo>
                      <a:pt x="466" y="0"/>
                      <a:pt x="463" y="1"/>
                      <a:pt x="462" y="1"/>
                    </a:cubicBezTo>
                    <a:cubicBezTo>
                      <a:pt x="462" y="2"/>
                      <a:pt x="461" y="2"/>
                      <a:pt x="460" y="1"/>
                    </a:cubicBezTo>
                    <a:cubicBezTo>
                      <a:pt x="457" y="1"/>
                      <a:pt x="452" y="2"/>
                      <a:pt x="451" y="2"/>
                    </a:cubicBezTo>
                    <a:cubicBezTo>
                      <a:pt x="443" y="4"/>
                      <a:pt x="437" y="3"/>
                      <a:pt x="436" y="3"/>
                    </a:cubicBezTo>
                    <a:cubicBezTo>
                      <a:pt x="429" y="2"/>
                      <a:pt x="423" y="3"/>
                      <a:pt x="422" y="3"/>
                    </a:cubicBezTo>
                    <a:cubicBezTo>
                      <a:pt x="414" y="3"/>
                      <a:pt x="409" y="5"/>
                      <a:pt x="408" y="6"/>
                    </a:cubicBezTo>
                    <a:cubicBezTo>
                      <a:pt x="395" y="9"/>
                      <a:pt x="393" y="13"/>
                      <a:pt x="392" y="13"/>
                    </a:cubicBezTo>
                    <a:cubicBezTo>
                      <a:pt x="390" y="14"/>
                      <a:pt x="383" y="20"/>
                      <a:pt x="382" y="20"/>
                    </a:cubicBezTo>
                    <a:cubicBezTo>
                      <a:pt x="379" y="25"/>
                      <a:pt x="375" y="27"/>
                      <a:pt x="374" y="28"/>
                    </a:cubicBezTo>
                    <a:cubicBezTo>
                      <a:pt x="372" y="29"/>
                      <a:pt x="368" y="33"/>
                      <a:pt x="368" y="34"/>
                    </a:cubicBezTo>
                    <a:cubicBezTo>
                      <a:pt x="364" y="39"/>
                      <a:pt x="359" y="41"/>
                      <a:pt x="359" y="41"/>
                    </a:cubicBezTo>
                    <a:cubicBezTo>
                      <a:pt x="348" y="50"/>
                      <a:pt x="343" y="64"/>
                      <a:pt x="343" y="65"/>
                    </a:cubicBezTo>
                    <a:cubicBezTo>
                      <a:pt x="340" y="71"/>
                      <a:pt x="336" y="78"/>
                      <a:pt x="335" y="79"/>
                    </a:cubicBezTo>
                    <a:cubicBezTo>
                      <a:pt x="323" y="95"/>
                      <a:pt x="323" y="106"/>
                      <a:pt x="323" y="108"/>
                    </a:cubicBezTo>
                    <a:cubicBezTo>
                      <a:pt x="322" y="112"/>
                      <a:pt x="320" y="124"/>
                      <a:pt x="320" y="124"/>
                    </a:cubicBezTo>
                    <a:cubicBezTo>
                      <a:pt x="318" y="131"/>
                      <a:pt x="319" y="134"/>
                      <a:pt x="318" y="136"/>
                    </a:cubicBezTo>
                    <a:cubicBezTo>
                      <a:pt x="318" y="137"/>
                      <a:pt x="318" y="141"/>
                      <a:pt x="318" y="143"/>
                    </a:cubicBezTo>
                    <a:cubicBezTo>
                      <a:pt x="317" y="147"/>
                      <a:pt x="316" y="155"/>
                      <a:pt x="316" y="157"/>
                    </a:cubicBezTo>
                    <a:cubicBezTo>
                      <a:pt x="315" y="178"/>
                      <a:pt x="321" y="194"/>
                      <a:pt x="321" y="195"/>
                    </a:cubicBezTo>
                    <a:cubicBezTo>
                      <a:pt x="323" y="201"/>
                      <a:pt x="325" y="204"/>
                      <a:pt x="325" y="205"/>
                    </a:cubicBezTo>
                    <a:cubicBezTo>
                      <a:pt x="329" y="210"/>
                      <a:pt x="329" y="212"/>
                      <a:pt x="330" y="214"/>
                    </a:cubicBezTo>
                    <a:cubicBezTo>
                      <a:pt x="330" y="217"/>
                      <a:pt x="332" y="221"/>
                      <a:pt x="332" y="221"/>
                    </a:cubicBezTo>
                    <a:cubicBezTo>
                      <a:pt x="333" y="221"/>
                      <a:pt x="333" y="221"/>
                      <a:pt x="333" y="221"/>
                    </a:cubicBezTo>
                    <a:cubicBezTo>
                      <a:pt x="333" y="225"/>
                      <a:pt x="333" y="225"/>
                      <a:pt x="333" y="225"/>
                    </a:cubicBezTo>
                    <a:cubicBezTo>
                      <a:pt x="333" y="225"/>
                      <a:pt x="333" y="224"/>
                      <a:pt x="334" y="225"/>
                    </a:cubicBezTo>
                    <a:cubicBezTo>
                      <a:pt x="339" y="233"/>
                      <a:pt x="339" y="237"/>
                      <a:pt x="339" y="237"/>
                    </a:cubicBezTo>
                    <a:cubicBezTo>
                      <a:pt x="339" y="237"/>
                      <a:pt x="339" y="241"/>
                      <a:pt x="338" y="241"/>
                    </a:cubicBezTo>
                    <a:cubicBezTo>
                      <a:pt x="338" y="242"/>
                      <a:pt x="337" y="245"/>
                      <a:pt x="337" y="245"/>
                    </a:cubicBezTo>
                    <a:cubicBezTo>
                      <a:pt x="338" y="244"/>
                      <a:pt x="338" y="244"/>
                      <a:pt x="338" y="244"/>
                    </a:cubicBezTo>
                    <a:cubicBezTo>
                      <a:pt x="338" y="244"/>
                      <a:pt x="337" y="247"/>
                      <a:pt x="337" y="247"/>
                    </a:cubicBezTo>
                    <a:cubicBezTo>
                      <a:pt x="336" y="250"/>
                      <a:pt x="334" y="250"/>
                      <a:pt x="335" y="250"/>
                    </a:cubicBezTo>
                    <a:cubicBezTo>
                      <a:pt x="337" y="252"/>
                      <a:pt x="340" y="250"/>
                      <a:pt x="339" y="251"/>
                    </a:cubicBezTo>
                    <a:cubicBezTo>
                      <a:pt x="338" y="252"/>
                      <a:pt x="336" y="251"/>
                      <a:pt x="337" y="252"/>
                    </a:cubicBezTo>
                    <a:cubicBezTo>
                      <a:pt x="338" y="253"/>
                      <a:pt x="340" y="254"/>
                      <a:pt x="340" y="254"/>
                    </a:cubicBezTo>
                    <a:cubicBezTo>
                      <a:pt x="340" y="254"/>
                      <a:pt x="342" y="255"/>
                      <a:pt x="343" y="256"/>
                    </a:cubicBezTo>
                    <a:cubicBezTo>
                      <a:pt x="345" y="256"/>
                      <a:pt x="347" y="253"/>
                      <a:pt x="347" y="253"/>
                    </a:cubicBezTo>
                    <a:cubicBezTo>
                      <a:pt x="346" y="257"/>
                      <a:pt x="346" y="257"/>
                      <a:pt x="346" y="257"/>
                    </a:cubicBezTo>
                    <a:cubicBezTo>
                      <a:pt x="346" y="257"/>
                      <a:pt x="346" y="259"/>
                      <a:pt x="346" y="259"/>
                    </a:cubicBezTo>
                    <a:cubicBezTo>
                      <a:pt x="346" y="261"/>
                      <a:pt x="347" y="263"/>
                      <a:pt x="347" y="264"/>
                    </a:cubicBezTo>
                    <a:cubicBezTo>
                      <a:pt x="349" y="266"/>
                      <a:pt x="350" y="269"/>
                      <a:pt x="350" y="269"/>
                    </a:cubicBezTo>
                    <a:cubicBezTo>
                      <a:pt x="350" y="269"/>
                      <a:pt x="350" y="269"/>
                      <a:pt x="350" y="268"/>
                    </a:cubicBezTo>
                    <a:cubicBezTo>
                      <a:pt x="347" y="258"/>
                      <a:pt x="349" y="262"/>
                      <a:pt x="349" y="262"/>
                    </a:cubicBezTo>
                    <a:cubicBezTo>
                      <a:pt x="349" y="262"/>
                      <a:pt x="350" y="263"/>
                      <a:pt x="350" y="263"/>
                    </a:cubicBezTo>
                    <a:cubicBezTo>
                      <a:pt x="350" y="264"/>
                      <a:pt x="351" y="266"/>
                      <a:pt x="351" y="267"/>
                    </a:cubicBezTo>
                    <a:cubicBezTo>
                      <a:pt x="354" y="271"/>
                      <a:pt x="354" y="272"/>
                      <a:pt x="354" y="273"/>
                    </a:cubicBezTo>
                    <a:cubicBezTo>
                      <a:pt x="354" y="274"/>
                      <a:pt x="352" y="287"/>
                      <a:pt x="352" y="287"/>
                    </a:cubicBezTo>
                    <a:cubicBezTo>
                      <a:pt x="352" y="287"/>
                      <a:pt x="352" y="288"/>
                      <a:pt x="351" y="289"/>
                    </a:cubicBezTo>
                    <a:cubicBezTo>
                      <a:pt x="350" y="290"/>
                      <a:pt x="345" y="291"/>
                      <a:pt x="345" y="291"/>
                    </a:cubicBezTo>
                    <a:cubicBezTo>
                      <a:pt x="345" y="291"/>
                      <a:pt x="344" y="291"/>
                      <a:pt x="343" y="291"/>
                    </a:cubicBezTo>
                    <a:cubicBezTo>
                      <a:pt x="341" y="293"/>
                      <a:pt x="341" y="299"/>
                      <a:pt x="341" y="299"/>
                    </a:cubicBezTo>
                    <a:cubicBezTo>
                      <a:pt x="340" y="303"/>
                      <a:pt x="339" y="305"/>
                      <a:pt x="339" y="306"/>
                    </a:cubicBezTo>
                    <a:cubicBezTo>
                      <a:pt x="338" y="309"/>
                      <a:pt x="337" y="312"/>
                      <a:pt x="337" y="312"/>
                    </a:cubicBezTo>
                    <a:cubicBezTo>
                      <a:pt x="337" y="312"/>
                      <a:pt x="330" y="314"/>
                      <a:pt x="329" y="314"/>
                    </a:cubicBezTo>
                    <a:cubicBezTo>
                      <a:pt x="326" y="314"/>
                      <a:pt x="321" y="317"/>
                      <a:pt x="320" y="317"/>
                    </a:cubicBezTo>
                    <a:cubicBezTo>
                      <a:pt x="312" y="322"/>
                      <a:pt x="306" y="328"/>
                      <a:pt x="306" y="328"/>
                    </a:cubicBezTo>
                    <a:cubicBezTo>
                      <a:pt x="302" y="332"/>
                      <a:pt x="290" y="343"/>
                      <a:pt x="290" y="343"/>
                    </a:cubicBezTo>
                    <a:cubicBezTo>
                      <a:pt x="290" y="343"/>
                      <a:pt x="281" y="350"/>
                      <a:pt x="280" y="351"/>
                    </a:cubicBezTo>
                    <a:cubicBezTo>
                      <a:pt x="278" y="352"/>
                      <a:pt x="271" y="356"/>
                      <a:pt x="270" y="357"/>
                    </a:cubicBezTo>
                    <a:cubicBezTo>
                      <a:pt x="269" y="357"/>
                      <a:pt x="269" y="358"/>
                      <a:pt x="268" y="358"/>
                    </a:cubicBezTo>
                    <a:cubicBezTo>
                      <a:pt x="268" y="358"/>
                      <a:pt x="268" y="358"/>
                      <a:pt x="268" y="358"/>
                    </a:cubicBezTo>
                    <a:cubicBezTo>
                      <a:pt x="268" y="358"/>
                      <a:pt x="268" y="358"/>
                      <a:pt x="267" y="358"/>
                    </a:cubicBezTo>
                    <a:cubicBezTo>
                      <a:pt x="259" y="362"/>
                      <a:pt x="250" y="366"/>
                      <a:pt x="240" y="370"/>
                    </a:cubicBezTo>
                    <a:cubicBezTo>
                      <a:pt x="199" y="389"/>
                      <a:pt x="136" y="405"/>
                      <a:pt x="118" y="476"/>
                    </a:cubicBezTo>
                    <a:cubicBezTo>
                      <a:pt x="117" y="484"/>
                      <a:pt x="105" y="521"/>
                      <a:pt x="104" y="531"/>
                    </a:cubicBezTo>
                    <a:cubicBezTo>
                      <a:pt x="97" y="572"/>
                      <a:pt x="89" y="622"/>
                      <a:pt x="82" y="641"/>
                    </a:cubicBezTo>
                    <a:cubicBezTo>
                      <a:pt x="69" y="676"/>
                      <a:pt x="71" y="771"/>
                      <a:pt x="45" y="838"/>
                    </a:cubicBezTo>
                    <a:cubicBezTo>
                      <a:pt x="20" y="905"/>
                      <a:pt x="0" y="1195"/>
                      <a:pt x="0" y="1195"/>
                    </a:cubicBezTo>
                    <a:cubicBezTo>
                      <a:pt x="0" y="1195"/>
                      <a:pt x="0" y="1195"/>
                      <a:pt x="0" y="1195"/>
                    </a:cubicBezTo>
                    <a:cubicBezTo>
                      <a:pt x="7" y="1198"/>
                      <a:pt x="14" y="1200"/>
                      <a:pt x="21" y="1202"/>
                    </a:cubicBezTo>
                    <a:cubicBezTo>
                      <a:pt x="20" y="1217"/>
                      <a:pt x="17" y="1244"/>
                      <a:pt x="17" y="1246"/>
                    </a:cubicBezTo>
                    <a:cubicBezTo>
                      <a:pt x="17" y="1249"/>
                      <a:pt x="15" y="1257"/>
                      <a:pt x="18" y="1262"/>
                    </a:cubicBezTo>
                    <a:cubicBezTo>
                      <a:pt x="20" y="1267"/>
                      <a:pt x="24" y="1275"/>
                      <a:pt x="26" y="1282"/>
                    </a:cubicBezTo>
                    <a:cubicBezTo>
                      <a:pt x="28" y="1289"/>
                      <a:pt x="36" y="1312"/>
                      <a:pt x="37" y="1315"/>
                    </a:cubicBezTo>
                    <a:cubicBezTo>
                      <a:pt x="38" y="1319"/>
                      <a:pt x="42" y="1326"/>
                      <a:pt x="42" y="1327"/>
                    </a:cubicBezTo>
                    <a:cubicBezTo>
                      <a:pt x="43" y="1329"/>
                      <a:pt x="49" y="1336"/>
                      <a:pt x="51" y="1338"/>
                    </a:cubicBezTo>
                    <a:cubicBezTo>
                      <a:pt x="53" y="1339"/>
                      <a:pt x="56" y="1342"/>
                      <a:pt x="60" y="1346"/>
                    </a:cubicBezTo>
                    <a:cubicBezTo>
                      <a:pt x="64" y="1349"/>
                      <a:pt x="73" y="1355"/>
                      <a:pt x="76" y="1356"/>
                    </a:cubicBezTo>
                    <a:cubicBezTo>
                      <a:pt x="78" y="1358"/>
                      <a:pt x="80" y="1359"/>
                      <a:pt x="85" y="1362"/>
                    </a:cubicBezTo>
                    <a:cubicBezTo>
                      <a:pt x="91" y="1365"/>
                      <a:pt x="94" y="1365"/>
                      <a:pt x="96" y="1366"/>
                    </a:cubicBezTo>
                    <a:cubicBezTo>
                      <a:pt x="98" y="1367"/>
                      <a:pt x="106" y="1370"/>
                      <a:pt x="109" y="1370"/>
                    </a:cubicBezTo>
                    <a:cubicBezTo>
                      <a:pt x="111" y="1370"/>
                      <a:pt x="114" y="1367"/>
                      <a:pt x="114" y="1365"/>
                    </a:cubicBezTo>
                    <a:cubicBezTo>
                      <a:pt x="114" y="1363"/>
                      <a:pt x="112" y="1358"/>
                      <a:pt x="112" y="1358"/>
                    </a:cubicBezTo>
                    <a:cubicBezTo>
                      <a:pt x="112" y="1358"/>
                      <a:pt x="117" y="1352"/>
                      <a:pt x="115" y="1348"/>
                    </a:cubicBezTo>
                    <a:cubicBezTo>
                      <a:pt x="113" y="1343"/>
                      <a:pt x="110" y="1340"/>
                      <a:pt x="108" y="1339"/>
                    </a:cubicBezTo>
                    <a:cubicBezTo>
                      <a:pt x="105" y="1338"/>
                      <a:pt x="96" y="1334"/>
                      <a:pt x="96" y="1334"/>
                    </a:cubicBezTo>
                    <a:cubicBezTo>
                      <a:pt x="95" y="1331"/>
                      <a:pt x="95" y="1331"/>
                      <a:pt x="95" y="1331"/>
                    </a:cubicBezTo>
                    <a:cubicBezTo>
                      <a:pt x="95" y="1331"/>
                      <a:pt x="100" y="1331"/>
                      <a:pt x="99" y="1327"/>
                    </a:cubicBezTo>
                    <a:cubicBezTo>
                      <a:pt x="97" y="1323"/>
                      <a:pt x="93" y="1318"/>
                      <a:pt x="91" y="1317"/>
                    </a:cubicBezTo>
                    <a:cubicBezTo>
                      <a:pt x="89" y="1316"/>
                      <a:pt x="85" y="1314"/>
                      <a:pt x="85" y="1314"/>
                    </a:cubicBezTo>
                    <a:cubicBezTo>
                      <a:pt x="80" y="1309"/>
                      <a:pt x="80" y="1309"/>
                      <a:pt x="80" y="1309"/>
                    </a:cubicBezTo>
                    <a:cubicBezTo>
                      <a:pt x="80" y="1309"/>
                      <a:pt x="78" y="1292"/>
                      <a:pt x="77" y="1290"/>
                    </a:cubicBezTo>
                    <a:cubicBezTo>
                      <a:pt x="76" y="1287"/>
                      <a:pt x="73" y="1279"/>
                      <a:pt x="73" y="1279"/>
                    </a:cubicBezTo>
                    <a:cubicBezTo>
                      <a:pt x="73" y="1279"/>
                      <a:pt x="74" y="1275"/>
                      <a:pt x="73" y="1271"/>
                    </a:cubicBezTo>
                    <a:cubicBezTo>
                      <a:pt x="73" y="1266"/>
                      <a:pt x="72" y="1259"/>
                      <a:pt x="72" y="1259"/>
                    </a:cubicBezTo>
                    <a:cubicBezTo>
                      <a:pt x="72" y="1259"/>
                      <a:pt x="78" y="1259"/>
                      <a:pt x="80" y="1258"/>
                    </a:cubicBezTo>
                    <a:cubicBezTo>
                      <a:pt x="81" y="1258"/>
                      <a:pt x="89" y="1256"/>
                      <a:pt x="89" y="1256"/>
                    </a:cubicBezTo>
                    <a:cubicBezTo>
                      <a:pt x="89" y="1256"/>
                      <a:pt x="92" y="1269"/>
                      <a:pt x="92" y="1275"/>
                    </a:cubicBezTo>
                    <a:cubicBezTo>
                      <a:pt x="92" y="1281"/>
                      <a:pt x="94" y="1297"/>
                      <a:pt x="100" y="1305"/>
                    </a:cubicBezTo>
                    <a:cubicBezTo>
                      <a:pt x="106" y="1312"/>
                      <a:pt x="112" y="1316"/>
                      <a:pt x="118" y="1316"/>
                    </a:cubicBezTo>
                    <a:cubicBezTo>
                      <a:pt x="123" y="1316"/>
                      <a:pt x="127" y="1314"/>
                      <a:pt x="127" y="1310"/>
                    </a:cubicBezTo>
                    <a:cubicBezTo>
                      <a:pt x="127" y="1307"/>
                      <a:pt x="125" y="1295"/>
                      <a:pt x="125" y="1291"/>
                    </a:cubicBezTo>
                    <a:cubicBezTo>
                      <a:pt x="125" y="1289"/>
                      <a:pt x="124" y="1284"/>
                      <a:pt x="123" y="1279"/>
                    </a:cubicBezTo>
                    <a:cubicBezTo>
                      <a:pt x="122" y="1275"/>
                      <a:pt x="121" y="1272"/>
                      <a:pt x="121" y="1268"/>
                    </a:cubicBezTo>
                    <a:cubicBezTo>
                      <a:pt x="120" y="1261"/>
                      <a:pt x="118" y="1235"/>
                      <a:pt x="117" y="1226"/>
                    </a:cubicBezTo>
                    <a:cubicBezTo>
                      <a:pt x="116" y="1217"/>
                      <a:pt x="114" y="1205"/>
                      <a:pt x="112" y="1198"/>
                    </a:cubicBezTo>
                    <a:cubicBezTo>
                      <a:pt x="113" y="1198"/>
                      <a:pt x="114" y="1198"/>
                      <a:pt x="115" y="1198"/>
                    </a:cubicBezTo>
                    <a:cubicBezTo>
                      <a:pt x="129" y="1189"/>
                      <a:pt x="129" y="1189"/>
                      <a:pt x="129" y="1189"/>
                    </a:cubicBezTo>
                    <a:cubicBezTo>
                      <a:pt x="156" y="1007"/>
                      <a:pt x="156" y="1007"/>
                      <a:pt x="156" y="1007"/>
                    </a:cubicBezTo>
                    <a:cubicBezTo>
                      <a:pt x="174" y="948"/>
                      <a:pt x="186" y="814"/>
                      <a:pt x="186" y="814"/>
                    </a:cubicBezTo>
                    <a:cubicBezTo>
                      <a:pt x="188" y="788"/>
                      <a:pt x="202" y="782"/>
                      <a:pt x="205" y="782"/>
                    </a:cubicBezTo>
                    <a:cubicBezTo>
                      <a:pt x="205" y="785"/>
                      <a:pt x="205" y="786"/>
                      <a:pt x="205" y="786"/>
                    </a:cubicBezTo>
                    <a:cubicBezTo>
                      <a:pt x="203" y="805"/>
                      <a:pt x="203" y="805"/>
                      <a:pt x="203" y="805"/>
                    </a:cubicBezTo>
                    <a:cubicBezTo>
                      <a:pt x="202" y="856"/>
                      <a:pt x="199" y="910"/>
                      <a:pt x="193" y="951"/>
                    </a:cubicBezTo>
                    <a:cubicBezTo>
                      <a:pt x="193" y="952"/>
                      <a:pt x="193" y="952"/>
                      <a:pt x="193" y="952"/>
                    </a:cubicBezTo>
                    <a:cubicBezTo>
                      <a:pt x="192" y="966"/>
                      <a:pt x="189" y="1024"/>
                      <a:pt x="182" y="1057"/>
                    </a:cubicBezTo>
                    <a:cubicBezTo>
                      <a:pt x="174" y="1095"/>
                      <a:pt x="179" y="1299"/>
                      <a:pt x="181" y="1309"/>
                    </a:cubicBezTo>
                    <a:cubicBezTo>
                      <a:pt x="182" y="1318"/>
                      <a:pt x="197" y="1320"/>
                      <a:pt x="197" y="1320"/>
                    </a:cubicBezTo>
                    <a:cubicBezTo>
                      <a:pt x="197" y="1320"/>
                      <a:pt x="202" y="1348"/>
                      <a:pt x="204" y="1388"/>
                    </a:cubicBezTo>
                    <a:cubicBezTo>
                      <a:pt x="205" y="1427"/>
                      <a:pt x="215" y="1586"/>
                      <a:pt x="210" y="1640"/>
                    </a:cubicBezTo>
                    <a:cubicBezTo>
                      <a:pt x="206" y="1695"/>
                      <a:pt x="208" y="1822"/>
                      <a:pt x="212" y="1888"/>
                    </a:cubicBezTo>
                    <a:cubicBezTo>
                      <a:pt x="216" y="1953"/>
                      <a:pt x="253" y="2048"/>
                      <a:pt x="257" y="2083"/>
                    </a:cubicBezTo>
                    <a:cubicBezTo>
                      <a:pt x="261" y="2119"/>
                      <a:pt x="266" y="2123"/>
                      <a:pt x="273" y="2131"/>
                    </a:cubicBezTo>
                    <a:cubicBezTo>
                      <a:pt x="280" y="2139"/>
                      <a:pt x="266" y="2192"/>
                      <a:pt x="265" y="2214"/>
                    </a:cubicBezTo>
                    <a:cubicBezTo>
                      <a:pt x="263" y="2235"/>
                      <a:pt x="296" y="2264"/>
                      <a:pt x="360" y="2276"/>
                    </a:cubicBezTo>
                    <a:cubicBezTo>
                      <a:pt x="365" y="2277"/>
                      <a:pt x="369" y="2278"/>
                      <a:pt x="373" y="2278"/>
                    </a:cubicBezTo>
                    <a:cubicBezTo>
                      <a:pt x="375" y="2278"/>
                      <a:pt x="375" y="2278"/>
                      <a:pt x="375" y="2278"/>
                    </a:cubicBezTo>
                    <a:cubicBezTo>
                      <a:pt x="421" y="2277"/>
                      <a:pt x="407" y="2221"/>
                      <a:pt x="407" y="2195"/>
                    </a:cubicBezTo>
                    <a:cubicBezTo>
                      <a:pt x="407" y="2166"/>
                      <a:pt x="387" y="2144"/>
                      <a:pt x="387" y="2127"/>
                    </a:cubicBezTo>
                    <a:cubicBezTo>
                      <a:pt x="387" y="2109"/>
                      <a:pt x="385" y="2095"/>
                      <a:pt x="392" y="2071"/>
                    </a:cubicBezTo>
                    <a:cubicBezTo>
                      <a:pt x="399" y="2047"/>
                      <a:pt x="375" y="2015"/>
                      <a:pt x="366" y="1991"/>
                    </a:cubicBezTo>
                    <a:cubicBezTo>
                      <a:pt x="358" y="1966"/>
                      <a:pt x="350" y="1942"/>
                      <a:pt x="350" y="1913"/>
                    </a:cubicBezTo>
                    <a:cubicBezTo>
                      <a:pt x="350" y="1885"/>
                      <a:pt x="349" y="1818"/>
                      <a:pt x="349" y="1782"/>
                    </a:cubicBezTo>
                    <a:cubicBezTo>
                      <a:pt x="349" y="1745"/>
                      <a:pt x="357" y="1692"/>
                      <a:pt x="364" y="1666"/>
                    </a:cubicBezTo>
                    <a:cubicBezTo>
                      <a:pt x="371" y="1640"/>
                      <a:pt x="368" y="1576"/>
                      <a:pt x="379" y="1540"/>
                    </a:cubicBezTo>
                    <a:cubicBezTo>
                      <a:pt x="390" y="1503"/>
                      <a:pt x="403" y="1446"/>
                      <a:pt x="413" y="1407"/>
                    </a:cubicBezTo>
                    <a:cubicBezTo>
                      <a:pt x="422" y="1367"/>
                      <a:pt x="445" y="1314"/>
                      <a:pt x="445" y="1314"/>
                    </a:cubicBezTo>
                    <a:cubicBezTo>
                      <a:pt x="445" y="1314"/>
                      <a:pt x="444" y="1367"/>
                      <a:pt x="449" y="1386"/>
                    </a:cubicBezTo>
                    <a:cubicBezTo>
                      <a:pt x="455" y="1405"/>
                      <a:pt x="463" y="1462"/>
                      <a:pt x="463" y="1495"/>
                    </a:cubicBezTo>
                    <a:cubicBezTo>
                      <a:pt x="463" y="1528"/>
                      <a:pt x="467" y="1598"/>
                      <a:pt x="471" y="1620"/>
                    </a:cubicBezTo>
                    <a:cubicBezTo>
                      <a:pt x="475" y="1642"/>
                      <a:pt x="491" y="1665"/>
                      <a:pt x="486" y="1682"/>
                    </a:cubicBezTo>
                    <a:cubicBezTo>
                      <a:pt x="480" y="1700"/>
                      <a:pt x="480" y="1772"/>
                      <a:pt x="472" y="1836"/>
                    </a:cubicBezTo>
                    <a:cubicBezTo>
                      <a:pt x="464" y="1900"/>
                      <a:pt x="470" y="1985"/>
                      <a:pt x="464" y="2002"/>
                    </a:cubicBezTo>
                    <a:cubicBezTo>
                      <a:pt x="459" y="2018"/>
                      <a:pt x="448" y="2044"/>
                      <a:pt x="445" y="2075"/>
                    </a:cubicBezTo>
                    <a:cubicBezTo>
                      <a:pt x="442" y="2106"/>
                      <a:pt x="451" y="2124"/>
                      <a:pt x="445" y="2120"/>
                    </a:cubicBezTo>
                    <a:cubicBezTo>
                      <a:pt x="440" y="2116"/>
                      <a:pt x="441" y="2143"/>
                      <a:pt x="442" y="2155"/>
                    </a:cubicBezTo>
                    <a:cubicBezTo>
                      <a:pt x="444" y="2167"/>
                      <a:pt x="487" y="2178"/>
                      <a:pt x="512" y="2182"/>
                    </a:cubicBezTo>
                    <a:cubicBezTo>
                      <a:pt x="536" y="2187"/>
                      <a:pt x="528" y="2178"/>
                      <a:pt x="529" y="2172"/>
                    </a:cubicBezTo>
                    <a:cubicBezTo>
                      <a:pt x="531" y="2165"/>
                      <a:pt x="555" y="2180"/>
                      <a:pt x="567" y="2193"/>
                    </a:cubicBezTo>
                    <a:cubicBezTo>
                      <a:pt x="580" y="2207"/>
                      <a:pt x="590" y="2225"/>
                      <a:pt x="661" y="2237"/>
                    </a:cubicBezTo>
                    <a:cubicBezTo>
                      <a:pt x="732" y="2249"/>
                      <a:pt x="764" y="2222"/>
                      <a:pt x="764" y="2212"/>
                    </a:cubicBezTo>
                    <a:cubicBezTo>
                      <a:pt x="764" y="2203"/>
                      <a:pt x="734" y="2184"/>
                      <a:pt x="699" y="2167"/>
                    </a:cubicBezTo>
                    <a:cubicBezTo>
                      <a:pt x="664" y="2151"/>
                      <a:pt x="626" y="2124"/>
                      <a:pt x="626" y="2124"/>
                    </a:cubicBezTo>
                    <a:cubicBezTo>
                      <a:pt x="626" y="2124"/>
                      <a:pt x="631" y="2095"/>
                      <a:pt x="623" y="2062"/>
                    </a:cubicBezTo>
                    <a:cubicBezTo>
                      <a:pt x="615" y="2028"/>
                      <a:pt x="623" y="2013"/>
                      <a:pt x="624" y="1992"/>
                    </a:cubicBezTo>
                    <a:cubicBezTo>
                      <a:pt x="626" y="1972"/>
                      <a:pt x="635" y="1888"/>
                      <a:pt x="639" y="1845"/>
                    </a:cubicBezTo>
                    <a:cubicBezTo>
                      <a:pt x="643" y="1803"/>
                      <a:pt x="657" y="1731"/>
                      <a:pt x="657" y="1696"/>
                    </a:cubicBezTo>
                    <a:cubicBezTo>
                      <a:pt x="657" y="1661"/>
                      <a:pt x="664" y="1589"/>
                      <a:pt x="664" y="1571"/>
                    </a:cubicBezTo>
                    <a:cubicBezTo>
                      <a:pt x="664" y="1432"/>
                      <a:pt x="664" y="1432"/>
                      <a:pt x="664" y="1432"/>
                    </a:cubicBezTo>
                    <a:cubicBezTo>
                      <a:pt x="664" y="1375"/>
                      <a:pt x="654" y="1311"/>
                      <a:pt x="651" y="1296"/>
                    </a:cubicBezTo>
                    <a:cubicBezTo>
                      <a:pt x="649" y="1282"/>
                      <a:pt x="631" y="1243"/>
                      <a:pt x="647" y="1264"/>
                    </a:cubicBezTo>
                    <a:cubicBezTo>
                      <a:pt x="661" y="1282"/>
                      <a:pt x="673" y="1251"/>
                      <a:pt x="666" y="1208"/>
                    </a:cubicBezTo>
                    <a:cubicBezTo>
                      <a:pt x="663" y="1191"/>
                      <a:pt x="668" y="1195"/>
                      <a:pt x="660" y="1127"/>
                    </a:cubicBezTo>
                    <a:cubicBezTo>
                      <a:pt x="651" y="1059"/>
                      <a:pt x="650" y="965"/>
                      <a:pt x="650" y="965"/>
                    </a:cubicBezTo>
                    <a:cubicBezTo>
                      <a:pt x="656" y="769"/>
                      <a:pt x="656" y="769"/>
                      <a:pt x="656" y="769"/>
                    </a:cubicBezTo>
                    <a:cubicBezTo>
                      <a:pt x="691" y="824"/>
                      <a:pt x="724" y="815"/>
                      <a:pt x="724" y="815"/>
                    </a:cubicBezTo>
                    <a:cubicBezTo>
                      <a:pt x="751" y="817"/>
                      <a:pt x="768" y="789"/>
                      <a:pt x="768" y="789"/>
                    </a:cubicBezTo>
                    <a:cubicBezTo>
                      <a:pt x="804" y="731"/>
                      <a:pt x="804" y="731"/>
                      <a:pt x="804" y="731"/>
                    </a:cubicBezTo>
                    <a:cubicBezTo>
                      <a:pt x="838" y="639"/>
                      <a:pt x="838" y="639"/>
                      <a:pt x="838" y="639"/>
                    </a:cubicBezTo>
                    <a:cubicBezTo>
                      <a:pt x="849" y="597"/>
                      <a:pt x="849" y="597"/>
                      <a:pt x="849" y="597"/>
                    </a:cubicBezTo>
                    <a:cubicBezTo>
                      <a:pt x="852" y="584"/>
                      <a:pt x="845" y="565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7" y="550"/>
                      <a:pt x="837" y="550"/>
                      <a:pt x="837" y="550"/>
                    </a:cubicBezTo>
                    <a:cubicBezTo>
                      <a:pt x="836" y="548"/>
                      <a:pt x="835" y="546"/>
                      <a:pt x="835" y="545"/>
                    </a:cubicBezTo>
                    <a:cubicBezTo>
                      <a:pt x="835" y="542"/>
                      <a:pt x="836" y="539"/>
                      <a:pt x="837" y="536"/>
                    </a:cubicBezTo>
                    <a:cubicBezTo>
                      <a:pt x="838" y="534"/>
                      <a:pt x="846" y="523"/>
                      <a:pt x="850" y="519"/>
                    </a:cubicBezTo>
                    <a:cubicBezTo>
                      <a:pt x="854" y="515"/>
                      <a:pt x="857" y="511"/>
                      <a:pt x="859" y="507"/>
                    </a:cubicBezTo>
                    <a:cubicBezTo>
                      <a:pt x="861" y="503"/>
                      <a:pt x="864" y="499"/>
                      <a:pt x="867" y="498"/>
                    </a:cubicBezTo>
                    <a:cubicBezTo>
                      <a:pt x="869" y="497"/>
                      <a:pt x="871" y="494"/>
                      <a:pt x="872" y="491"/>
                    </a:cubicBezTo>
                    <a:cubicBezTo>
                      <a:pt x="873" y="489"/>
                      <a:pt x="872" y="484"/>
                      <a:pt x="872" y="484"/>
                    </a:cubicBezTo>
                    <a:cubicBezTo>
                      <a:pt x="872" y="484"/>
                      <a:pt x="875" y="483"/>
                      <a:pt x="877" y="481"/>
                    </a:cubicBezTo>
                    <a:cubicBezTo>
                      <a:pt x="879" y="480"/>
                      <a:pt x="881" y="475"/>
                      <a:pt x="881" y="471"/>
                    </a:cubicBezTo>
                    <a:cubicBezTo>
                      <a:pt x="882" y="466"/>
                      <a:pt x="881" y="461"/>
                      <a:pt x="881" y="461"/>
                    </a:cubicBezTo>
                    <a:cubicBezTo>
                      <a:pt x="881" y="460"/>
                      <a:pt x="880" y="457"/>
                      <a:pt x="879" y="456"/>
                    </a:cubicBezTo>
                    <a:cubicBezTo>
                      <a:pt x="878" y="454"/>
                      <a:pt x="878" y="452"/>
                      <a:pt x="878" y="452"/>
                    </a:cubicBezTo>
                    <a:lnTo>
                      <a:pt x="879" y="45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4572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dirty="0">
                  <a:solidFill>
                    <a:srgbClr val="676767"/>
                  </a:solidFill>
                  <a:ea typeface="ＭＳ Ｐゴシック" charset="0"/>
                  <a:cs typeface="ＭＳ Ｐゴシック" charset="0"/>
                </a:endParaRPr>
              </a:p>
            </p:txBody>
          </p:sp>
        </p:grpSp>
      </p:grpSp>
      <p:grpSp>
        <p:nvGrpSpPr>
          <p:cNvPr id="207" name="Group 206"/>
          <p:cNvGrpSpPr/>
          <p:nvPr/>
        </p:nvGrpSpPr>
        <p:grpSpPr>
          <a:xfrm rot="384079">
            <a:off x="3401520" y="1782042"/>
            <a:ext cx="424614" cy="308187"/>
            <a:chOff x="3051175" y="1523999"/>
            <a:chExt cx="839896" cy="609601"/>
          </a:xfrm>
        </p:grpSpPr>
        <p:sp>
          <p:nvSpPr>
            <p:cNvPr id="208" name="Arc 207"/>
            <p:cNvSpPr/>
            <p:nvPr/>
          </p:nvSpPr>
          <p:spPr>
            <a:xfrm>
              <a:off x="3051175" y="1523999"/>
              <a:ext cx="839896" cy="609601"/>
            </a:xfrm>
            <a:prstGeom prst="arc">
              <a:avLst>
                <a:gd name="adj1" fmla="val 12217026"/>
                <a:gd name="adj2" fmla="val 20004371"/>
              </a:avLst>
            </a:prstGeom>
            <a:ln w="1905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09" name="Arc 208"/>
            <p:cNvSpPr>
              <a:spLocks noChangeAspect="1"/>
            </p:cNvSpPr>
            <p:nvPr/>
          </p:nvSpPr>
          <p:spPr>
            <a:xfrm>
              <a:off x="3197557" y="1669141"/>
              <a:ext cx="547133" cy="397112"/>
            </a:xfrm>
            <a:prstGeom prst="arc">
              <a:avLst>
                <a:gd name="adj1" fmla="val 12217026"/>
                <a:gd name="adj2" fmla="val 20004371"/>
              </a:avLst>
            </a:prstGeom>
            <a:ln w="1905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10" name="Arc 209"/>
            <p:cNvSpPr>
              <a:spLocks noChangeAspect="1"/>
            </p:cNvSpPr>
            <p:nvPr/>
          </p:nvSpPr>
          <p:spPr>
            <a:xfrm>
              <a:off x="3341539" y="1812156"/>
              <a:ext cx="259168" cy="188105"/>
            </a:xfrm>
            <a:prstGeom prst="arc">
              <a:avLst>
                <a:gd name="adj1" fmla="val 12217026"/>
                <a:gd name="adj2" fmla="val 20004371"/>
              </a:avLst>
            </a:prstGeom>
            <a:ln w="1905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</a:endParaRPr>
            </a:p>
          </p:txBody>
        </p:sp>
      </p:grpSp>
      <p:grpSp>
        <p:nvGrpSpPr>
          <p:cNvPr id="211" name="Group 210"/>
          <p:cNvGrpSpPr/>
          <p:nvPr/>
        </p:nvGrpSpPr>
        <p:grpSpPr>
          <a:xfrm rot="17112733">
            <a:off x="917161" y="3146141"/>
            <a:ext cx="424614" cy="308187"/>
            <a:chOff x="3051175" y="1523999"/>
            <a:chExt cx="839896" cy="609601"/>
          </a:xfrm>
        </p:grpSpPr>
        <p:sp>
          <p:nvSpPr>
            <p:cNvPr id="212" name="Arc 211"/>
            <p:cNvSpPr/>
            <p:nvPr/>
          </p:nvSpPr>
          <p:spPr>
            <a:xfrm>
              <a:off x="3051175" y="1523999"/>
              <a:ext cx="839896" cy="609601"/>
            </a:xfrm>
            <a:prstGeom prst="arc">
              <a:avLst>
                <a:gd name="adj1" fmla="val 12217026"/>
                <a:gd name="adj2" fmla="val 20004371"/>
              </a:avLst>
            </a:prstGeom>
            <a:ln w="1905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13" name="Arc 212"/>
            <p:cNvSpPr>
              <a:spLocks noChangeAspect="1"/>
            </p:cNvSpPr>
            <p:nvPr/>
          </p:nvSpPr>
          <p:spPr>
            <a:xfrm>
              <a:off x="3197557" y="1669141"/>
              <a:ext cx="547133" cy="397112"/>
            </a:xfrm>
            <a:prstGeom prst="arc">
              <a:avLst>
                <a:gd name="adj1" fmla="val 12217026"/>
                <a:gd name="adj2" fmla="val 20004371"/>
              </a:avLst>
            </a:prstGeom>
            <a:ln w="1905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</a:endParaRPr>
            </a:p>
          </p:txBody>
        </p:sp>
        <p:sp>
          <p:nvSpPr>
            <p:cNvPr id="214" name="Arc 213"/>
            <p:cNvSpPr>
              <a:spLocks noChangeAspect="1"/>
            </p:cNvSpPr>
            <p:nvPr/>
          </p:nvSpPr>
          <p:spPr>
            <a:xfrm>
              <a:off x="3341539" y="1812156"/>
              <a:ext cx="259168" cy="188105"/>
            </a:xfrm>
            <a:prstGeom prst="arc">
              <a:avLst>
                <a:gd name="adj1" fmla="val 12217026"/>
                <a:gd name="adj2" fmla="val 20004371"/>
              </a:avLst>
            </a:prstGeom>
            <a:ln w="1905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676767"/>
                </a:solidFill>
              </a:endParaRPr>
            </a:p>
          </p:txBody>
        </p:sp>
      </p:grpSp>
      <p:pic>
        <p:nvPicPr>
          <p:cNvPr id="88" name="Picture 87" descr="2016-10-03_23-21-34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2633" y="1102981"/>
            <a:ext cx="4042701" cy="159787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89" name="Picture 88" descr="2016-10-03_23-24-45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7398" y="2169180"/>
            <a:ext cx="1757936" cy="178443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90" name="Picture 89" descr="2016-10-03_23-27-05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0350" y="3188939"/>
            <a:ext cx="2648510" cy="152935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10298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0" dur="5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0" presetClass="pat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61111E-6 3.7037E-6 L -0.07326 -0.13488 L 0.13403 -0.39661 L 0.07083 -0.46544 " pathEditMode="relative" ptsTypes="AAAA">
                                      <p:cBhvr>
                                        <p:cTn id="24" dur="2000" fill="hold"/>
                                        <p:tgtEl>
                                          <p:spTgt spid="1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500"/>
                            </p:stCondLst>
                            <p:childTnLst>
                              <p:par>
                                <p:cTn id="30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6000"/>
                            </p:stCondLst>
                            <p:childTnLst>
                              <p:par>
                                <p:cTn id="34" presetID="0" presetClass="pat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083 -0.46543 L -0.04757 -0.34166 L 0.00226 -0.2642 L -0.10451 -0.12932 L -0.16806 -0.2395 " pathEditMode="relative" ptsTypes="AAAAA">
                                      <p:cBhvr>
                                        <p:cTn id="35" dur="2000" fill="hold"/>
                                        <p:tgtEl>
                                          <p:spTgt spid="1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80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8500"/>
                            </p:stCondLst>
                            <p:childTnLst>
                              <p:par>
                                <p:cTn id="41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20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20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9000"/>
                            </p:stCondLst>
                            <p:childTnLst>
                              <p:par>
                                <p:cTn id="62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19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9500"/>
                            </p:stCondLst>
                            <p:childTnLst>
                              <p:par>
                                <p:cTn id="66" presetID="0" presetClass="pat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E-6 -7.40741E-7 L -0.07327 -0.13488 L 0.13403 -0.3966 L 0.07083 -0.46543 " pathEditMode="relative" rAng="0" ptsTypes="AAAA">
                                      <p:cBhvr>
                                        <p:cTn id="67" dur="2000" fill="hold"/>
                                        <p:tgtEl>
                                          <p:spTgt spid="20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038" y="-232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1500"/>
                            </p:stCondLst>
                            <p:childTnLst>
                              <p:par>
                                <p:cTn id="6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2000"/>
                            </p:stCondLst>
                            <p:childTnLst>
                              <p:par>
                                <p:cTn id="73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4" dur="50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12500"/>
                            </p:stCondLst>
                            <p:childTnLst>
                              <p:par>
                                <p:cTn id="77" presetID="0" presetClass="pat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7083 -0.46543 L -0.04757 -0.34167 L 0.00225 -0.2642 L -0.10452 -0.12932 L -0.16806 -0.23951 " pathEditMode="relative" rAng="0" ptsTypes="AAAAA">
                                      <p:cBhvr>
                                        <p:cTn id="78" dur="2000" fill="hold"/>
                                        <p:tgtEl>
                                          <p:spTgt spid="20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944" y="1679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4500"/>
                            </p:stCondLst>
                            <p:childTnLst>
                              <p:par>
                                <p:cTn id="8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15000"/>
                            </p:stCondLst>
                            <p:childTnLst>
                              <p:par>
                                <p:cTn id="8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5500"/>
                            </p:stCondLst>
                            <p:childTnLst>
                              <p:par>
                                <p:cTn id="8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12" grpId="0"/>
      <p:bldP spid="11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heme/theme1.xml><?xml version="1.0" encoding="utf-8"?>
<a:theme xmlns:a="http://schemas.openxmlformats.org/drawingml/2006/main" name="26_Cisco_CF_CKT232">
  <a:themeElements>
    <a:clrScheme name="Current">
      <a:dk1>
        <a:srgbClr val="676767"/>
      </a:dk1>
      <a:lt1>
        <a:srgbClr val="FFFFFF"/>
      </a:lt1>
      <a:dk2>
        <a:srgbClr val="2968AF"/>
      </a:dk2>
      <a:lt2>
        <a:srgbClr val="57B74E"/>
      </a:lt2>
      <a:accent1>
        <a:srgbClr val="BFD9EB"/>
      </a:accent1>
      <a:accent2>
        <a:srgbClr val="32B2DF"/>
      </a:accent2>
      <a:accent3>
        <a:srgbClr val="2968AF"/>
      </a:accent3>
      <a:accent4>
        <a:srgbClr val="214794"/>
      </a:accent4>
      <a:accent5>
        <a:srgbClr val="0D868E"/>
      </a:accent5>
      <a:accent6>
        <a:srgbClr val="808080"/>
      </a:accent6>
      <a:hlink>
        <a:srgbClr val="2968AF"/>
      </a:hlink>
      <a:folHlink>
        <a:srgbClr val="21479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69863" indent="-169863"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>
    <a:extraClrScheme>
      <a:clrScheme name="Current">
        <a:dk1>
          <a:srgbClr val="676767"/>
        </a:dk1>
        <a:lt1>
          <a:srgbClr val="FFFFFF"/>
        </a:lt1>
        <a:dk2>
          <a:srgbClr val="2968AF"/>
        </a:dk2>
        <a:lt2>
          <a:srgbClr val="57B74E"/>
        </a:lt2>
        <a:accent1>
          <a:srgbClr val="BFD9EB"/>
        </a:accent1>
        <a:accent2>
          <a:srgbClr val="32B2DF"/>
        </a:accent2>
        <a:accent3>
          <a:srgbClr val="2968AF"/>
        </a:accent3>
        <a:accent4>
          <a:srgbClr val="214794"/>
        </a:accent4>
        <a:accent5>
          <a:srgbClr val="0D868E"/>
        </a:accent5>
        <a:accent6>
          <a:srgbClr val="808080"/>
        </a:accent6>
        <a:hlink>
          <a:srgbClr val="2968AF"/>
        </a:hlink>
        <a:folHlink>
          <a:srgbClr val="21479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9_Cisco_CF_CKT232">
  <a:themeElements>
    <a:clrScheme name="Current">
      <a:dk1>
        <a:srgbClr val="676767"/>
      </a:dk1>
      <a:lt1>
        <a:srgbClr val="FFFFFF"/>
      </a:lt1>
      <a:dk2>
        <a:srgbClr val="2968AF"/>
      </a:dk2>
      <a:lt2>
        <a:srgbClr val="57B74E"/>
      </a:lt2>
      <a:accent1>
        <a:srgbClr val="BFD9EB"/>
      </a:accent1>
      <a:accent2>
        <a:srgbClr val="32B2DF"/>
      </a:accent2>
      <a:accent3>
        <a:srgbClr val="2968AF"/>
      </a:accent3>
      <a:accent4>
        <a:srgbClr val="214794"/>
      </a:accent4>
      <a:accent5>
        <a:srgbClr val="0D868E"/>
      </a:accent5>
      <a:accent6>
        <a:srgbClr val="808080"/>
      </a:accent6>
      <a:hlink>
        <a:srgbClr val="2968AF"/>
      </a:hlink>
      <a:folHlink>
        <a:srgbClr val="21479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69863" indent="-169863"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>
    <a:extraClrScheme>
      <a:clrScheme name="Current">
        <a:dk1>
          <a:srgbClr val="676767"/>
        </a:dk1>
        <a:lt1>
          <a:srgbClr val="FFFFFF"/>
        </a:lt1>
        <a:dk2>
          <a:srgbClr val="2968AF"/>
        </a:dk2>
        <a:lt2>
          <a:srgbClr val="57B74E"/>
        </a:lt2>
        <a:accent1>
          <a:srgbClr val="BFD9EB"/>
        </a:accent1>
        <a:accent2>
          <a:srgbClr val="32B2DF"/>
        </a:accent2>
        <a:accent3>
          <a:srgbClr val="2968AF"/>
        </a:accent3>
        <a:accent4>
          <a:srgbClr val="214794"/>
        </a:accent4>
        <a:accent5>
          <a:srgbClr val="0D868E"/>
        </a:accent5>
        <a:accent6>
          <a:srgbClr val="808080"/>
        </a:accent6>
        <a:hlink>
          <a:srgbClr val="2968AF"/>
        </a:hlink>
        <a:folHlink>
          <a:srgbClr val="21479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30_Cisco_CF_CKT232">
  <a:themeElements>
    <a:clrScheme name="Current">
      <a:dk1>
        <a:srgbClr val="676767"/>
      </a:dk1>
      <a:lt1>
        <a:srgbClr val="FFFFFF"/>
      </a:lt1>
      <a:dk2>
        <a:srgbClr val="2968AF"/>
      </a:dk2>
      <a:lt2>
        <a:srgbClr val="57B74E"/>
      </a:lt2>
      <a:accent1>
        <a:srgbClr val="BFD9EB"/>
      </a:accent1>
      <a:accent2>
        <a:srgbClr val="32B2DF"/>
      </a:accent2>
      <a:accent3>
        <a:srgbClr val="2968AF"/>
      </a:accent3>
      <a:accent4>
        <a:srgbClr val="214794"/>
      </a:accent4>
      <a:accent5>
        <a:srgbClr val="0D868E"/>
      </a:accent5>
      <a:accent6>
        <a:srgbClr val="808080"/>
      </a:accent6>
      <a:hlink>
        <a:srgbClr val="2968AF"/>
      </a:hlink>
      <a:folHlink>
        <a:srgbClr val="21479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69863" indent="-169863"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>
    <a:extraClrScheme>
      <a:clrScheme name="Current">
        <a:dk1>
          <a:srgbClr val="676767"/>
        </a:dk1>
        <a:lt1>
          <a:srgbClr val="FFFFFF"/>
        </a:lt1>
        <a:dk2>
          <a:srgbClr val="2968AF"/>
        </a:dk2>
        <a:lt2>
          <a:srgbClr val="57B74E"/>
        </a:lt2>
        <a:accent1>
          <a:srgbClr val="BFD9EB"/>
        </a:accent1>
        <a:accent2>
          <a:srgbClr val="32B2DF"/>
        </a:accent2>
        <a:accent3>
          <a:srgbClr val="2968AF"/>
        </a:accent3>
        <a:accent4>
          <a:srgbClr val="214794"/>
        </a:accent4>
        <a:accent5>
          <a:srgbClr val="0D868E"/>
        </a:accent5>
        <a:accent6>
          <a:srgbClr val="808080"/>
        </a:accent6>
        <a:hlink>
          <a:srgbClr val="2968AF"/>
        </a:hlink>
        <a:folHlink>
          <a:srgbClr val="21479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22_Cisco_CF_CKT232">
  <a:themeElements>
    <a:clrScheme name="Current">
      <a:dk1>
        <a:srgbClr val="676767"/>
      </a:dk1>
      <a:lt1>
        <a:srgbClr val="FFFFFF"/>
      </a:lt1>
      <a:dk2>
        <a:srgbClr val="2968AF"/>
      </a:dk2>
      <a:lt2>
        <a:srgbClr val="57B74E"/>
      </a:lt2>
      <a:accent1>
        <a:srgbClr val="BFD9EB"/>
      </a:accent1>
      <a:accent2>
        <a:srgbClr val="32B2DF"/>
      </a:accent2>
      <a:accent3>
        <a:srgbClr val="2968AF"/>
      </a:accent3>
      <a:accent4>
        <a:srgbClr val="214794"/>
      </a:accent4>
      <a:accent5>
        <a:srgbClr val="0D868E"/>
      </a:accent5>
      <a:accent6>
        <a:srgbClr val="808080"/>
      </a:accent6>
      <a:hlink>
        <a:srgbClr val="2968AF"/>
      </a:hlink>
      <a:folHlink>
        <a:srgbClr val="21479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69863" indent="-169863"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>
    <a:extraClrScheme>
      <a:clrScheme name="Current">
        <a:dk1>
          <a:srgbClr val="676767"/>
        </a:dk1>
        <a:lt1>
          <a:srgbClr val="FFFFFF"/>
        </a:lt1>
        <a:dk2>
          <a:srgbClr val="2968AF"/>
        </a:dk2>
        <a:lt2>
          <a:srgbClr val="57B74E"/>
        </a:lt2>
        <a:accent1>
          <a:srgbClr val="BFD9EB"/>
        </a:accent1>
        <a:accent2>
          <a:srgbClr val="32B2DF"/>
        </a:accent2>
        <a:accent3>
          <a:srgbClr val="2968AF"/>
        </a:accent3>
        <a:accent4>
          <a:srgbClr val="214794"/>
        </a:accent4>
        <a:accent5>
          <a:srgbClr val="0D868E"/>
        </a:accent5>
        <a:accent6>
          <a:srgbClr val="808080"/>
        </a:accent6>
        <a:hlink>
          <a:srgbClr val="2968AF"/>
        </a:hlink>
        <a:folHlink>
          <a:srgbClr val="21479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21_Cisco_CF_CKT232">
  <a:themeElements>
    <a:clrScheme name="Current">
      <a:dk1>
        <a:srgbClr val="676767"/>
      </a:dk1>
      <a:lt1>
        <a:srgbClr val="FFFFFF"/>
      </a:lt1>
      <a:dk2>
        <a:srgbClr val="2968AF"/>
      </a:dk2>
      <a:lt2>
        <a:srgbClr val="57B74E"/>
      </a:lt2>
      <a:accent1>
        <a:srgbClr val="BFD9EB"/>
      </a:accent1>
      <a:accent2>
        <a:srgbClr val="32B2DF"/>
      </a:accent2>
      <a:accent3>
        <a:srgbClr val="2968AF"/>
      </a:accent3>
      <a:accent4>
        <a:srgbClr val="214794"/>
      </a:accent4>
      <a:accent5>
        <a:srgbClr val="0D868E"/>
      </a:accent5>
      <a:accent6>
        <a:srgbClr val="808080"/>
      </a:accent6>
      <a:hlink>
        <a:srgbClr val="2968AF"/>
      </a:hlink>
      <a:folHlink>
        <a:srgbClr val="21479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69863" indent="-169863"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>
    <a:extraClrScheme>
      <a:clrScheme name="Current">
        <a:dk1>
          <a:srgbClr val="676767"/>
        </a:dk1>
        <a:lt1>
          <a:srgbClr val="FFFFFF"/>
        </a:lt1>
        <a:dk2>
          <a:srgbClr val="2968AF"/>
        </a:dk2>
        <a:lt2>
          <a:srgbClr val="57B74E"/>
        </a:lt2>
        <a:accent1>
          <a:srgbClr val="BFD9EB"/>
        </a:accent1>
        <a:accent2>
          <a:srgbClr val="32B2DF"/>
        </a:accent2>
        <a:accent3>
          <a:srgbClr val="2968AF"/>
        </a:accent3>
        <a:accent4>
          <a:srgbClr val="214794"/>
        </a:accent4>
        <a:accent5>
          <a:srgbClr val="0D868E"/>
        </a:accent5>
        <a:accent6>
          <a:srgbClr val="808080"/>
        </a:accent6>
        <a:hlink>
          <a:srgbClr val="2968AF"/>
        </a:hlink>
        <a:folHlink>
          <a:srgbClr val="21479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0_Blue theme 2014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5.xml><?xml version="1.0" encoding="utf-8"?>
<a:theme xmlns:a="http://schemas.openxmlformats.org/drawingml/2006/main" name="23_Cisco_CF_CKT232">
  <a:themeElements>
    <a:clrScheme name="Current">
      <a:dk1>
        <a:srgbClr val="676767"/>
      </a:dk1>
      <a:lt1>
        <a:srgbClr val="FFFFFF"/>
      </a:lt1>
      <a:dk2>
        <a:srgbClr val="2968AF"/>
      </a:dk2>
      <a:lt2>
        <a:srgbClr val="57B74E"/>
      </a:lt2>
      <a:accent1>
        <a:srgbClr val="BFD9EB"/>
      </a:accent1>
      <a:accent2>
        <a:srgbClr val="32B2DF"/>
      </a:accent2>
      <a:accent3>
        <a:srgbClr val="2968AF"/>
      </a:accent3>
      <a:accent4>
        <a:srgbClr val="214794"/>
      </a:accent4>
      <a:accent5>
        <a:srgbClr val="0D868E"/>
      </a:accent5>
      <a:accent6>
        <a:srgbClr val="808080"/>
      </a:accent6>
      <a:hlink>
        <a:srgbClr val="2968AF"/>
      </a:hlink>
      <a:folHlink>
        <a:srgbClr val="21479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69863" indent="-169863"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>
    <a:extraClrScheme>
      <a:clrScheme name="Current">
        <a:dk1>
          <a:srgbClr val="676767"/>
        </a:dk1>
        <a:lt1>
          <a:srgbClr val="FFFFFF"/>
        </a:lt1>
        <a:dk2>
          <a:srgbClr val="2968AF"/>
        </a:dk2>
        <a:lt2>
          <a:srgbClr val="57B74E"/>
        </a:lt2>
        <a:accent1>
          <a:srgbClr val="BFD9EB"/>
        </a:accent1>
        <a:accent2>
          <a:srgbClr val="32B2DF"/>
        </a:accent2>
        <a:accent3>
          <a:srgbClr val="2968AF"/>
        </a:accent3>
        <a:accent4>
          <a:srgbClr val="214794"/>
        </a:accent4>
        <a:accent5>
          <a:srgbClr val="0D868E"/>
        </a:accent5>
        <a:accent6>
          <a:srgbClr val="808080"/>
        </a:accent6>
        <a:hlink>
          <a:srgbClr val="2968AF"/>
        </a:hlink>
        <a:folHlink>
          <a:srgbClr val="21479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1_Blue theme 2014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17.xml><?xml version="1.0" encoding="utf-8"?>
<a:theme xmlns:a="http://schemas.openxmlformats.org/drawingml/2006/main" name="Blue theme 2015 16x9">
  <a:themeElements>
    <a:clrScheme name="Custom 1">
      <a:dk1>
        <a:srgbClr val="333333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accent2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1600" dirty="0" smtClean="0">
            <a:solidFill>
              <a:schemeClr val="tx1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71450" indent="-171450">
          <a:buFont typeface="Wingdings" panose="05000000000000000000" pitchFamily="2" charset="2"/>
          <a:buChar char="§"/>
          <a:defRPr sz="1600" dirty="0" err="1" smtClean="0">
            <a:solidFill>
              <a:schemeClr val="tx1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5-07-24 MPLS pricing &amp; vCPE v1.5" id="{7509ACEC-9137-477E-B19B-D0ECD2AEBE9B}" vid="{94CF4814-3C11-401F-9819-FDB70444149E}"/>
    </a:ext>
  </a:extLst>
</a:theme>
</file>

<file path=ppt/theme/theme18.xml><?xml version="1.0" encoding="utf-8"?>
<a:theme xmlns:a="http://schemas.openxmlformats.org/drawingml/2006/main" name="1_Blue theme 2015 16x9">
  <a:themeElements>
    <a:clrScheme name="Custom 1">
      <a:dk1>
        <a:srgbClr val="333333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accent2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1600" dirty="0" smtClean="0">
            <a:solidFill>
              <a:schemeClr val="tx1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71450" indent="-171450">
          <a:buFont typeface="Wingdings" panose="05000000000000000000" pitchFamily="2" charset="2"/>
          <a:buChar char="§"/>
          <a:defRPr sz="1600" dirty="0" err="1" smtClean="0">
            <a:solidFill>
              <a:schemeClr val="tx1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5-07-24 MPLS pricing &amp; vCPE v1.5" id="{7509ACEC-9137-477E-B19B-D0ECD2AEBE9B}" vid="{94CF4814-3C11-401F-9819-FDB70444149E}"/>
    </a:ext>
  </a:extLst>
</a:theme>
</file>

<file path=ppt/theme/theme19.xml><?xml version="1.0" encoding="utf-8"?>
<a:theme xmlns:a="http://schemas.openxmlformats.org/drawingml/2006/main" name="2_Blue theme 2015 16x9">
  <a:themeElements>
    <a:clrScheme name="Custom 1">
      <a:dk1>
        <a:srgbClr val="333333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accent2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1600" dirty="0" smtClean="0">
            <a:solidFill>
              <a:schemeClr val="tx1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71450" indent="-171450">
          <a:buFont typeface="Wingdings" panose="05000000000000000000" pitchFamily="2" charset="2"/>
          <a:buChar char="§"/>
          <a:defRPr sz="1600" dirty="0" err="1" smtClean="0">
            <a:solidFill>
              <a:schemeClr val="tx1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5-07-24 MPLS pricing &amp; vCPE v1.5" id="{7509ACEC-9137-477E-B19B-D0ECD2AEBE9B}" vid="{94CF4814-3C11-401F-9819-FDB70444149E}"/>
    </a:ext>
  </a:extLst>
</a:theme>
</file>

<file path=ppt/theme/theme2.xml><?xml version="1.0" encoding="utf-8"?>
<a:theme xmlns:a="http://schemas.openxmlformats.org/drawingml/2006/main" name="Cisco Blue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0.xml><?xml version="1.0" encoding="utf-8"?>
<a:theme xmlns:a="http://schemas.openxmlformats.org/drawingml/2006/main" name="3_Blue theme 2015 16x9">
  <a:themeElements>
    <a:clrScheme name="Custom 1">
      <a:dk1>
        <a:srgbClr val="333333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accent2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1600" dirty="0" smtClean="0">
            <a:solidFill>
              <a:schemeClr val="tx1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71450" indent="-171450">
          <a:buFont typeface="Wingdings" panose="05000000000000000000" pitchFamily="2" charset="2"/>
          <a:buChar char="§"/>
          <a:defRPr sz="1600" dirty="0" err="1" smtClean="0">
            <a:solidFill>
              <a:schemeClr val="tx1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5-07-24 MPLS pricing &amp; vCPE v1.5" id="{7509ACEC-9137-477E-B19B-D0ECD2AEBE9B}" vid="{94CF4814-3C11-401F-9819-FDB70444149E}"/>
    </a:ext>
  </a:extLst>
</a:theme>
</file>

<file path=ppt/theme/theme21.xml><?xml version="1.0" encoding="utf-8"?>
<a:theme xmlns:a="http://schemas.openxmlformats.org/drawingml/2006/main" name="4_Blue theme 2015 16x9">
  <a:themeElements>
    <a:clrScheme name="Custom 1">
      <a:dk1>
        <a:srgbClr val="333333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accent2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1600" dirty="0" smtClean="0">
            <a:solidFill>
              <a:schemeClr val="tx1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71450" indent="-171450">
          <a:buFont typeface="Wingdings" panose="05000000000000000000" pitchFamily="2" charset="2"/>
          <a:buChar char="§"/>
          <a:defRPr sz="1600" dirty="0" err="1" smtClean="0">
            <a:solidFill>
              <a:schemeClr val="tx1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5-07-24 MPLS pricing &amp; vCPE v1.5" id="{7509ACEC-9137-477E-B19B-D0ECD2AEBE9B}" vid="{94CF4814-3C11-401F-9819-FDB70444149E}"/>
    </a:ext>
  </a:extLst>
</a:theme>
</file>

<file path=ppt/theme/theme22.xml><?xml version="1.0" encoding="utf-8"?>
<a:theme xmlns:a="http://schemas.openxmlformats.org/drawingml/2006/main" name="5_Blue theme 2015 16x9">
  <a:themeElements>
    <a:clrScheme name="Custom 1">
      <a:dk1>
        <a:srgbClr val="333333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accent2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1600" dirty="0" smtClean="0">
            <a:solidFill>
              <a:schemeClr val="tx1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71450" indent="-171450">
          <a:buFont typeface="Wingdings" panose="05000000000000000000" pitchFamily="2" charset="2"/>
          <a:buChar char="§"/>
          <a:defRPr sz="1600" dirty="0" err="1" smtClean="0">
            <a:solidFill>
              <a:schemeClr val="tx1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5-07-24 MPLS pricing &amp; vCPE v1.5" id="{7509ACEC-9137-477E-B19B-D0ECD2AEBE9B}" vid="{94CF4814-3C11-401F-9819-FDB70444149E}"/>
    </a:ext>
  </a:extLst>
</a:theme>
</file>

<file path=ppt/theme/theme23.xml><?xml version="1.0" encoding="utf-8"?>
<a:theme xmlns:a="http://schemas.openxmlformats.org/drawingml/2006/main" name="6_Blue theme 2015 16x9">
  <a:themeElements>
    <a:clrScheme name="Custom 1">
      <a:dk1>
        <a:srgbClr val="333333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accent2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1600" dirty="0" smtClean="0">
            <a:solidFill>
              <a:schemeClr val="tx1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71450" indent="-171450">
          <a:buFont typeface="Wingdings" panose="05000000000000000000" pitchFamily="2" charset="2"/>
          <a:buChar char="§"/>
          <a:defRPr sz="1600" dirty="0" err="1" smtClean="0">
            <a:solidFill>
              <a:schemeClr val="tx1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5-07-24 MPLS pricing &amp; vCPE v1.5" id="{7509ACEC-9137-477E-B19B-D0ECD2AEBE9B}" vid="{94CF4814-3C11-401F-9819-FDB70444149E}"/>
    </a:ext>
  </a:extLst>
</a:theme>
</file>

<file path=ppt/theme/theme24.xml><?xml version="1.0" encoding="utf-8"?>
<a:theme xmlns:a="http://schemas.openxmlformats.org/drawingml/2006/main" name="7_Blue theme 2015 16x9">
  <a:themeElements>
    <a:clrScheme name="Custom 1">
      <a:dk1>
        <a:srgbClr val="333333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accent2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1600" dirty="0" smtClean="0">
            <a:solidFill>
              <a:schemeClr val="tx1">
                <a:lumMod val="50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171450" indent="-171450">
          <a:buFont typeface="Wingdings" panose="05000000000000000000" pitchFamily="2" charset="2"/>
          <a:buChar char="§"/>
          <a:defRPr sz="1600" dirty="0" err="1" smtClean="0">
            <a:solidFill>
              <a:schemeClr val="tx1">
                <a:lumMod val="50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5-07-24 MPLS pricing &amp; vCPE v1.5" id="{7509ACEC-9137-477E-B19B-D0ECD2AEBE9B}" vid="{94CF4814-3C11-401F-9819-FDB70444149E}"/>
    </a:ext>
  </a:extLst>
</a:theme>
</file>

<file path=ppt/theme/theme25.xml><?xml version="1.0" encoding="utf-8"?>
<a:theme xmlns:a="http://schemas.openxmlformats.org/drawingml/2006/main" name="31_Cisco_CF_CKT232">
  <a:themeElements>
    <a:clrScheme name="Current">
      <a:dk1>
        <a:srgbClr val="676767"/>
      </a:dk1>
      <a:lt1>
        <a:srgbClr val="FFFFFF"/>
      </a:lt1>
      <a:dk2>
        <a:srgbClr val="2968AF"/>
      </a:dk2>
      <a:lt2>
        <a:srgbClr val="57B74E"/>
      </a:lt2>
      <a:accent1>
        <a:srgbClr val="BFD9EB"/>
      </a:accent1>
      <a:accent2>
        <a:srgbClr val="32B2DF"/>
      </a:accent2>
      <a:accent3>
        <a:srgbClr val="2968AF"/>
      </a:accent3>
      <a:accent4>
        <a:srgbClr val="214794"/>
      </a:accent4>
      <a:accent5>
        <a:srgbClr val="0D868E"/>
      </a:accent5>
      <a:accent6>
        <a:srgbClr val="808080"/>
      </a:accent6>
      <a:hlink>
        <a:srgbClr val="2968AF"/>
      </a:hlink>
      <a:folHlink>
        <a:srgbClr val="21479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69863" indent="-169863"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>
    <a:extraClrScheme>
      <a:clrScheme name="Current">
        <a:dk1>
          <a:srgbClr val="676767"/>
        </a:dk1>
        <a:lt1>
          <a:srgbClr val="FFFFFF"/>
        </a:lt1>
        <a:dk2>
          <a:srgbClr val="2968AF"/>
        </a:dk2>
        <a:lt2>
          <a:srgbClr val="57B74E"/>
        </a:lt2>
        <a:accent1>
          <a:srgbClr val="BFD9EB"/>
        </a:accent1>
        <a:accent2>
          <a:srgbClr val="32B2DF"/>
        </a:accent2>
        <a:accent3>
          <a:srgbClr val="2968AF"/>
        </a:accent3>
        <a:accent4>
          <a:srgbClr val="214794"/>
        </a:accent4>
        <a:accent5>
          <a:srgbClr val="0D868E"/>
        </a:accent5>
        <a:accent6>
          <a:srgbClr val="808080"/>
        </a:accent6>
        <a:hlink>
          <a:srgbClr val="2968AF"/>
        </a:hlink>
        <a:folHlink>
          <a:srgbClr val="21479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32_Cisco_CF_CKT232">
  <a:themeElements>
    <a:clrScheme name="Current">
      <a:dk1>
        <a:srgbClr val="676767"/>
      </a:dk1>
      <a:lt1>
        <a:srgbClr val="FFFFFF"/>
      </a:lt1>
      <a:dk2>
        <a:srgbClr val="2968AF"/>
      </a:dk2>
      <a:lt2>
        <a:srgbClr val="57B74E"/>
      </a:lt2>
      <a:accent1>
        <a:srgbClr val="BFD9EB"/>
      </a:accent1>
      <a:accent2>
        <a:srgbClr val="32B2DF"/>
      </a:accent2>
      <a:accent3>
        <a:srgbClr val="2968AF"/>
      </a:accent3>
      <a:accent4>
        <a:srgbClr val="214794"/>
      </a:accent4>
      <a:accent5>
        <a:srgbClr val="0D868E"/>
      </a:accent5>
      <a:accent6>
        <a:srgbClr val="808080"/>
      </a:accent6>
      <a:hlink>
        <a:srgbClr val="2968AF"/>
      </a:hlink>
      <a:folHlink>
        <a:srgbClr val="21479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69863" indent="-169863"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>
    <a:extraClrScheme>
      <a:clrScheme name="Current">
        <a:dk1>
          <a:srgbClr val="676767"/>
        </a:dk1>
        <a:lt1>
          <a:srgbClr val="FFFFFF"/>
        </a:lt1>
        <a:dk2>
          <a:srgbClr val="2968AF"/>
        </a:dk2>
        <a:lt2>
          <a:srgbClr val="57B74E"/>
        </a:lt2>
        <a:accent1>
          <a:srgbClr val="BFD9EB"/>
        </a:accent1>
        <a:accent2>
          <a:srgbClr val="32B2DF"/>
        </a:accent2>
        <a:accent3>
          <a:srgbClr val="2968AF"/>
        </a:accent3>
        <a:accent4>
          <a:srgbClr val="214794"/>
        </a:accent4>
        <a:accent5>
          <a:srgbClr val="0D868E"/>
        </a:accent5>
        <a:accent6>
          <a:srgbClr val="808080"/>
        </a:accent6>
        <a:hlink>
          <a:srgbClr val="2968AF"/>
        </a:hlink>
        <a:folHlink>
          <a:srgbClr val="21479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33_Cisco_CF_CKT232">
  <a:themeElements>
    <a:clrScheme name="Current">
      <a:dk1>
        <a:srgbClr val="676767"/>
      </a:dk1>
      <a:lt1>
        <a:srgbClr val="FFFFFF"/>
      </a:lt1>
      <a:dk2>
        <a:srgbClr val="2968AF"/>
      </a:dk2>
      <a:lt2>
        <a:srgbClr val="57B74E"/>
      </a:lt2>
      <a:accent1>
        <a:srgbClr val="BFD9EB"/>
      </a:accent1>
      <a:accent2>
        <a:srgbClr val="32B2DF"/>
      </a:accent2>
      <a:accent3>
        <a:srgbClr val="2968AF"/>
      </a:accent3>
      <a:accent4>
        <a:srgbClr val="214794"/>
      </a:accent4>
      <a:accent5>
        <a:srgbClr val="0D868E"/>
      </a:accent5>
      <a:accent6>
        <a:srgbClr val="808080"/>
      </a:accent6>
      <a:hlink>
        <a:srgbClr val="2968AF"/>
      </a:hlink>
      <a:folHlink>
        <a:srgbClr val="21479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69863" indent="-169863"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>
    <a:extraClrScheme>
      <a:clrScheme name="Current">
        <a:dk1>
          <a:srgbClr val="676767"/>
        </a:dk1>
        <a:lt1>
          <a:srgbClr val="FFFFFF"/>
        </a:lt1>
        <a:dk2>
          <a:srgbClr val="2968AF"/>
        </a:dk2>
        <a:lt2>
          <a:srgbClr val="57B74E"/>
        </a:lt2>
        <a:accent1>
          <a:srgbClr val="BFD9EB"/>
        </a:accent1>
        <a:accent2>
          <a:srgbClr val="32B2DF"/>
        </a:accent2>
        <a:accent3>
          <a:srgbClr val="2968AF"/>
        </a:accent3>
        <a:accent4>
          <a:srgbClr val="214794"/>
        </a:accent4>
        <a:accent5>
          <a:srgbClr val="0D868E"/>
        </a:accent5>
        <a:accent6>
          <a:srgbClr val="808080"/>
        </a:accent6>
        <a:hlink>
          <a:srgbClr val="2968AF"/>
        </a:hlink>
        <a:folHlink>
          <a:srgbClr val="21479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9_Blue theme 2015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9.xml><?xml version="1.0" encoding="utf-8"?>
<a:theme xmlns:a="http://schemas.openxmlformats.org/drawingml/2006/main" name="8_Blue theme 2015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Default Theme">
  <a:themeElements>
    <a:clrScheme name="Cisco Cool Template Colors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0.xml><?xml version="1.0" encoding="utf-8"?>
<a:theme xmlns:a="http://schemas.openxmlformats.org/drawingml/2006/main" name="34_Cisco_CF_CKT232">
  <a:themeElements>
    <a:clrScheme name="Current">
      <a:dk1>
        <a:srgbClr val="676767"/>
      </a:dk1>
      <a:lt1>
        <a:srgbClr val="FFFFFF"/>
      </a:lt1>
      <a:dk2>
        <a:srgbClr val="2968AF"/>
      </a:dk2>
      <a:lt2>
        <a:srgbClr val="57B74E"/>
      </a:lt2>
      <a:accent1>
        <a:srgbClr val="BFD9EB"/>
      </a:accent1>
      <a:accent2>
        <a:srgbClr val="32B2DF"/>
      </a:accent2>
      <a:accent3>
        <a:srgbClr val="2968AF"/>
      </a:accent3>
      <a:accent4>
        <a:srgbClr val="214794"/>
      </a:accent4>
      <a:accent5>
        <a:srgbClr val="0D868E"/>
      </a:accent5>
      <a:accent6>
        <a:srgbClr val="808080"/>
      </a:accent6>
      <a:hlink>
        <a:srgbClr val="2968AF"/>
      </a:hlink>
      <a:folHlink>
        <a:srgbClr val="21479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69863" indent="-169863"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>
    <a:extraClrScheme>
      <a:clrScheme name="Current">
        <a:dk1>
          <a:srgbClr val="676767"/>
        </a:dk1>
        <a:lt1>
          <a:srgbClr val="FFFFFF"/>
        </a:lt1>
        <a:dk2>
          <a:srgbClr val="2968AF"/>
        </a:dk2>
        <a:lt2>
          <a:srgbClr val="57B74E"/>
        </a:lt2>
        <a:accent1>
          <a:srgbClr val="BFD9EB"/>
        </a:accent1>
        <a:accent2>
          <a:srgbClr val="32B2DF"/>
        </a:accent2>
        <a:accent3>
          <a:srgbClr val="2968AF"/>
        </a:accent3>
        <a:accent4>
          <a:srgbClr val="214794"/>
        </a:accent4>
        <a:accent5>
          <a:srgbClr val="0D868E"/>
        </a:accent5>
        <a:accent6>
          <a:srgbClr val="808080"/>
        </a:accent6>
        <a:hlink>
          <a:srgbClr val="2968AF"/>
        </a:hlink>
        <a:folHlink>
          <a:srgbClr val="21479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8_Cisco_CF_CKT232">
  <a:themeElements>
    <a:clrScheme name="Current">
      <a:dk1>
        <a:srgbClr val="676767"/>
      </a:dk1>
      <a:lt1>
        <a:srgbClr val="FFFFFF"/>
      </a:lt1>
      <a:dk2>
        <a:srgbClr val="2968AF"/>
      </a:dk2>
      <a:lt2>
        <a:srgbClr val="57B74E"/>
      </a:lt2>
      <a:accent1>
        <a:srgbClr val="BFD9EB"/>
      </a:accent1>
      <a:accent2>
        <a:srgbClr val="32B2DF"/>
      </a:accent2>
      <a:accent3>
        <a:srgbClr val="2968AF"/>
      </a:accent3>
      <a:accent4>
        <a:srgbClr val="214794"/>
      </a:accent4>
      <a:accent5>
        <a:srgbClr val="0D868E"/>
      </a:accent5>
      <a:accent6>
        <a:srgbClr val="808080"/>
      </a:accent6>
      <a:hlink>
        <a:srgbClr val="2968AF"/>
      </a:hlink>
      <a:folHlink>
        <a:srgbClr val="21479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676767"/>
        </a:dk1>
        <a:lt1>
          <a:srgbClr val="FFFFFF"/>
        </a:lt1>
        <a:dk2>
          <a:srgbClr val="2968AF"/>
        </a:dk2>
        <a:lt2>
          <a:srgbClr val="57B74E"/>
        </a:lt2>
        <a:accent1>
          <a:srgbClr val="BFD9EB"/>
        </a:accent1>
        <a:accent2>
          <a:srgbClr val="32B2DF"/>
        </a:accent2>
        <a:accent3>
          <a:srgbClr val="2968AF"/>
        </a:accent3>
        <a:accent4>
          <a:srgbClr val="214794"/>
        </a:accent4>
        <a:accent5>
          <a:srgbClr val="0D868E"/>
        </a:accent5>
        <a:accent6>
          <a:srgbClr val="808080"/>
        </a:accent6>
        <a:hlink>
          <a:srgbClr val="2968AF"/>
        </a:hlink>
        <a:folHlink>
          <a:srgbClr val="21479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2.xml><?xml version="1.0" encoding="utf-8"?>
<a:theme xmlns:a="http://schemas.openxmlformats.org/drawingml/2006/main" name="Blue theme 2016 16x9">
  <a:themeElements>
    <a:clrScheme name="Blue Theme 2016 Updated">
      <a:dk1>
        <a:srgbClr val="39393B"/>
      </a:dk1>
      <a:lt1>
        <a:srgbClr val="FFFFFF"/>
      </a:lt1>
      <a:dk2>
        <a:srgbClr val="555558"/>
      </a:dk2>
      <a:lt2>
        <a:srgbClr val="049CD4"/>
      </a:lt2>
      <a:accent1>
        <a:srgbClr val="014093"/>
      </a:accent1>
      <a:accent2>
        <a:srgbClr val="0498D1"/>
      </a:accent2>
      <a:accent3>
        <a:srgbClr val="CACCD2"/>
      </a:accent3>
      <a:accent4>
        <a:srgbClr val="ABC333"/>
      </a:accent4>
      <a:accent5>
        <a:srgbClr val="64BAE2"/>
      </a:accent5>
      <a:accent6>
        <a:srgbClr val="0B6B75"/>
      </a:accent6>
      <a:hlink>
        <a:srgbClr val="049BD3"/>
      </a:hlink>
      <a:folHlink>
        <a:srgbClr val="01449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DC503DE1-91F3-4E06-9D47-79C2309E909B}" vid="{C266BCD2-BF24-49DE-B4C0-2E591CE22960}"/>
    </a:ext>
  </a:extLst>
</a:theme>
</file>

<file path=ppt/theme/theme33.xml><?xml version="1.0" encoding="utf-8"?>
<a:theme xmlns:a="http://schemas.openxmlformats.org/drawingml/2006/main" name="1_Blue theme 2016 16x9">
  <a:themeElements>
    <a:clrScheme name="Blue Theme 2016 Updated">
      <a:dk1>
        <a:srgbClr val="39393B"/>
      </a:dk1>
      <a:lt1>
        <a:srgbClr val="FFFFFF"/>
      </a:lt1>
      <a:dk2>
        <a:srgbClr val="555558"/>
      </a:dk2>
      <a:lt2>
        <a:srgbClr val="049CD4"/>
      </a:lt2>
      <a:accent1>
        <a:srgbClr val="014093"/>
      </a:accent1>
      <a:accent2>
        <a:srgbClr val="0498D1"/>
      </a:accent2>
      <a:accent3>
        <a:srgbClr val="CACCD2"/>
      </a:accent3>
      <a:accent4>
        <a:srgbClr val="ABC333"/>
      </a:accent4>
      <a:accent5>
        <a:srgbClr val="64BAE2"/>
      </a:accent5>
      <a:accent6>
        <a:srgbClr val="0B6B75"/>
      </a:accent6>
      <a:hlink>
        <a:srgbClr val="049BD3"/>
      </a:hlink>
      <a:folHlink>
        <a:srgbClr val="01449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DC503DE1-91F3-4E06-9D47-79C2309E909B}" vid="{C266BCD2-BF24-49DE-B4C0-2E591CE22960}"/>
    </a:ext>
  </a:extLst>
</a:theme>
</file>

<file path=ppt/theme/theme34.xml><?xml version="1.0" encoding="utf-8"?>
<a:theme xmlns:a="http://schemas.openxmlformats.org/drawingml/2006/main" name="3_Blue theme 2016 16x9">
  <a:themeElements>
    <a:clrScheme name="Blue Theme 2016 Updated">
      <a:dk1>
        <a:srgbClr val="39393B"/>
      </a:dk1>
      <a:lt1>
        <a:srgbClr val="FFFFFF"/>
      </a:lt1>
      <a:dk2>
        <a:srgbClr val="555558"/>
      </a:dk2>
      <a:lt2>
        <a:srgbClr val="049CD4"/>
      </a:lt2>
      <a:accent1>
        <a:srgbClr val="014093"/>
      </a:accent1>
      <a:accent2>
        <a:srgbClr val="0498D1"/>
      </a:accent2>
      <a:accent3>
        <a:srgbClr val="CACCD2"/>
      </a:accent3>
      <a:accent4>
        <a:srgbClr val="ABC333"/>
      </a:accent4>
      <a:accent5>
        <a:srgbClr val="64BAE2"/>
      </a:accent5>
      <a:accent6>
        <a:srgbClr val="0B6B75"/>
      </a:accent6>
      <a:hlink>
        <a:srgbClr val="049BD3"/>
      </a:hlink>
      <a:folHlink>
        <a:srgbClr val="01449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DC503DE1-91F3-4E06-9D47-79C2309E909B}" vid="{C266BCD2-BF24-49DE-B4C0-2E591CE22960}"/>
    </a:ext>
  </a:extLst>
</a:theme>
</file>

<file path=ppt/theme/theme35.xml><?xml version="1.0" encoding="utf-8"?>
<a:theme xmlns:a="http://schemas.openxmlformats.org/drawingml/2006/main" name="4_Blue theme 2016 16x9">
  <a:themeElements>
    <a:clrScheme name="Blue Theme 2016 Updated">
      <a:dk1>
        <a:srgbClr val="39393B"/>
      </a:dk1>
      <a:lt1>
        <a:srgbClr val="FFFFFF"/>
      </a:lt1>
      <a:dk2>
        <a:srgbClr val="555558"/>
      </a:dk2>
      <a:lt2>
        <a:srgbClr val="049CD4"/>
      </a:lt2>
      <a:accent1>
        <a:srgbClr val="014093"/>
      </a:accent1>
      <a:accent2>
        <a:srgbClr val="0498D1"/>
      </a:accent2>
      <a:accent3>
        <a:srgbClr val="CACCD2"/>
      </a:accent3>
      <a:accent4>
        <a:srgbClr val="ABC333"/>
      </a:accent4>
      <a:accent5>
        <a:srgbClr val="64BAE2"/>
      </a:accent5>
      <a:accent6>
        <a:srgbClr val="0B6B75"/>
      </a:accent6>
      <a:hlink>
        <a:srgbClr val="049BD3"/>
      </a:hlink>
      <a:folHlink>
        <a:srgbClr val="01449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DC503DE1-91F3-4E06-9D47-79C2309E909B}" vid="{C266BCD2-BF24-49DE-B4C0-2E591CE22960}"/>
    </a:ext>
  </a:extLst>
</a:theme>
</file>

<file path=ppt/theme/theme36.xml><?xml version="1.0" encoding="utf-8"?>
<a:theme xmlns:a="http://schemas.openxmlformats.org/drawingml/2006/main" name="5_Blue theme 2016 16x9">
  <a:themeElements>
    <a:clrScheme name="Blue Theme 2016 Updated">
      <a:dk1>
        <a:srgbClr val="39393B"/>
      </a:dk1>
      <a:lt1>
        <a:srgbClr val="FFFFFF"/>
      </a:lt1>
      <a:dk2>
        <a:srgbClr val="555558"/>
      </a:dk2>
      <a:lt2>
        <a:srgbClr val="049CD4"/>
      </a:lt2>
      <a:accent1>
        <a:srgbClr val="014093"/>
      </a:accent1>
      <a:accent2>
        <a:srgbClr val="0498D1"/>
      </a:accent2>
      <a:accent3>
        <a:srgbClr val="CACCD2"/>
      </a:accent3>
      <a:accent4>
        <a:srgbClr val="ABC333"/>
      </a:accent4>
      <a:accent5>
        <a:srgbClr val="64BAE2"/>
      </a:accent5>
      <a:accent6>
        <a:srgbClr val="0B6B75"/>
      </a:accent6>
      <a:hlink>
        <a:srgbClr val="049BD3"/>
      </a:hlink>
      <a:folHlink>
        <a:srgbClr val="01449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DC503DE1-91F3-4E06-9D47-79C2309E909B}" vid="{C266BCD2-BF24-49DE-B4C0-2E591CE22960}"/>
    </a:ext>
  </a:extLst>
</a:theme>
</file>

<file path=ppt/theme/theme37.xml><?xml version="1.0" encoding="utf-8"?>
<a:theme xmlns:a="http://schemas.openxmlformats.org/drawingml/2006/main" name="6_Blue theme 2016 16x9">
  <a:themeElements>
    <a:clrScheme name="Blue Theme 2016 Updated">
      <a:dk1>
        <a:srgbClr val="39393B"/>
      </a:dk1>
      <a:lt1>
        <a:srgbClr val="FFFFFF"/>
      </a:lt1>
      <a:dk2>
        <a:srgbClr val="555558"/>
      </a:dk2>
      <a:lt2>
        <a:srgbClr val="049CD4"/>
      </a:lt2>
      <a:accent1>
        <a:srgbClr val="014093"/>
      </a:accent1>
      <a:accent2>
        <a:srgbClr val="0498D1"/>
      </a:accent2>
      <a:accent3>
        <a:srgbClr val="CACCD2"/>
      </a:accent3>
      <a:accent4>
        <a:srgbClr val="ABC333"/>
      </a:accent4>
      <a:accent5>
        <a:srgbClr val="64BAE2"/>
      </a:accent5>
      <a:accent6>
        <a:srgbClr val="0B6B75"/>
      </a:accent6>
      <a:hlink>
        <a:srgbClr val="049BD3"/>
      </a:hlink>
      <a:folHlink>
        <a:srgbClr val="01449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DC503DE1-91F3-4E06-9D47-79C2309E909B}" vid="{C266BCD2-BF24-49DE-B4C0-2E591CE22960}"/>
    </a:ext>
  </a:extLst>
</a:theme>
</file>

<file path=ppt/theme/theme38.xml><?xml version="1.0" encoding="utf-8"?>
<a:theme xmlns:a="http://schemas.openxmlformats.org/drawingml/2006/main" name="7_Blue theme 2016 16x9">
  <a:themeElements>
    <a:clrScheme name="Blue Theme 2016 Updated">
      <a:dk1>
        <a:srgbClr val="39393B"/>
      </a:dk1>
      <a:lt1>
        <a:srgbClr val="FFFFFF"/>
      </a:lt1>
      <a:dk2>
        <a:srgbClr val="555558"/>
      </a:dk2>
      <a:lt2>
        <a:srgbClr val="049CD4"/>
      </a:lt2>
      <a:accent1>
        <a:srgbClr val="014093"/>
      </a:accent1>
      <a:accent2>
        <a:srgbClr val="0498D1"/>
      </a:accent2>
      <a:accent3>
        <a:srgbClr val="CACCD2"/>
      </a:accent3>
      <a:accent4>
        <a:srgbClr val="ABC333"/>
      </a:accent4>
      <a:accent5>
        <a:srgbClr val="64BAE2"/>
      </a:accent5>
      <a:accent6>
        <a:srgbClr val="0B6B75"/>
      </a:accent6>
      <a:hlink>
        <a:srgbClr val="049BD3"/>
      </a:hlink>
      <a:folHlink>
        <a:srgbClr val="01449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DC503DE1-91F3-4E06-9D47-79C2309E909B}" vid="{C266BCD2-BF24-49DE-B4C0-2E591CE22960}"/>
    </a:ext>
  </a:extLst>
</a:theme>
</file>

<file path=ppt/theme/theme39.xml><?xml version="1.0" encoding="utf-8"?>
<a:theme xmlns:a="http://schemas.openxmlformats.org/drawingml/2006/main" name="Blue theme 2014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1_Default Theme">
  <a:themeElements>
    <a:clrScheme name="Cisco Cool Template Colors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0.xml><?xml version="1.0" encoding="utf-8"?>
<a:theme xmlns:a="http://schemas.openxmlformats.org/drawingml/2006/main" name="10_Blue theme 2015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lue theme 2015 16x9" id="{BF344CDA-A867-5344-9305-16682D2D1E74}" vid="{98C76503-DF23-0345-9AF3-1C3CD7B62611}"/>
    </a:ext>
  </a:extLst>
</a:theme>
</file>

<file path=ppt/theme/theme41.xml><?xml version="1.0" encoding="utf-8"?>
<a:theme xmlns:a="http://schemas.openxmlformats.org/drawingml/2006/main" name="11_Blue theme 2015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lue theme 2015 16x9" id="{BF344CDA-A867-5344-9305-16682D2D1E74}" vid="{98C76503-DF23-0345-9AF3-1C3CD7B62611}"/>
    </a:ext>
  </a:extLst>
</a:theme>
</file>

<file path=ppt/theme/theme42.xml><?xml version="1.0" encoding="utf-8"?>
<a:theme xmlns:a="http://schemas.openxmlformats.org/drawingml/2006/main" name="12_Blue theme 2015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lue theme 2015 16x9" id="{BF344CDA-A867-5344-9305-16682D2D1E74}" vid="{98C76503-DF23-0345-9AF3-1C3CD7B62611}"/>
    </a:ext>
  </a:extLst>
</a:theme>
</file>

<file path=ppt/theme/theme43.xml><?xml version="1.0" encoding="utf-8"?>
<a:theme xmlns:a="http://schemas.openxmlformats.org/drawingml/2006/main" name="13_Blue theme 2015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lue theme 2015 16x9" id="{BF344CDA-A867-5344-9305-16682D2D1E74}" vid="{98C76503-DF23-0345-9AF3-1C3CD7B62611}"/>
    </a:ext>
  </a:extLst>
</a:theme>
</file>

<file path=ppt/theme/theme44.xml><?xml version="1.0" encoding="utf-8"?>
<a:theme xmlns:a="http://schemas.openxmlformats.org/drawingml/2006/main" name="14_Blue theme 2015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5.xml><?xml version="1.0" encoding="utf-8"?>
<a:theme xmlns:a="http://schemas.openxmlformats.org/drawingml/2006/main" name="15_Blue theme 2015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6.xml><?xml version="1.0" encoding="utf-8"?>
<a:theme xmlns:a="http://schemas.openxmlformats.org/drawingml/2006/main" name="1_Blue theme 2014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7.xml><?xml version="1.0" encoding="utf-8"?>
<a:theme xmlns:a="http://schemas.openxmlformats.org/drawingml/2006/main" name="8_Blue theme 2016 16x9">
  <a:themeElements>
    <a:clrScheme name="Blue Theme 2016 Updated">
      <a:dk1>
        <a:srgbClr val="39393B"/>
      </a:dk1>
      <a:lt1>
        <a:srgbClr val="FFFFFF"/>
      </a:lt1>
      <a:dk2>
        <a:srgbClr val="555558"/>
      </a:dk2>
      <a:lt2>
        <a:srgbClr val="049CD4"/>
      </a:lt2>
      <a:accent1>
        <a:srgbClr val="014093"/>
      </a:accent1>
      <a:accent2>
        <a:srgbClr val="0498D1"/>
      </a:accent2>
      <a:accent3>
        <a:srgbClr val="CACCD2"/>
      </a:accent3>
      <a:accent4>
        <a:srgbClr val="ABC333"/>
      </a:accent4>
      <a:accent5>
        <a:srgbClr val="64BAE2"/>
      </a:accent5>
      <a:accent6>
        <a:srgbClr val="0B6B75"/>
      </a:accent6>
      <a:hlink>
        <a:srgbClr val="049BD3"/>
      </a:hlink>
      <a:folHlink>
        <a:srgbClr val="01449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DC503DE1-91F3-4E06-9D47-79C2309E909B}" vid="{C266BCD2-BF24-49DE-B4C0-2E591CE22960}"/>
    </a:ext>
  </a:extLst>
</a:theme>
</file>

<file path=ppt/theme/theme48.xml><?xml version="1.0" encoding="utf-8"?>
<a:theme xmlns:a="http://schemas.openxmlformats.org/drawingml/2006/main" name="2_Cisco Live 2017">
  <a:themeElements>
    <a:clrScheme name="Custom 103">
      <a:dk1>
        <a:srgbClr val="39393B"/>
      </a:dk1>
      <a:lt1>
        <a:srgbClr val="FFFFFF"/>
      </a:lt1>
      <a:dk2>
        <a:srgbClr val="9E9EA2"/>
      </a:dk2>
      <a:lt2>
        <a:srgbClr val="58595B"/>
      </a:lt2>
      <a:accent1>
        <a:srgbClr val="00BCEB"/>
      </a:accent1>
      <a:accent2>
        <a:srgbClr val="FBAB18"/>
      </a:accent2>
      <a:accent3>
        <a:srgbClr val="6EBE4A"/>
      </a:accent3>
      <a:accent4>
        <a:srgbClr val="F04C37"/>
      </a:accent4>
      <a:accent5>
        <a:srgbClr val="0B6B75"/>
      </a:accent5>
      <a:accent6>
        <a:srgbClr val="005073"/>
      </a:accent6>
      <a:hlink>
        <a:srgbClr val="049BD3"/>
      </a:hlink>
      <a:folHlink>
        <a:srgbClr val="01449E"/>
      </a:folHlink>
    </a:clrScheme>
    <a:fontScheme name="Bullets-graphic element">
      <a:majorFont>
        <a:latin typeface="Arial"/>
        <a:ea typeface="Apple LiGothic Medium"/>
        <a:cs typeface="Apple LiGothic Medium"/>
      </a:majorFont>
      <a:minorFont>
        <a:latin typeface="Arial"/>
        <a:ea typeface="Apple LiGothic Medium"/>
        <a:cs typeface="Apple LiGothic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>
          <a:noFill/>
          <a:miter lim="800000"/>
          <a:headEnd type="none" w="med" len="med"/>
          <a:tailEnd type="none" w="med" len="med"/>
        </a:ln>
      </a:spPr>
      <a:bodyPr lIns="91440" tIns="45720" rIns="91440" bIns="45720" rtlCol="0" anchor="ctr"/>
      <a:lstStyle>
        <a:defPPr algn="ctr" defTabSz="514350">
          <a:defRPr sz="1400" dirty="0" err="1" smtClean="0">
            <a:solidFill>
              <a:schemeClr val="bg1"/>
            </a:solidFill>
            <a:ea typeface="Arial" pitchFamily="-107" charset="0"/>
            <a:cs typeface="Arial" pitchFamily="-107" charset="0"/>
            <a:sym typeface="Arial" pitchFamily="-107" charset="0"/>
          </a:defRPr>
        </a:defPPr>
      </a:lstStyle>
    </a:spDef>
    <a:lnDef>
      <a:spPr bwMode="auto">
        <a:solidFill>
          <a:srgbClr val="0183B7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600"/>
          </a:spcBef>
          <a:defRPr dirty="0" err="1" smtClean="0"/>
        </a:defPPr>
      </a:lstStyle>
    </a:txDef>
  </a:objectDefaults>
  <a:extraClrSchemeLst>
    <a:extraClrScheme>
      <a:clrScheme name="Bullets-graphic elem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iscoLive-Breakout-Template_032115_rev.potx" id="{6B06430E-E73C-442A-A3CB-D0AD286589C5}" vid="{A443AF0A-0432-4441-8649-76C9F41B8DB8}"/>
    </a:ext>
  </a:extLst>
</a:theme>
</file>

<file path=ppt/theme/theme49.xml><?xml version="1.0" encoding="utf-8"?>
<a:theme xmlns:a="http://schemas.openxmlformats.org/drawingml/2006/main" name="16_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5.xml><?xml version="1.0" encoding="utf-8"?>
<a:theme xmlns:a="http://schemas.openxmlformats.org/drawingml/2006/main" name="1_Cisco Blue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0.xml><?xml version="1.0" encoding="utf-8"?>
<a:theme xmlns:a="http://schemas.openxmlformats.org/drawingml/2006/main" name="17_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51.xml><?xml version="1.0" encoding="utf-8"?>
<a:theme xmlns:a="http://schemas.openxmlformats.org/drawingml/2006/main" name="18_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52.xml><?xml version="1.0" encoding="utf-8"?>
<a:theme xmlns:a="http://schemas.openxmlformats.org/drawingml/2006/main" name="19_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53.xml><?xml version="1.0" encoding="utf-8"?>
<a:theme xmlns:a="http://schemas.openxmlformats.org/drawingml/2006/main" name="Office Theme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Sans Custom Font">
      <a:majorFont>
        <a:latin typeface="CiscoSansTT Thin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4.xml><?xml version="1.0" encoding="utf-8"?>
<a:theme xmlns:a="http://schemas.openxmlformats.org/drawingml/2006/main" name="Office Theme">
  <a:themeElements>
    <a:clrScheme name="Cisco Cool Palette Theme">
      <a:dk1>
        <a:srgbClr val="000000"/>
      </a:dk1>
      <a:lt1>
        <a:srgbClr val="FFFFFF"/>
      </a:lt1>
      <a:dk2>
        <a:srgbClr val="272848"/>
      </a:dk2>
      <a:lt2>
        <a:srgbClr val="FFFFFF"/>
      </a:lt2>
      <a:accent1>
        <a:srgbClr val="272A48"/>
      </a:accent1>
      <a:accent2>
        <a:srgbClr val="52526D"/>
      </a:accent2>
      <a:accent3>
        <a:srgbClr val="FFFFFF"/>
      </a:accent3>
      <a:accent4>
        <a:srgbClr val="D3D3DA"/>
      </a:accent4>
      <a:accent5>
        <a:srgbClr val="33828D"/>
      </a:accent5>
      <a:accent6>
        <a:srgbClr val="3CBBB9"/>
      </a:accent6>
      <a:hlink>
        <a:srgbClr val="3CBBB9"/>
      </a:hlink>
      <a:folHlink>
        <a:srgbClr val="33828D"/>
      </a:folHlink>
    </a:clrScheme>
    <a:fontScheme name="CiscoSans Custom Font">
      <a:majorFont>
        <a:latin typeface="CiscoSansTT Thin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27_Cisco_CF_CKT232">
  <a:themeElements>
    <a:clrScheme name="Current">
      <a:dk1>
        <a:srgbClr val="676767"/>
      </a:dk1>
      <a:lt1>
        <a:srgbClr val="FFFFFF"/>
      </a:lt1>
      <a:dk2>
        <a:srgbClr val="2968AF"/>
      </a:dk2>
      <a:lt2>
        <a:srgbClr val="57B74E"/>
      </a:lt2>
      <a:accent1>
        <a:srgbClr val="BFD9EB"/>
      </a:accent1>
      <a:accent2>
        <a:srgbClr val="32B2DF"/>
      </a:accent2>
      <a:accent3>
        <a:srgbClr val="2968AF"/>
      </a:accent3>
      <a:accent4>
        <a:srgbClr val="214794"/>
      </a:accent4>
      <a:accent5>
        <a:srgbClr val="0D868E"/>
      </a:accent5>
      <a:accent6>
        <a:srgbClr val="808080"/>
      </a:accent6>
      <a:hlink>
        <a:srgbClr val="2968AF"/>
      </a:hlink>
      <a:folHlink>
        <a:srgbClr val="21479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69863" indent="-169863"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>
    <a:extraClrScheme>
      <a:clrScheme name="Current">
        <a:dk1>
          <a:srgbClr val="676767"/>
        </a:dk1>
        <a:lt1>
          <a:srgbClr val="FFFFFF"/>
        </a:lt1>
        <a:dk2>
          <a:srgbClr val="2968AF"/>
        </a:dk2>
        <a:lt2>
          <a:srgbClr val="57B74E"/>
        </a:lt2>
        <a:accent1>
          <a:srgbClr val="BFD9EB"/>
        </a:accent1>
        <a:accent2>
          <a:srgbClr val="32B2DF"/>
        </a:accent2>
        <a:accent3>
          <a:srgbClr val="2968AF"/>
        </a:accent3>
        <a:accent4>
          <a:srgbClr val="214794"/>
        </a:accent4>
        <a:accent5>
          <a:srgbClr val="0D868E"/>
        </a:accent5>
        <a:accent6>
          <a:srgbClr val="808080"/>
        </a:accent6>
        <a:hlink>
          <a:srgbClr val="2968AF"/>
        </a:hlink>
        <a:folHlink>
          <a:srgbClr val="21479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8_Cisco_CF_CKT232">
  <a:themeElements>
    <a:clrScheme name="Current">
      <a:dk1>
        <a:srgbClr val="676767"/>
      </a:dk1>
      <a:lt1>
        <a:srgbClr val="FFFFFF"/>
      </a:lt1>
      <a:dk2>
        <a:srgbClr val="2968AF"/>
      </a:dk2>
      <a:lt2>
        <a:srgbClr val="57B74E"/>
      </a:lt2>
      <a:accent1>
        <a:srgbClr val="BFD9EB"/>
      </a:accent1>
      <a:accent2>
        <a:srgbClr val="32B2DF"/>
      </a:accent2>
      <a:accent3>
        <a:srgbClr val="2968AF"/>
      </a:accent3>
      <a:accent4>
        <a:srgbClr val="214794"/>
      </a:accent4>
      <a:accent5>
        <a:srgbClr val="0D868E"/>
      </a:accent5>
      <a:accent6>
        <a:srgbClr val="808080"/>
      </a:accent6>
      <a:hlink>
        <a:srgbClr val="2968AF"/>
      </a:hlink>
      <a:folHlink>
        <a:srgbClr val="21479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69863" indent="-169863">
          <a:buFont typeface="Arial" panose="020B0604020202020204" pitchFamily="34" charset="0"/>
          <a:buChar char="•"/>
          <a:defRPr sz="1400" dirty="0" err="1" smtClean="0"/>
        </a:defPPr>
      </a:lstStyle>
    </a:txDef>
  </a:objectDefaults>
  <a:extraClrSchemeLst>
    <a:extraClrScheme>
      <a:clrScheme name="Current">
        <a:dk1>
          <a:srgbClr val="676767"/>
        </a:dk1>
        <a:lt1>
          <a:srgbClr val="FFFFFF"/>
        </a:lt1>
        <a:dk2>
          <a:srgbClr val="2968AF"/>
        </a:dk2>
        <a:lt2>
          <a:srgbClr val="57B74E"/>
        </a:lt2>
        <a:accent1>
          <a:srgbClr val="BFD9EB"/>
        </a:accent1>
        <a:accent2>
          <a:srgbClr val="32B2DF"/>
        </a:accent2>
        <a:accent3>
          <a:srgbClr val="2968AF"/>
        </a:accent3>
        <a:accent4>
          <a:srgbClr val="214794"/>
        </a:accent4>
        <a:accent5>
          <a:srgbClr val="0D868E"/>
        </a:accent5>
        <a:accent6>
          <a:srgbClr val="808080"/>
        </a:accent6>
        <a:hlink>
          <a:srgbClr val="2968AF"/>
        </a:hlink>
        <a:folHlink>
          <a:srgbClr val="21479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2_Blue theme 2016 16x9">
  <a:themeElements>
    <a:clrScheme name="Custom 62">
      <a:dk1>
        <a:srgbClr val="4D4D4C"/>
      </a:dk1>
      <a:lt1>
        <a:srgbClr val="FFFFFF"/>
      </a:lt1>
      <a:dk2>
        <a:srgbClr val="515150"/>
      </a:dk2>
      <a:lt2>
        <a:srgbClr val="239ACC"/>
      </a:lt2>
      <a:accent1>
        <a:srgbClr val="14337C"/>
      </a:accent1>
      <a:accent2>
        <a:srgbClr val="239BCF"/>
      </a:accent2>
      <a:accent3>
        <a:srgbClr val="7AAAD4"/>
      </a:accent3>
      <a:accent4>
        <a:srgbClr val="6CC04A"/>
      </a:accent4>
      <a:accent5>
        <a:srgbClr val="218DBC"/>
      </a:accent5>
      <a:accent6>
        <a:srgbClr val="0B6B75"/>
      </a:accent6>
      <a:hlink>
        <a:srgbClr val="049FD9"/>
      </a:hlink>
      <a:folHlink>
        <a:srgbClr val="2B559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DC503DE1-91F3-4E06-9D47-79C2309E909B}" vid="{C266BCD2-BF24-49DE-B4C0-2E591CE22960}"/>
    </a:ext>
  </a:extLst>
</a:theme>
</file>

<file path=ppt/theme/theme9.xml><?xml version="1.0" encoding="utf-8"?>
<a:theme xmlns:a="http://schemas.openxmlformats.org/drawingml/2006/main" name="9_Blue theme 2014 16x9">
  <a:themeElements>
    <a:clrScheme name="Cisco Blue">
      <a:dk1>
        <a:srgbClr val="676767"/>
      </a:dk1>
      <a:lt1>
        <a:srgbClr val="FFFFFF"/>
      </a:lt1>
      <a:dk2>
        <a:srgbClr val="2968AF"/>
      </a:dk2>
      <a:lt2>
        <a:srgbClr val="FFFFFF"/>
      </a:lt2>
      <a:accent1>
        <a:srgbClr val="214794"/>
      </a:accent1>
      <a:accent2>
        <a:srgbClr val="8EBCDC"/>
      </a:accent2>
      <a:accent3>
        <a:srgbClr val="676767"/>
      </a:accent3>
      <a:accent4>
        <a:srgbClr val="57B74E"/>
      </a:accent4>
      <a:accent5>
        <a:srgbClr val="32B2DF"/>
      </a:accent5>
      <a:accent6>
        <a:srgbClr val="0D868E"/>
      </a:accent6>
      <a:hlink>
        <a:srgbClr val="2BA2D7"/>
      </a:hlink>
      <a:folHlink>
        <a:srgbClr val="2968A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6A4D7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16x9_Cool_Template_Version_0.15</Template>
  <TotalTime>81886</TotalTime>
  <Words>967</Words>
  <Application>Microsoft Macintosh PowerPoint</Application>
  <PresentationFormat>On-screen Show (16:9)</PresentationFormat>
  <Paragraphs>331</Paragraphs>
  <Slides>17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5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87" baseType="lpstr">
      <vt:lpstr>Apple LiGothic Medium</vt:lpstr>
      <vt:lpstr>Arial</vt:lpstr>
      <vt:lpstr>Arial Narrow</vt:lpstr>
      <vt:lpstr>Arial Unicode MS</vt:lpstr>
      <vt:lpstr>Avenir Next Regular</vt:lpstr>
      <vt:lpstr>Broadway</vt:lpstr>
      <vt:lpstr>Calibri</vt:lpstr>
      <vt:lpstr>Ciscolight</vt:lpstr>
      <vt:lpstr>CiscoSans</vt:lpstr>
      <vt:lpstr>CiscoSans ExtraLight</vt:lpstr>
      <vt:lpstr>CiscoSans Thin</vt:lpstr>
      <vt:lpstr>CiscoSansTT ExtraLight</vt:lpstr>
      <vt:lpstr>CiscoSansTT Thin</vt:lpstr>
      <vt:lpstr>MS PGothic</vt:lpstr>
      <vt:lpstr>ＭＳ Ｐゴシック</vt:lpstr>
      <vt:lpstr>Tipo de letra del sistema Fina</vt:lpstr>
      <vt:lpstr>Wingdings</vt:lpstr>
      <vt:lpstr>26_Cisco_CF_CKT232</vt:lpstr>
      <vt:lpstr>Cisco Blue</vt:lpstr>
      <vt:lpstr>Default Theme</vt:lpstr>
      <vt:lpstr>1_Default Theme</vt:lpstr>
      <vt:lpstr>1_Cisco Blue</vt:lpstr>
      <vt:lpstr>27_Cisco_CF_CKT232</vt:lpstr>
      <vt:lpstr>28_Cisco_CF_CKT232</vt:lpstr>
      <vt:lpstr>2_Blue theme 2016 16x9</vt:lpstr>
      <vt:lpstr>9_Blue theme 2014 16x9</vt:lpstr>
      <vt:lpstr>29_Cisco_CF_CKT232</vt:lpstr>
      <vt:lpstr>30_Cisco_CF_CKT232</vt:lpstr>
      <vt:lpstr>22_Cisco_CF_CKT232</vt:lpstr>
      <vt:lpstr>21_Cisco_CF_CKT232</vt:lpstr>
      <vt:lpstr>10_Blue theme 2014 16x9</vt:lpstr>
      <vt:lpstr>23_Cisco_CF_CKT232</vt:lpstr>
      <vt:lpstr>11_Blue theme 2014 16x9</vt:lpstr>
      <vt:lpstr>Blue theme 2015 16x9</vt:lpstr>
      <vt:lpstr>1_Blue theme 2015 16x9</vt:lpstr>
      <vt:lpstr>2_Blue theme 2015 16x9</vt:lpstr>
      <vt:lpstr>3_Blue theme 2015 16x9</vt:lpstr>
      <vt:lpstr>4_Blue theme 2015 16x9</vt:lpstr>
      <vt:lpstr>5_Blue theme 2015 16x9</vt:lpstr>
      <vt:lpstr>6_Blue theme 2015 16x9</vt:lpstr>
      <vt:lpstr>7_Blue theme 2015 16x9</vt:lpstr>
      <vt:lpstr>31_Cisco_CF_CKT232</vt:lpstr>
      <vt:lpstr>32_Cisco_CF_CKT232</vt:lpstr>
      <vt:lpstr>33_Cisco_CF_CKT232</vt:lpstr>
      <vt:lpstr>9_Blue theme 2015 16x9</vt:lpstr>
      <vt:lpstr>8_Blue theme 2015 16x9</vt:lpstr>
      <vt:lpstr>34_Cisco_CF_CKT232</vt:lpstr>
      <vt:lpstr>8_Cisco_CF_CKT232</vt:lpstr>
      <vt:lpstr>Blue theme 2016 16x9</vt:lpstr>
      <vt:lpstr>1_Blue theme 2016 16x9</vt:lpstr>
      <vt:lpstr>3_Blue theme 2016 16x9</vt:lpstr>
      <vt:lpstr>4_Blue theme 2016 16x9</vt:lpstr>
      <vt:lpstr>5_Blue theme 2016 16x9</vt:lpstr>
      <vt:lpstr>6_Blue theme 2016 16x9</vt:lpstr>
      <vt:lpstr>7_Blue theme 2016 16x9</vt:lpstr>
      <vt:lpstr>Blue theme 2014 16x9</vt:lpstr>
      <vt:lpstr>10_Blue theme 2015 16x9</vt:lpstr>
      <vt:lpstr>11_Blue theme 2015 16x9</vt:lpstr>
      <vt:lpstr>12_Blue theme 2015 16x9</vt:lpstr>
      <vt:lpstr>13_Blue theme 2015 16x9</vt:lpstr>
      <vt:lpstr>14_Blue theme 2015 16x9</vt:lpstr>
      <vt:lpstr>15_Blue theme 2015 16x9</vt:lpstr>
      <vt:lpstr>1_Blue theme 2014 16x9</vt:lpstr>
      <vt:lpstr>8_Blue theme 2016 16x9</vt:lpstr>
      <vt:lpstr>2_Cisco Live 2017</vt:lpstr>
      <vt:lpstr>16_Blue theme 2015 16x9</vt:lpstr>
      <vt:lpstr>17_Blue theme 2015 16x9</vt:lpstr>
      <vt:lpstr>18_Blue theme 2015 16x9</vt:lpstr>
      <vt:lpstr>19_Blue theme 2015 16x9</vt:lpstr>
      <vt:lpstr>think-cell Slide</vt:lpstr>
      <vt:lpstr>Wireless in High Density Environments</vt:lpstr>
      <vt:lpstr>Wireless: Primary Access in a Digital World</vt:lpstr>
      <vt:lpstr>Why 802.11ac Wave 2?</vt:lpstr>
      <vt:lpstr>How 802.11ac Wave 2 Works</vt:lpstr>
      <vt:lpstr>Why Cisco for Gigabit Wireless? </vt:lpstr>
      <vt:lpstr>XOR Radio and FRA</vt:lpstr>
      <vt:lpstr>Micro  Macro Cell Transitions</vt:lpstr>
      <vt:lpstr>Optimize Wi-Fi with CleanAir Quickly Identify and Mitigate Wi-Fi Impacting Interference</vt:lpstr>
      <vt:lpstr>Better Support for Users on the Move Optimized Roaming</vt:lpstr>
      <vt:lpstr>Fine-tuning HDX with RF Profiles</vt:lpstr>
      <vt:lpstr>Enabling TrustSec in Enterprise Network</vt:lpstr>
      <vt:lpstr>PowerPoint Presentation</vt:lpstr>
      <vt:lpstr>PowerPoint Presentation</vt:lpstr>
      <vt:lpstr>Locaton Base Services. No Single Technology Delivers for All Use Cases</vt:lpstr>
      <vt:lpstr>CMX. Gain Insights &amp; Innovate with Cisco CMX</vt:lpstr>
      <vt:lpstr>CMX Virtual Beacon Solution</vt:lpstr>
      <vt:lpstr>PowerPoint Presentation</vt:lpstr>
    </vt:vector>
  </TitlesOfParts>
  <Company>Cisco Systems</Company>
  <LinksUpToDate>false</LinksUpToDate>
  <SharedDoc>false</SharedDoc>
  <HyperlinksChanged>false</HyperlinksChanged>
  <AppVersion>15.0039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Y15 Enterprise Segment PSM  Marketing Strategy, Planning and Operations</dc:title>
  <dc:creator>Itamar Sabo (isabo)</dc:creator>
  <cp:lastModifiedBy>Microsoft Office User</cp:lastModifiedBy>
  <cp:revision>921</cp:revision>
  <dcterms:created xsi:type="dcterms:W3CDTF">2014-08-06T22:05:01Z</dcterms:created>
  <dcterms:modified xsi:type="dcterms:W3CDTF">2017-11-24T08:23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794423</vt:lpwstr>
  </property>
  <property fmtid="{D5CDD505-2E9C-101B-9397-08002B2CF9AE}" pid="3" name="NXPowerLiteSettings">
    <vt:lpwstr>F7000400038000</vt:lpwstr>
  </property>
  <property fmtid="{D5CDD505-2E9C-101B-9397-08002B2CF9AE}" pid="4" name="NXPowerLiteVersion">
    <vt:lpwstr>D6.0.9</vt:lpwstr>
  </property>
</Properties>
</file>